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presentation.xml" ContentType="application/vnd.openxmlformats-officedocument.presentationml.presentation.main+xml"/>
  <Override PartName="/ppt/drawings/drawing1.xml" ContentType="application/vnd.openxmlformats-officedocument.drawingml.chartshap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Override18.xml" ContentType="application/vnd.openxmlformats-officedocument.themeOverride+xml"/>
  <Override PartName="/ppt/theme/theme1.xml" ContentType="application/vnd.openxmlformats-officedocument.theme+xml"/>
  <Override PartName="/ppt/charts/colors9.xml" ContentType="application/vnd.ms-office.chartcolorstyle+xml"/>
  <Override PartName="/ppt/charts/chart39.xml" ContentType="application/vnd.openxmlformats-officedocument.drawingml.chart+xml"/>
  <Override PartName="/ppt/charts/style10.xml" ContentType="application/vnd.ms-office.chartstyle+xml"/>
  <Override PartName="/ppt/charts/chart5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charts/colors10.xml" ContentType="application/vnd.ms-office.chartcolorstyle+xml"/>
  <Override PartName="/ppt/charts/chart12.xml" ContentType="application/vnd.openxmlformats-officedocument.drawingml.chart+xml"/>
  <Override PartName="/ppt/theme/themeOverride10.xml" ContentType="application/vnd.openxmlformats-officedocument.themeOverride+xml"/>
  <Override PartName="/ppt/charts/chart13.xml" ContentType="application/vnd.openxmlformats-officedocument.drawingml.chart+xml"/>
  <Override PartName="/ppt/theme/themeOverride11.xml" ContentType="application/vnd.openxmlformats-officedocument.themeOverride+xml"/>
  <Override PartName="/ppt/theme/themeOverride29.xml" ContentType="application/vnd.openxmlformats-officedocument.themeOverride+xml"/>
  <Override PartName="/ppt/theme/themeOverride19.xml" ContentType="application/vnd.openxmlformats-officedocument.themeOverride+xml"/>
  <Override PartName="/ppt/charts/chart41.xml" ContentType="application/vnd.openxmlformats-officedocument.drawingml.chart+xml"/>
  <Override PartName="/ppt/charts/chart1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2.xml" ContentType="application/vnd.openxmlformats-officedocument.themeOverride+xml"/>
  <Override PartName="/ppt/charts/style12.xml" ContentType="application/vnd.ms-office.chartstyle+xml"/>
  <Override PartName="/ppt/charts/colors12.xml" ContentType="application/vnd.ms-office.chartcolorstyle+xml"/>
  <Override PartName="/ppt/theme/themeOverride31.xml" ContentType="application/vnd.openxmlformats-officedocument.themeOverride+xml"/>
  <Override PartName="/ppt/charts/chart27.xml" ContentType="application/vnd.openxmlformats-officedocument.drawingml.chart+xml"/>
  <Override PartName="/ppt/theme/theme6.xml" ContentType="application/vnd.openxmlformats-officedocument.them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4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9.xml" ContentType="application/vnd.openxmlformats-officedocument.themeOverride+xml"/>
  <Override PartName="/ppt/charts/chart1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3.xml" ContentType="application/vnd.openxmlformats-officedocument.themeOverride+xml"/>
  <Override PartName="/ppt/charts/chart1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4.xml" ContentType="application/vnd.openxmlformats-officedocument.themeOverride+xml"/>
  <Override PartName="/ppt/charts/chart10.xml" ContentType="application/vnd.openxmlformats-officedocument.drawingml.chart+xml"/>
  <Override PartName="/ppt/charts/chart17.xml" ContentType="application/vnd.openxmlformats-officedocument.drawingml.chart+xml"/>
  <Override PartName="/ppt/theme/themeOverride30.xml" ContentType="application/vnd.openxmlformats-officedocument.themeOverride+xml"/>
  <Override PartName="/ppt/charts/chart11.xml" ContentType="application/vnd.openxmlformats-officedocument.drawingml.chart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4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32.xml" ContentType="application/vnd.openxmlformats-officedocument.themeOverride+xml"/>
  <Override PartName="/ppt/charts/chart28.xml" ContentType="application/vnd.openxmlformats-officedocument.drawingml.chart+xml"/>
  <Override PartName="/ppt/theme/themeOverride20.xml" ContentType="application/vnd.openxmlformats-officedocument.themeOverride+xml"/>
  <Override PartName="/ppt/charts/chart4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33.xml" ContentType="application/vnd.openxmlformats-officedocument.themeOverride+xml"/>
  <Override PartName="/ppt/charts/chart4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34.xml" ContentType="application/vnd.openxmlformats-officedocument.themeOverride+xml"/>
  <Override PartName="/ppt/theme/themeOverride17.xml" ContentType="application/vnd.openxmlformats-officedocument.themeOverride+xml"/>
  <Override PartName="/ppt/charts/chart25.xml" ContentType="application/vnd.openxmlformats-officedocument.drawingml.chart+xml"/>
  <Override PartName="/ppt/charts/chart24.xml" ContentType="application/vnd.openxmlformats-officedocument.drawingml.chart+xml"/>
  <Override PartName="/ppt/charts/chart23.xml" ContentType="application/vnd.openxmlformats-officedocument.drawingml.chart+xml"/>
  <Override PartName="/ppt/charts/chart22.xml" ContentType="application/vnd.openxmlformats-officedocument.drawingml.chart+xml"/>
  <Override PartName="/ppt/charts/chart21.xml" ContentType="application/vnd.openxmlformats-officedocument.drawingml.chart+xml"/>
  <Override PartName="/ppt/charts/chart20.xml" ContentType="application/vnd.openxmlformats-officedocument.drawingml.chart+xml"/>
  <Override PartName="/ppt/charts/colors7.xml" ContentType="application/vnd.ms-office.chartcolorstyle+xml"/>
  <Override PartName="/ppt/charts/style7.xml" ContentType="application/vnd.ms-office.chartstyle+xml"/>
  <Override PartName="/ppt/charts/chart19.xml" ContentType="application/vnd.openxmlformats-officedocument.drawingml.chart+xml"/>
  <Override PartName="/ppt/theme/themeOverride16.xml" ContentType="application/vnd.openxmlformats-officedocument.themeOverride+xml"/>
  <Override PartName="/ppt/charts/colors6.xml" ContentType="application/vnd.ms-office.chartcolorstyle+xml"/>
  <Override PartName="/ppt/charts/style6.xml" ContentType="application/vnd.ms-office.chartstyle+xml"/>
  <Override PartName="/ppt/charts/chart18.xml" ContentType="application/vnd.openxmlformats-officedocument.drawingml.chart+xml"/>
  <Override PartName="/ppt/theme/themeOverride15.xml" ContentType="application/vnd.openxmlformats-officedocument.themeOverride+xml"/>
  <Override PartName="/ppt/charts/colors5.xml" ContentType="application/vnd.ms-office.chartcolorstyle+xml"/>
  <Override PartName="/ppt/charts/style5.xml" ContentType="application/vnd.ms-office.chartstyle+xml"/>
  <Override PartName="/ppt/charts/chart29.xml" ContentType="application/vnd.openxmlformats-officedocument.drawingml.chart+xml"/>
  <Override PartName="/ppt/theme/themeOverride21.xml" ContentType="application/vnd.openxmlformats-officedocument.themeOverride+xml"/>
  <Override PartName="/ppt/charts/chart30.xml" ContentType="application/vnd.openxmlformats-officedocument.drawingml.chart+xml"/>
  <Override PartName="/ppt/theme/themeOverride22.xml" ContentType="application/vnd.openxmlformats-officedocument.themeOverride+xml"/>
  <Override PartName="/ppt/charts/chart31.xml" ContentType="application/vnd.openxmlformats-officedocument.drawingml.chart+xml"/>
  <Override PartName="/ppt/theme/themeOverride23.xml" ContentType="application/vnd.openxmlformats-officedocument.themeOverride+xml"/>
  <Override PartName="/ppt/charts/chart32.xml" ContentType="application/vnd.openxmlformats-officedocument.drawingml.chart+xml"/>
  <Override PartName="/ppt/theme/themeOverride24.xml" ContentType="application/vnd.openxmlformats-officedocument.themeOverride+xml"/>
  <Override PartName="/ppt/charts/chart3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25.xml" ContentType="application/vnd.openxmlformats-officedocument.themeOverr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heme/themeOverride26.xml" ContentType="application/vnd.openxmlformats-officedocument.themeOverride+xml"/>
  <Override PartName="/ppt/charts/chart37.xml" ContentType="application/vnd.openxmlformats-officedocument.drawingml.chart+xml"/>
  <Override PartName="/ppt/theme/themeOverride27.xml" ContentType="application/vnd.openxmlformats-officedocument.themeOverride+xml"/>
  <Override PartName="/ppt/charts/chart38.xml" ContentType="application/vnd.openxmlformats-officedocument.drawingml.chart+xml"/>
  <Override PartName="/ppt/charts/style9.xml" ContentType="application/vnd.ms-office.chartstyle+xml"/>
  <Override PartName="/ppt/theme/themeOverride28.xml" ContentType="application/vnd.openxmlformats-officedocument.themeOverride+xml"/>
  <Override PartName="/ppt/charts/chart26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8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265.xml" ContentType="application/vnd.openxmlformats-officedocument.presentationml.tags+xml"/>
  <Override PartName="/ppt/tags/tag6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18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176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83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177.xml" ContentType="application/vnd.openxmlformats-officedocument.presentationml.tags+xml"/>
  <Override PartName="/ppt/tags/tag23.xml" ContentType="application/vnd.openxmlformats-officedocument.presentationml.tags+xml"/>
  <Override PartName="/ppt/tags/tag166.xml" ContentType="application/vnd.openxmlformats-officedocument.presentationml.tags+xml"/>
  <Override PartName="/docProps/app.xml" ContentType="application/vnd.openxmlformats-officedocument.extended-propertie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63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27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145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137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183.xml" ContentType="application/vnd.openxmlformats-officedocument.presentationml.tags+xml"/>
  <Override PartName="/ppt/tags/tag169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59.xml" ContentType="application/vnd.openxmlformats-officedocument.presentationml.tags+xml"/>
  <Override PartName="/ppt/tags/tag205.xml" ContentType="application/vnd.openxmlformats-officedocument.presentationml.tags+xml"/>
  <Override PartName="/ppt/tags/tag170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171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12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172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173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174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231.xml" ContentType="application/vnd.openxmlformats-officedocument.presentationml.tags+xml"/>
  <Override PartName="/ppt/tags/tag93.xml" ContentType="application/vnd.openxmlformats-officedocument.presentationml.tags+xml"/>
  <Override PartName="/ppt/tags/tag232.xml" ContentType="application/vnd.openxmlformats-officedocument.presentationml.tags+xml"/>
  <Override PartName="/ppt/tags/tag204.xml" ContentType="application/vnd.openxmlformats-officedocument.presentationml.tags+xml"/>
  <Override PartName="/ppt/tags/tag23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234.xml" ContentType="application/vnd.openxmlformats-officedocument.presentationml.tags+xml"/>
  <Override PartName="/ppt/tags/tag96.xml" ContentType="application/vnd.openxmlformats-officedocument.presentationml.tags+xml"/>
  <Override PartName="/ppt/tags/tag235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75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67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168.xml" ContentType="application/vnd.openxmlformats-officedocument.presentationml.tags+xml"/>
  <Override PartName="/ppt/tags/tag109.xml" ContentType="application/vnd.openxmlformats-officedocument.presentationml.tags+xml"/>
  <Override PartName="/ppt/tags/tag238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239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240.xml" ContentType="application/vnd.openxmlformats-officedocument.presentationml.tags+xml"/>
  <Override PartName="/ppt/tags/tag117.xml" ContentType="application/vnd.openxmlformats-officedocument.presentationml.tags+xml"/>
  <Override PartName="/ppt/tags/tag241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1.xml" ContentType="application/vnd.openxmlformats-officedocument.presentationml.tags+xml"/>
  <Override PartName="/ppt/tags/tag242.xml" ContentType="application/vnd.openxmlformats-officedocument.presentationml.tags+xml"/>
  <Override PartName="/ppt/tags/tag122.xml" ContentType="application/vnd.openxmlformats-officedocument.presentationml.tags+xml"/>
  <Override PartName="/ppt/tags/tag243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244.xml" ContentType="application/vnd.openxmlformats-officedocument.presentationml.tags+xml"/>
  <Override PartName="/ppt/tags/tag136.xml" ContentType="application/vnd.openxmlformats-officedocument.presentationml.tags+xml"/>
  <Override PartName="/ppt/tags/tag245.xml" ContentType="application/vnd.openxmlformats-officedocument.presentationml.tags+xml"/>
  <Override PartName="/ppt/tags/tag249.xml" ContentType="application/vnd.openxmlformats-officedocument.presentationml.tags+xml"/>
  <Override PartName="/ppt/tags/tag246.xml" ContentType="application/vnd.openxmlformats-officedocument.presentationml.tags+xml"/>
  <Override PartName="/ppt/tags/tag250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  <p:sldMasterId id="2147483686" r:id="rId3"/>
    <p:sldMasterId id="2147483715" r:id="rId4"/>
    <p:sldMasterId id="2147483741" r:id="rId5"/>
  </p:sldMasterIdLst>
  <p:notesMasterIdLst>
    <p:notesMasterId r:id="rId63"/>
  </p:notesMasterIdLst>
  <p:sldIdLst>
    <p:sldId id="266" r:id="rId6"/>
    <p:sldId id="5117" r:id="rId7"/>
    <p:sldId id="2145707024" r:id="rId8"/>
    <p:sldId id="5060" r:id="rId9"/>
    <p:sldId id="345" r:id="rId10"/>
    <p:sldId id="5061" r:id="rId11"/>
    <p:sldId id="348" r:id="rId12"/>
    <p:sldId id="5936" r:id="rId13"/>
    <p:sldId id="5157" r:id="rId14"/>
    <p:sldId id="5938" r:id="rId15"/>
    <p:sldId id="2147479076" r:id="rId16"/>
    <p:sldId id="2147479077" r:id="rId17"/>
    <p:sldId id="5941" r:id="rId18"/>
    <p:sldId id="2145707028" r:id="rId19"/>
    <p:sldId id="5011" r:id="rId20"/>
    <p:sldId id="2145707029" r:id="rId21"/>
    <p:sldId id="2145707030" r:id="rId22"/>
    <p:sldId id="2145707031" r:id="rId23"/>
    <p:sldId id="2145707032" r:id="rId24"/>
    <p:sldId id="2145707033" r:id="rId25"/>
    <p:sldId id="2145707034" r:id="rId26"/>
    <p:sldId id="5947" r:id="rId27"/>
    <p:sldId id="2145707035" r:id="rId28"/>
    <p:sldId id="2145707036" r:id="rId29"/>
    <p:sldId id="5948" r:id="rId30"/>
    <p:sldId id="2145707025" r:id="rId31"/>
    <p:sldId id="5279" r:id="rId32"/>
    <p:sldId id="5280" r:id="rId33"/>
    <p:sldId id="5281" r:id="rId34"/>
    <p:sldId id="5282" r:id="rId35"/>
    <p:sldId id="5931" r:id="rId36"/>
    <p:sldId id="2147479078" r:id="rId37"/>
    <p:sldId id="5933" r:id="rId38"/>
    <p:sldId id="5270" r:id="rId39"/>
    <p:sldId id="5935" r:id="rId40"/>
    <p:sldId id="5469" r:id="rId41"/>
    <p:sldId id="5287" r:id="rId42"/>
    <p:sldId id="5496" r:id="rId43"/>
    <p:sldId id="5134" r:id="rId44"/>
    <p:sldId id="5506" r:id="rId45"/>
    <p:sldId id="5019" r:id="rId46"/>
    <p:sldId id="2147479069" r:id="rId47"/>
    <p:sldId id="5178" r:id="rId48"/>
    <p:sldId id="2147479073" r:id="rId49"/>
    <p:sldId id="2147479074" r:id="rId50"/>
    <p:sldId id="5486" r:id="rId51"/>
    <p:sldId id="2147479081" r:id="rId52"/>
    <p:sldId id="5245" r:id="rId53"/>
    <p:sldId id="5246" r:id="rId54"/>
    <p:sldId id="5278" r:id="rId55"/>
    <p:sldId id="2147479079" r:id="rId56"/>
    <p:sldId id="2147479080" r:id="rId57"/>
    <p:sldId id="5924" r:id="rId58"/>
    <p:sldId id="5925" r:id="rId59"/>
    <p:sldId id="5470" r:id="rId60"/>
    <p:sldId id="5352" r:id="rId61"/>
    <p:sldId id="2147479075" r:id="rId62"/>
  </p:sldIdLst>
  <p:sldSz cx="12192000" cy="6858000"/>
  <p:notesSz cx="6669088" cy="9872663"/>
  <p:custDataLst>
    <p:tags r:id="rId6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C2F7A"/>
    <a:srgbClr val="D71440"/>
    <a:srgbClr val="E7E6E6"/>
    <a:srgbClr val="F9C3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2227" autoAdjust="0"/>
  </p:normalViewPr>
  <p:slideViewPr>
    <p:cSldViewPr snapToGrid="0">
      <p:cViewPr varScale="1">
        <p:scale>
          <a:sx n="89" d="100"/>
          <a:sy n="89" d="100"/>
        </p:scale>
        <p:origin x="1284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2.xml"/><Relationship Id="rId71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tags" Target="tags/tag1.xml"/><Relationship Id="rId69" Type="http://schemas.openxmlformats.org/officeDocument/2006/relationships/customXml" Target="../customXml/item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0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17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18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9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0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22.xm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0.xlsx"/><Relationship Id="rId1" Type="http://schemas.openxmlformats.org/officeDocument/2006/relationships/themeOverride" Target="../theme/themeOverride23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24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26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2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4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2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su (C50) u žen</c:v>
                </c:pt>
                <c:pt idx="2">
                  <c:v>ZN tlustého střeva a konečníku (C18–C20)</c:v>
                </c:pt>
                <c:pt idx="3">
                  <c:v>ZN prostaty (C61)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hlavy a krku (C00–C14, C30–C31)</c:v>
                </c:pt>
                <c:pt idx="10">
                  <c:v>ZN dělohy (C54, C55)</c:v>
                </c:pt>
                <c:pt idx="11">
                  <c:v>non-Hodgkinův lymfom (C82–C86)</c:v>
                </c:pt>
                <c:pt idx="12">
                  <c:v>leukémie (C91–C95)</c:v>
                </c:pt>
                <c:pt idx="13">
                  <c:v>ZN žaludku (C16)</c:v>
                </c:pt>
                <c:pt idx="14">
                  <c:v>ZN štítné žlázy (C73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hrdla děložního (C53)</c:v>
                </c:pt>
                <c:pt idx="18">
                  <c:v>ZN vaječníku (C56)</c:v>
                </c:pt>
                <c:pt idx="19">
                  <c:v>ZN žlučníku a žlučových cest (C23, C24)</c:v>
                </c:pt>
                <c:pt idx="20">
                  <c:v>ZN jícnu (C15)</c:v>
                </c:pt>
                <c:pt idx="21">
                  <c:v>mnohočetný myelom (C90)</c:v>
                </c:pt>
                <c:pt idx="22">
                  <c:v>ZN varlete (C62)</c:v>
                </c:pt>
                <c:pt idx="23">
                  <c:v>ZN hrtanu (C32)</c:v>
                </c:pt>
                <c:pt idx="24">
                  <c:v>ZN poj. a měk. tkání a perif. nervů (C47, C49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237.38059999999999</c:v>
                </c:pt>
                <c:pt idx="1">
                  <c:v>71.490840000000006</c:v>
                </c:pt>
                <c:pt idx="2">
                  <c:v>65.181830000000005</c:v>
                </c:pt>
                <c:pt idx="3">
                  <c:v>62.752699999999997</c:v>
                </c:pt>
                <c:pt idx="4">
                  <c:v>61.90925</c:v>
                </c:pt>
                <c:pt idx="5">
                  <c:v>35.121270000000003</c:v>
                </c:pt>
                <c:pt idx="6">
                  <c:v>26.754239999999999</c:v>
                </c:pt>
                <c:pt idx="7">
                  <c:v>23.953990000000001</c:v>
                </c:pt>
                <c:pt idx="8">
                  <c:v>22.739419999999999</c:v>
                </c:pt>
                <c:pt idx="9">
                  <c:v>19.36562</c:v>
                </c:pt>
                <c:pt idx="10">
                  <c:v>19.16319</c:v>
                </c:pt>
                <c:pt idx="11">
                  <c:v>17.172650000000001</c:v>
                </c:pt>
                <c:pt idx="12">
                  <c:v>15.35079</c:v>
                </c:pt>
                <c:pt idx="13">
                  <c:v>12.5168</c:v>
                </c:pt>
                <c:pt idx="14">
                  <c:v>10.69495</c:v>
                </c:pt>
                <c:pt idx="15">
                  <c:v>9.9189749999999997</c:v>
                </c:pt>
                <c:pt idx="16">
                  <c:v>9.5815950000000001</c:v>
                </c:pt>
                <c:pt idx="17">
                  <c:v>9.3791670000000007</c:v>
                </c:pt>
                <c:pt idx="18">
                  <c:v>9.3454289999999993</c:v>
                </c:pt>
                <c:pt idx="19">
                  <c:v>7.5573139999999999</c:v>
                </c:pt>
                <c:pt idx="20">
                  <c:v>6.6801259999999996</c:v>
                </c:pt>
                <c:pt idx="21">
                  <c:v>6.6126500000000004</c:v>
                </c:pt>
                <c:pt idx="22">
                  <c:v>4.824535</c:v>
                </c:pt>
                <c:pt idx="23">
                  <c:v>4.3184649999999998</c:v>
                </c:pt>
                <c:pt idx="24">
                  <c:v>3.5762290000000001</c:v>
                </c:pt>
                <c:pt idx="25">
                  <c:v>2.6990409999999998</c:v>
                </c:pt>
                <c:pt idx="26">
                  <c:v>30.36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E5-4FAB-BF16-DD089BAC2FD6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CC9900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su (C50) u žen</c:v>
                </c:pt>
                <c:pt idx="2">
                  <c:v>ZN tlustého střeva a konečníku (C18–C20)</c:v>
                </c:pt>
                <c:pt idx="3">
                  <c:v>ZN prostaty (C61)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hlavy a krku (C00–C14, C30–C31)</c:v>
                </c:pt>
                <c:pt idx="10">
                  <c:v>ZN dělohy (C54, C55)</c:v>
                </c:pt>
                <c:pt idx="11">
                  <c:v>non-Hodgkinův lymfom (C82–C86)</c:v>
                </c:pt>
                <c:pt idx="12">
                  <c:v>leukémie (C91–C95)</c:v>
                </c:pt>
                <c:pt idx="13">
                  <c:v>ZN žaludku (C16)</c:v>
                </c:pt>
                <c:pt idx="14">
                  <c:v>ZN štítné žlázy (C73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hrdla děložního (C53)</c:v>
                </c:pt>
                <c:pt idx="18">
                  <c:v>ZN vaječníku (C56)</c:v>
                </c:pt>
                <c:pt idx="19">
                  <c:v>ZN žlučníku a žlučových cest (C23, C24)</c:v>
                </c:pt>
                <c:pt idx="20">
                  <c:v>ZN jícnu (C15)</c:v>
                </c:pt>
                <c:pt idx="21">
                  <c:v>mnohočetný myelom (C90)</c:v>
                </c:pt>
                <c:pt idx="22">
                  <c:v>ZN varlete (C62)</c:v>
                </c:pt>
                <c:pt idx="23">
                  <c:v>ZN hrtanu (C32)</c:v>
                </c:pt>
                <c:pt idx="24">
                  <c:v>ZN poj. a měk. tkání a perif. nervů (C47, C49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248.97069999999999</c:v>
                </c:pt>
                <c:pt idx="1">
                  <c:v>71.938919999999996</c:v>
                </c:pt>
                <c:pt idx="2">
                  <c:v>66.623810000000006</c:v>
                </c:pt>
                <c:pt idx="3">
                  <c:v>76.426100000000005</c:v>
                </c:pt>
                <c:pt idx="4">
                  <c:v>61.803959999999996</c:v>
                </c:pt>
                <c:pt idx="5">
                  <c:v>30.133870000000002</c:v>
                </c:pt>
                <c:pt idx="6">
                  <c:v>25.665369999999999</c:v>
                </c:pt>
                <c:pt idx="7">
                  <c:v>24.22072</c:v>
                </c:pt>
                <c:pt idx="8">
                  <c:v>20.33905</c:v>
                </c:pt>
                <c:pt idx="9">
                  <c:v>19.213989999999999</c:v>
                </c:pt>
                <c:pt idx="10">
                  <c:v>18.27768</c:v>
                </c:pt>
                <c:pt idx="11">
                  <c:v>18.161809999999999</c:v>
                </c:pt>
                <c:pt idx="12">
                  <c:v>14.55486</c:v>
                </c:pt>
                <c:pt idx="13">
                  <c:v>14.04279</c:v>
                </c:pt>
                <c:pt idx="14">
                  <c:v>10.80775</c:v>
                </c:pt>
                <c:pt idx="15">
                  <c:v>10.041510000000001</c:v>
                </c:pt>
                <c:pt idx="16">
                  <c:v>8.7164710000000003</c:v>
                </c:pt>
                <c:pt idx="17">
                  <c:v>7.2045440000000003</c:v>
                </c:pt>
                <c:pt idx="18">
                  <c:v>9.0416559999999997</c:v>
                </c:pt>
                <c:pt idx="19">
                  <c:v>7.8493089999999999</c:v>
                </c:pt>
                <c:pt idx="20">
                  <c:v>7.4381550000000001</c:v>
                </c:pt>
                <c:pt idx="21">
                  <c:v>6.7391920000000001</c:v>
                </c:pt>
                <c:pt idx="22">
                  <c:v>4.7002410000000001</c:v>
                </c:pt>
                <c:pt idx="23">
                  <c:v>4.2311509999999997</c:v>
                </c:pt>
                <c:pt idx="24">
                  <c:v>3.4219249999999999</c:v>
                </c:pt>
                <c:pt idx="25">
                  <c:v>2.8612600000000001</c:v>
                </c:pt>
                <c:pt idx="26">
                  <c:v>35.8320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E5-4FAB-BF16-DD089BAC2FD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30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  <c:majorUnit val="50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56914697373464"/>
          <c:y val="9.5982142857142863E-2"/>
          <c:w val="0.78270063975706416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Kohorta 2010-2014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2:$A$26</c:f>
              <c:numCache>
                <c:formatCode>General</c:formatCode>
                <c:ptCount val="25"/>
                <c:pt idx="0">
                  <c:v>0.90710000000000002</c:v>
                </c:pt>
                <c:pt idx="1">
                  <c:v>0.95709999999999995</c:v>
                </c:pt>
                <c:pt idx="2">
                  <c:v>0.9486</c:v>
                </c:pt>
                <c:pt idx="3">
                  <c:v>0.83940000000000003</c:v>
                </c:pt>
                <c:pt idx="4">
                  <c:v>0.85729999999999995</c:v>
                </c:pt>
                <c:pt idx="5">
                  <c:v>0.80740000000000001</c:v>
                </c:pt>
                <c:pt idx="6">
                  <c:v>0.78700000000000003</c:v>
                </c:pt>
                <c:pt idx="7">
                  <c:v>0.68110000000000004</c:v>
                </c:pt>
                <c:pt idx="8">
                  <c:v>0.62860000000000005</c:v>
                </c:pt>
                <c:pt idx="9">
                  <c:v>0.63739999999999997</c:v>
                </c:pt>
                <c:pt idx="10">
                  <c:v>0.6381</c:v>
                </c:pt>
                <c:pt idx="11">
                  <c:v>0.57369999999999999</c:v>
                </c:pt>
                <c:pt idx="12">
                  <c:v>0.56759999999999999</c:v>
                </c:pt>
                <c:pt idx="13">
                  <c:v>0.49769999999999998</c:v>
                </c:pt>
                <c:pt idx="14">
                  <c:v>0.47720000000000001</c:v>
                </c:pt>
                <c:pt idx="15">
                  <c:v>0.38080000000000003</c:v>
                </c:pt>
                <c:pt idx="16">
                  <c:v>0.37140000000000001</c:v>
                </c:pt>
                <c:pt idx="17">
                  <c:v>0.3997</c:v>
                </c:pt>
                <c:pt idx="18">
                  <c:v>0.21010000000000001</c:v>
                </c:pt>
                <c:pt idx="19">
                  <c:v>0.1676</c:v>
                </c:pt>
                <c:pt idx="20">
                  <c:v>0.1069</c:v>
                </c:pt>
                <c:pt idx="21">
                  <c:v>0.1089</c:v>
                </c:pt>
                <c:pt idx="22">
                  <c:v>9.4899999999999998E-2</c:v>
                </c:pt>
                <c:pt idx="23">
                  <c:v>5.2900000000000003E-2</c:v>
                </c:pt>
                <c:pt idx="24">
                  <c:v>6.1199999999999997E-2</c:v>
                </c:pt>
              </c:numCache>
            </c:numRef>
          </c:xVal>
          <c:y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7"/>
          <c:order val="1"/>
          <c:tx>
            <c:strRef>
              <c:f>Sheet1!$C$1</c:f>
              <c:strCache>
                <c:ptCount val="1"/>
                <c:pt idx="0">
                  <c:v>Kohorta 2015-2019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chemeClr val="tx1"/>
              </a:solidFill>
              <a:ln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27:$A$51</c:f>
              <c:numCache>
                <c:formatCode>General</c:formatCode>
                <c:ptCount val="25"/>
                <c:pt idx="0">
                  <c:v>0.95140000000000002</c:v>
                </c:pt>
                <c:pt idx="1">
                  <c:v>0.97819999999999996</c:v>
                </c:pt>
                <c:pt idx="2">
                  <c:v>0.96350000000000002</c:v>
                </c:pt>
                <c:pt idx="3">
                  <c:v>0.90339999999999998</c:v>
                </c:pt>
                <c:pt idx="4">
                  <c:v>0.89129999999999998</c:v>
                </c:pt>
                <c:pt idx="5">
                  <c:v>0.86639999999999995</c:v>
                </c:pt>
                <c:pt idx="6">
                  <c:v>0.81499999999999995</c:v>
                </c:pt>
                <c:pt idx="7">
                  <c:v>0.7419</c:v>
                </c:pt>
                <c:pt idx="8">
                  <c:v>0.6411</c:v>
                </c:pt>
                <c:pt idx="9">
                  <c:v>0.67269999999999996</c:v>
                </c:pt>
                <c:pt idx="10">
                  <c:v>0.64680000000000004</c:v>
                </c:pt>
                <c:pt idx="11">
                  <c:v>0.61150000000000004</c:v>
                </c:pt>
                <c:pt idx="12">
                  <c:v>0.58199999999999996</c:v>
                </c:pt>
                <c:pt idx="13">
                  <c:v>0.55630000000000002</c:v>
                </c:pt>
                <c:pt idx="14">
                  <c:v>0.52710000000000001</c:v>
                </c:pt>
                <c:pt idx="15">
                  <c:v>0.48120000000000002</c:v>
                </c:pt>
                <c:pt idx="16">
                  <c:v>0.35799999999999998</c:v>
                </c:pt>
                <c:pt idx="17">
                  <c:v>0.44019999999999998</c:v>
                </c:pt>
                <c:pt idx="18">
                  <c:v>0.26569999999999999</c:v>
                </c:pt>
                <c:pt idx="19">
                  <c:v>0.2089</c:v>
                </c:pt>
                <c:pt idx="20">
                  <c:v>0.1653</c:v>
                </c:pt>
                <c:pt idx="21">
                  <c:v>0.1459</c:v>
                </c:pt>
                <c:pt idx="22">
                  <c:v>0.15129999999999999</c:v>
                </c:pt>
                <c:pt idx="23">
                  <c:v>9.8199999999999996E-2</c:v>
                </c:pt>
                <c:pt idx="24">
                  <c:v>0.10879999999999999</c:v>
                </c:pt>
              </c:numCache>
            </c:numRef>
          </c:xVal>
          <c:yVal>
            <c:numRef>
              <c:f>Sheet1!$C$27:$C$51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55-4B86-BABD-9343ACD16095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Perioda 2020-2022</c:v>
                </c:pt>
              </c:strCache>
            </c:strRef>
          </c:tx>
          <c:spPr>
            <a:ln w="19050">
              <a:noFill/>
            </a:ln>
          </c:spPr>
          <c:marker>
            <c:symbol val="square"/>
            <c:size val="8"/>
            <c:spPr>
              <a:solidFill>
                <a:srgbClr val="FFC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52:$A$76</c:f>
              <c:numCache>
                <c:formatCode>General</c:formatCode>
                <c:ptCount val="25"/>
                <c:pt idx="0">
                  <c:v>0.98480000000000001</c:v>
                </c:pt>
                <c:pt idx="1">
                  <c:v>0.97829999999999995</c:v>
                </c:pt>
                <c:pt idx="2">
                  <c:v>0.96719999999999995</c:v>
                </c:pt>
                <c:pt idx="3">
                  <c:v>0.92600000000000005</c:v>
                </c:pt>
                <c:pt idx="4">
                  <c:v>0.91039999999999999</c:v>
                </c:pt>
                <c:pt idx="5">
                  <c:v>0.87719999999999998</c:v>
                </c:pt>
                <c:pt idx="6">
                  <c:v>0.82589999999999997</c:v>
                </c:pt>
                <c:pt idx="7">
                  <c:v>0.80579999999999996</c:v>
                </c:pt>
                <c:pt idx="8">
                  <c:v>0.70220000000000005</c:v>
                </c:pt>
                <c:pt idx="9">
                  <c:v>0.69399999999999995</c:v>
                </c:pt>
                <c:pt idx="10">
                  <c:v>0.67710000000000004</c:v>
                </c:pt>
                <c:pt idx="11">
                  <c:v>0.64710000000000001</c:v>
                </c:pt>
                <c:pt idx="12">
                  <c:v>0.61339999999999995</c:v>
                </c:pt>
                <c:pt idx="13">
                  <c:v>0.58230000000000004</c:v>
                </c:pt>
                <c:pt idx="14">
                  <c:v>0.56179999999999997</c:v>
                </c:pt>
                <c:pt idx="15">
                  <c:v>0.52270000000000005</c:v>
                </c:pt>
                <c:pt idx="16">
                  <c:v>0.4743</c:v>
                </c:pt>
                <c:pt idx="17">
                  <c:v>0.47189999999999999</c:v>
                </c:pt>
                <c:pt idx="18">
                  <c:v>0.31480000000000002</c:v>
                </c:pt>
                <c:pt idx="19">
                  <c:v>0.247</c:v>
                </c:pt>
                <c:pt idx="20">
                  <c:v>0.2072</c:v>
                </c:pt>
                <c:pt idx="21">
                  <c:v>0.18770000000000001</c:v>
                </c:pt>
                <c:pt idx="22">
                  <c:v>0.1767</c:v>
                </c:pt>
                <c:pt idx="23">
                  <c:v>0.14000000000000001</c:v>
                </c:pt>
                <c:pt idx="24">
                  <c:v>0.1232</c:v>
                </c:pt>
              </c:numCache>
            </c:numRef>
          </c:xVal>
          <c:yVal>
            <c:numRef>
              <c:f>Sheet1!$D$52:$D$7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55-4B86-BABD-9343ACD16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59:$A$77</c15:sqref>
                        </c15:formulaRef>
                      </c:ext>
                    </c:extLst>
                    <c:numCache>
                      <c:formatCode>General</c:formatCode>
                      <c:ptCount val="19"/>
                      <c:pt idx="0">
                        <c:v>0.80579999999999996</c:v>
                      </c:pt>
                      <c:pt idx="1">
                        <c:v>0.70220000000000005</c:v>
                      </c:pt>
                      <c:pt idx="2">
                        <c:v>0.69399999999999995</c:v>
                      </c:pt>
                      <c:pt idx="3">
                        <c:v>0.67710000000000004</c:v>
                      </c:pt>
                      <c:pt idx="4">
                        <c:v>0.64710000000000001</c:v>
                      </c:pt>
                      <c:pt idx="5">
                        <c:v>0.61339999999999995</c:v>
                      </c:pt>
                      <c:pt idx="6">
                        <c:v>0.58230000000000004</c:v>
                      </c:pt>
                      <c:pt idx="7">
                        <c:v>0.56179999999999997</c:v>
                      </c:pt>
                      <c:pt idx="8">
                        <c:v>0.52270000000000005</c:v>
                      </c:pt>
                      <c:pt idx="9">
                        <c:v>0.4743</c:v>
                      </c:pt>
                      <c:pt idx="10">
                        <c:v>0.47189999999999999</c:v>
                      </c:pt>
                      <c:pt idx="11">
                        <c:v>0.31480000000000002</c:v>
                      </c:pt>
                      <c:pt idx="12">
                        <c:v>0.247</c:v>
                      </c:pt>
                      <c:pt idx="13">
                        <c:v>0.2072</c:v>
                      </c:pt>
                      <c:pt idx="14">
                        <c:v>0.18770000000000001</c:v>
                      </c:pt>
                      <c:pt idx="15">
                        <c:v>0.1767</c:v>
                      </c:pt>
                      <c:pt idx="16">
                        <c:v>0.14000000000000001</c:v>
                      </c:pt>
                      <c:pt idx="17">
                        <c:v>0.1232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20F5-4966-9C6C-4ADAFC8366C3}"/>
                  </c:ext>
                </c:extLst>
              </c15:ser>
            </c15:filteredScatterSeries>
            <c15:filteredScatterSeries>
              <c15:ser>
                <c:idx val="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78:$A$96</c15:sqref>
                        </c15:formulaRef>
                      </c:ext>
                    </c:extLst>
                    <c:numCache>
                      <c:formatCode>General</c:formatCode>
                      <c:ptCount val="19"/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0E0A-45F8-A7D3-F9E8CAE758E8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ax val="25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8381502890173E-2"/>
          <c:y val="9.5982142857142863E-2"/>
          <c:w val="0.87668593448940269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ČR</c:v>
                </c:pt>
              </c:strCache>
            </c:strRef>
          </c:tx>
          <c:spPr>
            <a:ln w="18989">
              <a:noFill/>
            </a:ln>
          </c:spPr>
          <c:marker>
            <c:symbol val="square"/>
            <c:size val="10"/>
            <c:spPr>
              <a:solidFill>
                <a:srgbClr val="002060"/>
              </a:solidFill>
              <a:ln>
                <a:solidFill>
                  <a:schemeClr val="tx1"/>
                </a:solidFill>
              </a:ln>
            </c:spPr>
          </c:marker>
          <c:dPt>
            <c:idx val="7"/>
            <c:marker>
              <c:spPr>
                <a:solidFill>
                  <a:srgbClr val="C00000"/>
                </a:solidFill>
                <a:ln>
                  <a:solidFill>
                    <a:schemeClr val="tx1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8EC-4B35-832F-C40E600460F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FB68-4A8D-9473-EEB04198498B}"/>
              </c:ext>
            </c:extLst>
          </c:dPt>
          <c:xVal>
            <c:numRef>
              <c:f>Sheet1!$A$2:$A$266</c:f>
              <c:numCache>
                <c:formatCode>General</c:formatCode>
                <c:ptCount val="265"/>
                <c:pt idx="0">
                  <c:v>0.94399999999999995</c:v>
                </c:pt>
                <c:pt idx="1">
                  <c:v>0.93899999999999995</c:v>
                </c:pt>
                <c:pt idx="2">
                  <c:v>0.93</c:v>
                </c:pt>
                <c:pt idx="3">
                  <c:v>0.92800000000000005</c:v>
                </c:pt>
                <c:pt idx="4">
                  <c:v>0.92200000000000004</c:v>
                </c:pt>
                <c:pt idx="5">
                  <c:v>0.91800000000000004</c:v>
                </c:pt>
                <c:pt idx="6">
                  <c:v>0.91200000000000003</c:v>
                </c:pt>
                <c:pt idx="7">
                  <c:v>0.91039999999999999</c:v>
                </c:pt>
                <c:pt idx="8">
                  <c:v>0.90800000000000003</c:v>
                </c:pt>
                <c:pt idx="9">
                  <c:v>0.9</c:v>
                </c:pt>
                <c:pt idx="10">
                  <c:v>0.89800000000000002</c:v>
                </c:pt>
                <c:pt idx="11">
                  <c:v>0.88800000000000001</c:v>
                </c:pt>
                <c:pt idx="12">
                  <c:v>0.88100000000000001</c:v>
                </c:pt>
                <c:pt idx="13">
                  <c:v>0.875</c:v>
                </c:pt>
                <c:pt idx="14">
                  <c:v>0.86899999999999999</c:v>
                </c:pt>
                <c:pt idx="15">
                  <c:v>0.878</c:v>
                </c:pt>
                <c:pt idx="16">
                  <c:v>0.89900000000000002</c:v>
                </c:pt>
                <c:pt idx="17">
                  <c:v>0.86699999999999999</c:v>
                </c:pt>
                <c:pt idx="18">
                  <c:v>0.86499999999999999</c:v>
                </c:pt>
                <c:pt idx="19">
                  <c:v>0.88100000000000001</c:v>
                </c:pt>
                <c:pt idx="20">
                  <c:v>0.85699999999999998</c:v>
                </c:pt>
                <c:pt idx="21">
                  <c:v>0.84499999999999997</c:v>
                </c:pt>
                <c:pt idx="22">
                  <c:v>0.90342913275853798</c:v>
                </c:pt>
                <c:pt idx="23">
                  <c:v>0.86499999999999999</c:v>
                </c:pt>
                <c:pt idx="24">
                  <c:v>0.83799999999999997</c:v>
                </c:pt>
                <c:pt idx="25">
                  <c:v>0.82299999999999995</c:v>
                </c:pt>
                <c:pt idx="26">
                  <c:v>0.84199999999999997</c:v>
                </c:pt>
                <c:pt idx="27">
                  <c:v>0.78200000000000003</c:v>
                </c:pt>
                <c:pt idx="28">
                  <c:v>0.80900000000000005</c:v>
                </c:pt>
                <c:pt idx="29">
                  <c:v>0.81299999999999994</c:v>
                </c:pt>
                <c:pt idx="30">
                  <c:v>0.99299999999999999</c:v>
                </c:pt>
                <c:pt idx="31">
                  <c:v>0.97199999999999998</c:v>
                </c:pt>
                <c:pt idx="32">
                  <c:v>0.98</c:v>
                </c:pt>
                <c:pt idx="33">
                  <c:v>0.97699999999999998</c:v>
                </c:pt>
                <c:pt idx="34">
                  <c:v>0.95799999999999996</c:v>
                </c:pt>
                <c:pt idx="35">
                  <c:v>0.96599999999999997</c:v>
                </c:pt>
                <c:pt idx="36">
                  <c:v>0.96299999999999997</c:v>
                </c:pt>
                <c:pt idx="37">
                  <c:v>0.91689110249444905</c:v>
                </c:pt>
                <c:pt idx="38">
                  <c:v>0.94499999999999995</c:v>
                </c:pt>
                <c:pt idx="39">
                  <c:v>0.94799999999999995</c:v>
                </c:pt>
                <c:pt idx="40">
                  <c:v>0.95499999999999996</c:v>
                </c:pt>
                <c:pt idx="41">
                  <c:v>0.92700000000000005</c:v>
                </c:pt>
                <c:pt idx="42">
                  <c:v>0.95499999999999996</c:v>
                </c:pt>
                <c:pt idx="43">
                  <c:v>0.92900000000000005</c:v>
                </c:pt>
                <c:pt idx="44">
                  <c:v>0.91600000000000004</c:v>
                </c:pt>
              </c:numCache>
            </c:numRef>
          </c:xVal>
          <c:yVal>
            <c:numRef>
              <c:f>Sheet1!$B$2:$B$266</c:f>
              <c:numCache>
                <c:formatCode>General</c:formatCode>
                <c:ptCount val="26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  <c:pt idx="0">
                  <c:v>ČR_low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17:$A$31</c:f>
              <c:numCache>
                <c:formatCode>General</c:formatCode>
                <c:ptCount val="15"/>
                <c:pt idx="0">
                  <c:v>0.878</c:v>
                </c:pt>
                <c:pt idx="1">
                  <c:v>0.89900000000000002</c:v>
                </c:pt>
                <c:pt idx="2">
                  <c:v>0.86699999999999999</c:v>
                </c:pt>
                <c:pt idx="3">
                  <c:v>0.86499999999999999</c:v>
                </c:pt>
                <c:pt idx="4">
                  <c:v>0.88100000000000001</c:v>
                </c:pt>
                <c:pt idx="5">
                  <c:v>0.85699999999999998</c:v>
                </c:pt>
                <c:pt idx="6">
                  <c:v>0.84499999999999997</c:v>
                </c:pt>
                <c:pt idx="7">
                  <c:v>0.90342913275853798</c:v>
                </c:pt>
                <c:pt idx="8">
                  <c:v>0.86499999999999999</c:v>
                </c:pt>
                <c:pt idx="9">
                  <c:v>0.83799999999999997</c:v>
                </c:pt>
                <c:pt idx="10">
                  <c:v>0.82299999999999995</c:v>
                </c:pt>
                <c:pt idx="11">
                  <c:v>0.84199999999999997</c:v>
                </c:pt>
                <c:pt idx="12">
                  <c:v>0.78200000000000003</c:v>
                </c:pt>
                <c:pt idx="13">
                  <c:v>0.80900000000000005</c:v>
                </c:pt>
                <c:pt idx="14">
                  <c:v>0.81299999999999994</c:v>
                </c:pt>
              </c:numCache>
            </c:numRef>
          </c:xVal>
          <c:yVal>
            <c:numRef>
              <c:f>Sheet1!$C$17:$C$31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E6-46C6-BA62-E0C855890E1D}"/>
            </c:ext>
          </c:extLst>
        </c:ser>
        <c:ser>
          <c:idx val="1"/>
          <c:order val="3"/>
          <c:tx>
            <c:strRef>
              <c:f>Sheet1!$D$1</c:f>
              <c:strCache>
                <c:ptCount val="1"/>
                <c:pt idx="0">
                  <c:v>ČR_upp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32:$A$56</c:f>
              <c:numCache>
                <c:formatCode>General</c:formatCode>
                <c:ptCount val="25"/>
                <c:pt idx="0">
                  <c:v>0.99299999999999999</c:v>
                </c:pt>
                <c:pt idx="1">
                  <c:v>0.97199999999999998</c:v>
                </c:pt>
                <c:pt idx="2">
                  <c:v>0.98</c:v>
                </c:pt>
                <c:pt idx="3">
                  <c:v>0.97699999999999998</c:v>
                </c:pt>
                <c:pt idx="4">
                  <c:v>0.95799999999999996</c:v>
                </c:pt>
                <c:pt idx="5">
                  <c:v>0.96599999999999997</c:v>
                </c:pt>
                <c:pt idx="6">
                  <c:v>0.96299999999999997</c:v>
                </c:pt>
                <c:pt idx="7">
                  <c:v>0.91689110249444905</c:v>
                </c:pt>
                <c:pt idx="8">
                  <c:v>0.94499999999999995</c:v>
                </c:pt>
                <c:pt idx="9">
                  <c:v>0.94799999999999995</c:v>
                </c:pt>
                <c:pt idx="10">
                  <c:v>0.95499999999999996</c:v>
                </c:pt>
                <c:pt idx="11">
                  <c:v>0.92700000000000005</c:v>
                </c:pt>
                <c:pt idx="12">
                  <c:v>0.95499999999999996</c:v>
                </c:pt>
                <c:pt idx="13">
                  <c:v>0.92900000000000005</c:v>
                </c:pt>
                <c:pt idx="14">
                  <c:v>0.91600000000000004</c:v>
                </c:pt>
              </c:numCache>
            </c:numRef>
          </c:xVal>
          <c:yVal>
            <c:numRef>
              <c:f>Sheet1!$D$32:$D$5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7E6-46C6-BA62-E0C855890E1D}"/>
            </c:ext>
          </c:extLst>
        </c:ser>
        <c:ser>
          <c:idx val="2"/>
          <c:order val="4"/>
          <c:tx>
            <c:strRef>
              <c:f>Sheet1!$E$1</c:f>
              <c:strCache>
                <c:ptCount val="1"/>
                <c:pt idx="0">
                  <c:v>CZ</c:v>
                </c:pt>
              </c:strCache>
            </c:strRef>
          </c:tx>
          <c:spPr>
            <a:ln w="50800">
              <a:solidFill>
                <a:schemeClr val="tx1"/>
              </a:solidFill>
              <a:prstDash val="dash"/>
            </a:ln>
          </c:spPr>
          <c:marker>
            <c:symbol val="none"/>
          </c:marker>
          <c:xVal>
            <c:numRef>
              <c:f>Sheet1!$A$57:$A$81</c:f>
              <c:numCache>
                <c:formatCode>General</c:formatCode>
                <c:ptCount val="25"/>
              </c:numCache>
            </c:numRef>
          </c:xVal>
          <c:yVal>
            <c:numRef>
              <c:f>Sheet1!$E$57:$E$81</c:f>
              <c:numCache>
                <c:formatCode>General</c:formatCode>
                <c:ptCount val="25"/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77E6-46C6-BA62-E0C855890E1D}"/>
            </c:ext>
          </c:extLst>
        </c:ser>
        <c:ser>
          <c:idx val="3"/>
          <c:order val="5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82:$A$106</c:f>
              <c:numCache>
                <c:formatCode>General</c:formatCode>
                <c:ptCount val="25"/>
              </c:numCache>
            </c:numRef>
          </c:xVal>
          <c:yVal>
            <c:numRef>
              <c:f>Sheet1!$F$82:$F$106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7E6-46C6-BA62-E0C855890E1D}"/>
            </c:ext>
          </c:extLst>
        </c:ser>
        <c:ser>
          <c:idx val="5"/>
          <c:order val="6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107:$A$131</c:f>
              <c:numCache>
                <c:formatCode>General</c:formatCode>
                <c:ptCount val="25"/>
              </c:numCache>
            </c:numRef>
          </c:xVal>
          <c:yVal>
            <c:numRef>
              <c:f>Sheet1!$G$107:$G$131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7E6-46C6-BA62-E0C855890E1D}"/>
            </c:ext>
          </c:extLst>
        </c:ser>
        <c:ser>
          <c:idx val="6"/>
          <c:order val="7"/>
          <c:tx>
            <c:strRef>
              <c:f>Sheet1!$E:$E</c:f>
              <c:strCache>
                <c:ptCount val="1048576"/>
                <c:pt idx="0">
                  <c:v>CZ</c:v>
                </c:pt>
                <c:pt idx="1">
                  <c:v>0.9104</c:v>
                </c:pt>
                <c:pt idx="2">
                  <c:v>0.9104</c:v>
                </c:pt>
                <c:pt idx="3">
                  <c:v>0.9104</c:v>
                </c:pt>
                <c:pt idx="4">
                  <c:v>0.9104</c:v>
                </c:pt>
                <c:pt idx="5">
                  <c:v>0.9104</c:v>
                </c:pt>
                <c:pt idx="6">
                  <c:v>0.9104</c:v>
                </c:pt>
                <c:pt idx="7">
                  <c:v>0.9104</c:v>
                </c:pt>
                <c:pt idx="8">
                  <c:v>0.9104</c:v>
                </c:pt>
                <c:pt idx="9">
                  <c:v>0.9104</c:v>
                </c:pt>
                <c:pt idx="10">
                  <c:v>0.9104</c:v>
                </c:pt>
                <c:pt idx="11">
                  <c:v>0.9104</c:v>
                </c:pt>
                <c:pt idx="12">
                  <c:v>0.9104</c:v>
                </c:pt>
                <c:pt idx="13">
                  <c:v>0.9104</c:v>
                </c:pt>
                <c:pt idx="14">
                  <c:v>0.9104</c:v>
                </c:pt>
                <c:pt idx="15">
                  <c:v>0.9104</c:v>
                </c:pt>
                <c:pt idx="16">
                  <c:v>0.9104</c:v>
                </c:pt>
                <c:pt idx="17">
                  <c:v>0.9104</c:v>
                </c:pt>
                <c:pt idx="18">
                  <c:v>0.9104</c:v>
                </c:pt>
                <c:pt idx="19">
                  <c:v>0.9104</c:v>
                </c:pt>
                <c:pt idx="20">
                  <c:v>0.9104</c:v>
                </c:pt>
                <c:pt idx="21">
                  <c:v>0.9104</c:v>
                </c:pt>
                <c:pt idx="22">
                  <c:v>0.9104</c:v>
                </c:pt>
                <c:pt idx="23">
                  <c:v>0.9104</c:v>
                </c:pt>
                <c:pt idx="24">
                  <c:v>0.9104</c:v>
                </c:pt>
                <c:pt idx="25">
                  <c:v>0.9104</c:v>
                </c:pt>
                <c:pt idx="26">
                  <c:v>0.9104</c:v>
                </c:pt>
                <c:pt idx="27">
                  <c:v>0.9104</c:v>
                </c:pt>
                <c:pt idx="28">
                  <c:v>0.9104</c:v>
                </c:pt>
                <c:pt idx="29">
                  <c:v>0.9104</c:v>
                </c:pt>
                <c:pt idx="30">
                  <c:v>0.9104</c:v>
                </c:pt>
                <c:pt idx="31">
                  <c:v>0.9104</c:v>
                </c:pt>
                <c:pt idx="32">
                  <c:v>0.9104</c:v>
                </c:pt>
                <c:pt idx="33">
                  <c:v>0.9104</c:v>
                </c:pt>
                <c:pt idx="34">
                  <c:v>0.9104</c:v>
                </c:pt>
                <c:pt idx="35">
                  <c:v>0.9104</c:v>
                </c:pt>
                <c:pt idx="36">
                  <c:v>0.9104</c:v>
                </c:pt>
                <c:pt idx="37">
                  <c:v>0.9104</c:v>
                </c:pt>
                <c:pt idx="38">
                  <c:v>0.9104</c:v>
                </c:pt>
                <c:pt idx="39">
                  <c:v>0.9104</c:v>
                </c:pt>
                <c:pt idx="40">
                  <c:v>0.9104</c:v>
                </c:pt>
                <c:pt idx="41">
                  <c:v>0.9104</c:v>
                </c:pt>
                <c:pt idx="42">
                  <c:v>0.9104</c:v>
                </c:pt>
                <c:pt idx="43">
                  <c:v>0.9104</c:v>
                </c:pt>
                <c:pt idx="44">
                  <c:v>0.9104</c:v>
                </c:pt>
                <c:pt idx="45">
                  <c:v>0.9104</c:v>
                </c:pt>
              </c:strCache>
            </c:strRef>
          </c:tx>
          <c:spPr>
            <a:ln w="19050" cap="sq">
              <a:solidFill>
                <a:srgbClr val="C00000"/>
              </a:solidFill>
              <a:prstDash val="dash"/>
              <a:miter lim="800000"/>
            </a:ln>
          </c:spPr>
          <c:marker>
            <c:symbol val="none"/>
          </c:marker>
          <c:xVal>
            <c:numRef>
              <c:f>Sheet1!$E$2:$E$16</c:f>
              <c:numCache>
                <c:formatCode>General</c:formatCode>
                <c:ptCount val="15"/>
                <c:pt idx="0">
                  <c:v>0.91039999999999999</c:v>
                </c:pt>
                <c:pt idx="1">
                  <c:v>0.91039999999999999</c:v>
                </c:pt>
                <c:pt idx="2">
                  <c:v>0.91039999999999999</c:v>
                </c:pt>
                <c:pt idx="3">
                  <c:v>0.91039999999999999</c:v>
                </c:pt>
                <c:pt idx="4">
                  <c:v>0.91039999999999999</c:v>
                </c:pt>
                <c:pt idx="5">
                  <c:v>0.91039999999999999</c:v>
                </c:pt>
                <c:pt idx="6">
                  <c:v>0.91039999999999999</c:v>
                </c:pt>
                <c:pt idx="7">
                  <c:v>0.91039999999999999</c:v>
                </c:pt>
                <c:pt idx="8">
                  <c:v>0.91039999999999999</c:v>
                </c:pt>
                <c:pt idx="9">
                  <c:v>0.91039999999999999</c:v>
                </c:pt>
                <c:pt idx="10">
                  <c:v>0.91039999999999999</c:v>
                </c:pt>
                <c:pt idx="11">
                  <c:v>0.91039999999999999</c:v>
                </c:pt>
                <c:pt idx="12">
                  <c:v>0.91039999999999999</c:v>
                </c:pt>
                <c:pt idx="13">
                  <c:v>0.91039999999999999</c:v>
                </c:pt>
                <c:pt idx="14">
                  <c:v>0.91039999999999999</c:v>
                </c:pt>
              </c:numCache>
            </c:numRef>
          </c:xVal>
          <c:yVal>
            <c:numRef>
              <c:f>Sheet1!$B$2:$B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8EC-4B35-832F-C40E60046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4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square"/>
                  <c:size val="10"/>
                  <c:spPr>
                    <a:solidFill>
                      <a:srgbClr val="FF0000"/>
                    </a:solidFill>
                    <a:ln w="6350">
                      <a:solidFill>
                        <a:schemeClr val="tx1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2:$A$266</c15:sqref>
                        </c15:formulaRef>
                      </c:ext>
                    </c:extLst>
                    <c:numCache>
                      <c:formatCode>General</c:formatCode>
                      <c:ptCount val="265"/>
                      <c:pt idx="0">
                        <c:v>0.94399999999999995</c:v>
                      </c:pt>
                      <c:pt idx="1">
                        <c:v>0.93899999999999995</c:v>
                      </c:pt>
                      <c:pt idx="2">
                        <c:v>0.93</c:v>
                      </c:pt>
                      <c:pt idx="3">
                        <c:v>0.92800000000000005</c:v>
                      </c:pt>
                      <c:pt idx="4">
                        <c:v>0.92200000000000004</c:v>
                      </c:pt>
                      <c:pt idx="5">
                        <c:v>0.91800000000000004</c:v>
                      </c:pt>
                      <c:pt idx="6">
                        <c:v>0.91200000000000003</c:v>
                      </c:pt>
                      <c:pt idx="7">
                        <c:v>0.91039999999999999</c:v>
                      </c:pt>
                      <c:pt idx="8">
                        <c:v>0.90800000000000003</c:v>
                      </c:pt>
                      <c:pt idx="9">
                        <c:v>0.9</c:v>
                      </c:pt>
                      <c:pt idx="10">
                        <c:v>0.89800000000000002</c:v>
                      </c:pt>
                      <c:pt idx="11">
                        <c:v>0.88800000000000001</c:v>
                      </c:pt>
                      <c:pt idx="12">
                        <c:v>0.88100000000000001</c:v>
                      </c:pt>
                      <c:pt idx="13">
                        <c:v>0.875</c:v>
                      </c:pt>
                      <c:pt idx="14">
                        <c:v>0.86899999999999999</c:v>
                      </c:pt>
                      <c:pt idx="15">
                        <c:v>0.878</c:v>
                      </c:pt>
                      <c:pt idx="16">
                        <c:v>0.89900000000000002</c:v>
                      </c:pt>
                      <c:pt idx="17">
                        <c:v>0.86699999999999999</c:v>
                      </c:pt>
                      <c:pt idx="18">
                        <c:v>0.86499999999999999</c:v>
                      </c:pt>
                      <c:pt idx="19">
                        <c:v>0.88100000000000001</c:v>
                      </c:pt>
                      <c:pt idx="20">
                        <c:v>0.85699999999999998</c:v>
                      </c:pt>
                      <c:pt idx="21">
                        <c:v>0.84499999999999997</c:v>
                      </c:pt>
                      <c:pt idx="22">
                        <c:v>0.90342913275853798</c:v>
                      </c:pt>
                      <c:pt idx="23">
                        <c:v>0.86499999999999999</c:v>
                      </c:pt>
                      <c:pt idx="24">
                        <c:v>0.83799999999999997</c:v>
                      </c:pt>
                      <c:pt idx="25">
                        <c:v>0.82299999999999995</c:v>
                      </c:pt>
                      <c:pt idx="26">
                        <c:v>0.84199999999999997</c:v>
                      </c:pt>
                      <c:pt idx="27">
                        <c:v>0.78200000000000003</c:v>
                      </c:pt>
                      <c:pt idx="28">
                        <c:v>0.80900000000000005</c:v>
                      </c:pt>
                      <c:pt idx="29">
                        <c:v>0.81299999999999994</c:v>
                      </c:pt>
                      <c:pt idx="30">
                        <c:v>0.99299999999999999</c:v>
                      </c:pt>
                      <c:pt idx="31">
                        <c:v>0.97199999999999998</c:v>
                      </c:pt>
                      <c:pt idx="32">
                        <c:v>0.98</c:v>
                      </c:pt>
                      <c:pt idx="33">
                        <c:v>0.97699999999999998</c:v>
                      </c:pt>
                      <c:pt idx="34">
                        <c:v>0.95799999999999996</c:v>
                      </c:pt>
                      <c:pt idx="35">
                        <c:v>0.96599999999999997</c:v>
                      </c:pt>
                      <c:pt idx="36">
                        <c:v>0.96299999999999997</c:v>
                      </c:pt>
                      <c:pt idx="37">
                        <c:v>0.91689110249444905</c:v>
                      </c:pt>
                      <c:pt idx="38">
                        <c:v>0.94499999999999995</c:v>
                      </c:pt>
                      <c:pt idx="39">
                        <c:v>0.94799999999999995</c:v>
                      </c:pt>
                      <c:pt idx="40">
                        <c:v>0.95499999999999996</c:v>
                      </c:pt>
                      <c:pt idx="41">
                        <c:v>0.92700000000000005</c:v>
                      </c:pt>
                      <c:pt idx="42">
                        <c:v>0.95499999999999996</c:v>
                      </c:pt>
                      <c:pt idx="43">
                        <c:v>0.92900000000000005</c:v>
                      </c:pt>
                      <c:pt idx="44">
                        <c:v>0.9160000000000000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92BF-4A47-AE06-D2CDCCFC9767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553250647036122"/>
          <c:y val="0.1513741818872098"/>
          <c:w val="0.63946058329738675"/>
          <c:h val="0.8082071259377863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Hl. m. Praha</c:v>
                </c:pt>
                <c:pt idx="1">
                  <c:v>Střed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Zlínský kraj</c:v>
                </c:pt>
                <c:pt idx="7">
                  <c:v>Královéhradecký kraj</c:v>
                </c:pt>
                <c:pt idx="8">
                  <c:v>Olomoucký kraj</c:v>
                </c:pt>
                <c:pt idx="9">
                  <c:v>Plzeňský kraj</c:v>
                </c:pt>
                <c:pt idx="10">
                  <c:v>Pardubický kraj</c:v>
                </c:pt>
                <c:pt idx="11">
                  <c:v>Vysočina</c:v>
                </c:pt>
                <c:pt idx="12">
                  <c:v>Liberec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787.8</c:v>
                </c:pt>
                <c:pt idx="1">
                  <c:v>631.20000000000005</c:v>
                </c:pt>
                <c:pt idx="2">
                  <c:v>754</c:v>
                </c:pt>
                <c:pt idx="3">
                  <c:v>602.4</c:v>
                </c:pt>
                <c:pt idx="4">
                  <c:v>412</c:v>
                </c:pt>
                <c:pt idx="5">
                  <c:v>306.8</c:v>
                </c:pt>
                <c:pt idx="6">
                  <c:v>323.8</c:v>
                </c:pt>
                <c:pt idx="7">
                  <c:v>283.60000000000002</c:v>
                </c:pt>
                <c:pt idx="8">
                  <c:v>308.2</c:v>
                </c:pt>
                <c:pt idx="9">
                  <c:v>376</c:v>
                </c:pt>
                <c:pt idx="10">
                  <c:v>324.60000000000002</c:v>
                </c:pt>
                <c:pt idx="11">
                  <c:v>226.6</c:v>
                </c:pt>
                <c:pt idx="12">
                  <c:v>228.8</c:v>
                </c:pt>
                <c:pt idx="13">
                  <c:v>8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BE-4860-B2D7-6FDE2933679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Hl. m. Praha</c:v>
                </c:pt>
                <c:pt idx="1">
                  <c:v>Střed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Zlínský kraj</c:v>
                </c:pt>
                <c:pt idx="7">
                  <c:v>Královéhradecký kraj</c:v>
                </c:pt>
                <c:pt idx="8">
                  <c:v>Olomoucký kraj</c:v>
                </c:pt>
                <c:pt idx="9">
                  <c:v>Plzeňský kraj</c:v>
                </c:pt>
                <c:pt idx="10">
                  <c:v>Pardubický kraj</c:v>
                </c:pt>
                <c:pt idx="11">
                  <c:v>Vysočina</c:v>
                </c:pt>
                <c:pt idx="12">
                  <c:v>Liberec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159.19999999999999</c:v>
                </c:pt>
                <c:pt idx="1">
                  <c:v>306.2</c:v>
                </c:pt>
                <c:pt idx="2">
                  <c:v>123.4</c:v>
                </c:pt>
                <c:pt idx="3">
                  <c:v>183.6</c:v>
                </c:pt>
                <c:pt idx="4">
                  <c:v>129.80000000000001</c:v>
                </c:pt>
                <c:pt idx="5">
                  <c:v>122.4</c:v>
                </c:pt>
                <c:pt idx="6">
                  <c:v>95.8</c:v>
                </c:pt>
                <c:pt idx="7">
                  <c:v>127.8</c:v>
                </c:pt>
                <c:pt idx="8">
                  <c:v>100</c:v>
                </c:pt>
                <c:pt idx="9">
                  <c:v>26.2</c:v>
                </c:pt>
                <c:pt idx="10">
                  <c:v>32</c:v>
                </c:pt>
                <c:pt idx="11">
                  <c:v>96.8</c:v>
                </c:pt>
                <c:pt idx="12">
                  <c:v>74.599999999999994</c:v>
                </c:pt>
                <c:pt idx="13">
                  <c:v>9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BE-4860-B2D7-6FDE29336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  <c:min val="0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593775753963336"/>
          <c:y val="2.0546647505874042E-2"/>
          <c:w val="0.51641109212886238"/>
          <c:h val="5.3728242120119181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78507191182152"/>
          <c:y val="0.13329213538786594"/>
          <c:w val="0.65522854138760855"/>
          <c:h val="0.8435122520901595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Hl. m. Praha</c:v>
                </c:pt>
                <c:pt idx="4">
                  <c:v>Zlínský kraj</c:v>
                </c:pt>
                <c:pt idx="5">
                  <c:v>Česká republika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Jihočeský kraj</c:v>
                </c:pt>
                <c:pt idx="11">
                  <c:v>Vysočina</c:v>
                </c:pt>
                <c:pt idx="12">
                  <c:v>Královéhrad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0.93485827946295375</c:v>
                </c:pt>
                <c:pt idx="1">
                  <c:v>0.91026360067302303</c:v>
                </c:pt>
                <c:pt idx="2">
                  <c:v>0.85935719170275815</c:v>
                </c:pt>
                <c:pt idx="3">
                  <c:v>0.83189017951425548</c:v>
                </c:pt>
                <c:pt idx="4">
                  <c:v>0.77168732125834127</c:v>
                </c:pt>
                <c:pt idx="5">
                  <c:v>0.77102943171029437</c:v>
                </c:pt>
                <c:pt idx="6">
                  <c:v>0.76641221374045798</c:v>
                </c:pt>
                <c:pt idx="7">
                  <c:v>0.76042820228866748</c:v>
                </c:pt>
                <c:pt idx="8">
                  <c:v>0.75502204801567863</c:v>
                </c:pt>
                <c:pt idx="9">
                  <c:v>0.75411997363216887</c:v>
                </c:pt>
                <c:pt idx="10">
                  <c:v>0.71481826654240443</c:v>
                </c:pt>
                <c:pt idx="11">
                  <c:v>0.70068027210884354</c:v>
                </c:pt>
                <c:pt idx="12">
                  <c:v>0.68935342732134175</c:v>
                </c:pt>
                <c:pt idx="13">
                  <c:v>0.67335182419458073</c:v>
                </c:pt>
                <c:pt idx="14">
                  <c:v>0.49284928492849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F8-4F61-ACC2-1879E8EAC35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Pardubický kraj</c:v>
                </c:pt>
                <c:pt idx="2">
                  <c:v>Jihomoravský kraj</c:v>
                </c:pt>
                <c:pt idx="3">
                  <c:v>Hl. m. Praha</c:v>
                </c:pt>
                <c:pt idx="4">
                  <c:v>Zlínský kraj</c:v>
                </c:pt>
                <c:pt idx="5">
                  <c:v>Česká republika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Jihočeský kraj</c:v>
                </c:pt>
                <c:pt idx="11">
                  <c:v>Vysočina</c:v>
                </c:pt>
                <c:pt idx="12">
                  <c:v>Královéhrade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6.5141720537046241E-2</c:v>
                </c:pt>
                <c:pt idx="1">
                  <c:v>8.9736399326976996E-2</c:v>
                </c:pt>
                <c:pt idx="2">
                  <c:v>0.14064280829724185</c:v>
                </c:pt>
                <c:pt idx="3">
                  <c:v>0.16810982048574444</c:v>
                </c:pt>
                <c:pt idx="4">
                  <c:v>0.2283126787416587</c:v>
                </c:pt>
                <c:pt idx="5">
                  <c:v>0.22897056828970569</c:v>
                </c:pt>
                <c:pt idx="6">
                  <c:v>0.23358778625954199</c:v>
                </c:pt>
                <c:pt idx="7">
                  <c:v>0.23957179771133263</c:v>
                </c:pt>
                <c:pt idx="8">
                  <c:v>0.24497795198432143</c:v>
                </c:pt>
                <c:pt idx="9">
                  <c:v>0.24588002636783124</c:v>
                </c:pt>
                <c:pt idx="10">
                  <c:v>0.28518173345759551</c:v>
                </c:pt>
                <c:pt idx="11">
                  <c:v>0.29931972789115646</c:v>
                </c:pt>
                <c:pt idx="12">
                  <c:v>0.31064657267865819</c:v>
                </c:pt>
                <c:pt idx="13">
                  <c:v>0.32664817580541922</c:v>
                </c:pt>
                <c:pt idx="14">
                  <c:v>0.50715071507150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F8-4F61-ACC2-1879E8EAC3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998560763986897"/>
          <c:y val="9.647896535196222E-3"/>
          <c:w val="0.52372979580969747"/>
          <c:h val="5.6577425868895158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6598C7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0"/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.21052631578947367</c:v>
                </c:pt>
                <c:pt idx="1">
                  <c:v>0.30496453900709219</c:v>
                </c:pt>
                <c:pt idx="2">
                  <c:v>0.35416666666666669</c:v>
                </c:pt>
                <c:pt idx="3">
                  <c:v>0.31735159817351599</c:v>
                </c:pt>
                <c:pt idx="4">
                  <c:v>0.23678160919540231</c:v>
                </c:pt>
                <c:pt idx="5">
                  <c:v>0.33183856502242154</c:v>
                </c:pt>
                <c:pt idx="6">
                  <c:v>0.42350332594235035</c:v>
                </c:pt>
                <c:pt idx="7">
                  <c:v>0.40972222222222221</c:v>
                </c:pt>
                <c:pt idx="8">
                  <c:v>0.41424802110817943</c:v>
                </c:pt>
                <c:pt idx="9">
                  <c:v>0.48190045248868779</c:v>
                </c:pt>
                <c:pt idx="10">
                  <c:v>0.86015831134564646</c:v>
                </c:pt>
                <c:pt idx="11">
                  <c:v>0.92922374429223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26-4FF8-9B74-4D4161884D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19816940287665263</c:v>
                </c:pt>
                <c:pt idx="1">
                  <c:v>0.29697986577181207</c:v>
                </c:pt>
                <c:pt idx="2">
                  <c:v>0.38049957422651148</c:v>
                </c:pt>
                <c:pt idx="3">
                  <c:v>0.45758426966292137</c:v>
                </c:pt>
                <c:pt idx="4">
                  <c:v>0.49080348499515974</c:v>
                </c:pt>
                <c:pt idx="5">
                  <c:v>0.58953974895397487</c:v>
                </c:pt>
                <c:pt idx="6">
                  <c:v>0.67292225201072386</c:v>
                </c:pt>
                <c:pt idx="7">
                  <c:v>0.72365751386446642</c:v>
                </c:pt>
                <c:pt idx="8">
                  <c:v>0.72844827586206895</c:v>
                </c:pt>
                <c:pt idx="9">
                  <c:v>0.74366458803237367</c:v>
                </c:pt>
                <c:pt idx="10">
                  <c:v>0.76534485015050391</c:v>
                </c:pt>
                <c:pt idx="11">
                  <c:v>0.80933165195460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0F-4F58-A914-5187636E9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Rok diagnózy</a:t>
                </a:r>
                <a:r>
                  <a:rPr lang="cs-CZ" baseline="0" dirty="0"/>
                  <a:t> dle NOR</a:t>
                </a:r>
                <a:endParaRPr lang="cs-CZ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.08</c:v>
                </c:pt>
                <c:pt idx="1">
                  <c:v>0.04</c:v>
                </c:pt>
                <c:pt idx="2">
                  <c:v>0.40740740740740738</c:v>
                </c:pt>
                <c:pt idx="3">
                  <c:v>0.2</c:v>
                </c:pt>
                <c:pt idx="4">
                  <c:v>0.12121212121212122</c:v>
                </c:pt>
                <c:pt idx="5">
                  <c:v>0.17391304347826086</c:v>
                </c:pt>
                <c:pt idx="6">
                  <c:v>0.25925925925925924</c:v>
                </c:pt>
                <c:pt idx="7">
                  <c:v>0.21739130434782608</c:v>
                </c:pt>
                <c:pt idx="8">
                  <c:v>0.10526315789473684</c:v>
                </c:pt>
                <c:pt idx="9">
                  <c:v>0.20689655172413793</c:v>
                </c:pt>
                <c:pt idx="10">
                  <c:v>0.85</c:v>
                </c:pt>
                <c:pt idx="11">
                  <c:v>0.84615384615384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5-42C4-81CA-9E62B57FBB2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9.1796875E-2</c:v>
                </c:pt>
                <c:pt idx="1">
                  <c:v>0.16837782340862423</c:v>
                </c:pt>
                <c:pt idx="2">
                  <c:v>0.26849894291754756</c:v>
                </c:pt>
                <c:pt idx="3">
                  <c:v>0.29898989898989897</c:v>
                </c:pt>
                <c:pt idx="4">
                  <c:v>0.30232558139534882</c:v>
                </c:pt>
                <c:pt idx="5">
                  <c:v>0.33181818181818185</c:v>
                </c:pt>
                <c:pt idx="6">
                  <c:v>0.46650717703349281</c:v>
                </c:pt>
                <c:pt idx="7">
                  <c:v>0.50198412698412698</c:v>
                </c:pt>
                <c:pt idx="8">
                  <c:v>0.49896907216494846</c:v>
                </c:pt>
                <c:pt idx="9">
                  <c:v>0.53036437246963564</c:v>
                </c:pt>
                <c:pt idx="10">
                  <c:v>0.55711422845691383</c:v>
                </c:pt>
                <c:pt idx="11">
                  <c:v>0.62833675564681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5-42C4-81CA-9E62B57FBB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8.771929824561403E-2</c:v>
                </c:pt>
                <c:pt idx="1">
                  <c:v>0.36585365853658536</c:v>
                </c:pt>
                <c:pt idx="2">
                  <c:v>0.36956521739130432</c:v>
                </c:pt>
                <c:pt idx="3">
                  <c:v>0.29166666666666669</c:v>
                </c:pt>
                <c:pt idx="4">
                  <c:v>0.19230769230769232</c:v>
                </c:pt>
                <c:pt idx="5">
                  <c:v>0.19047619047619047</c:v>
                </c:pt>
                <c:pt idx="6">
                  <c:v>0.26923076923076922</c:v>
                </c:pt>
                <c:pt idx="7">
                  <c:v>0.30232558139534882</c:v>
                </c:pt>
                <c:pt idx="8">
                  <c:v>0.27500000000000002</c:v>
                </c:pt>
                <c:pt idx="9">
                  <c:v>0.41860465116279072</c:v>
                </c:pt>
                <c:pt idx="10">
                  <c:v>0.72499999999999998</c:v>
                </c:pt>
                <c:pt idx="11">
                  <c:v>0.93023255813953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98-495E-9CEA-5FAD8A54DE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20895522388059701</c:v>
                </c:pt>
                <c:pt idx="1">
                  <c:v>0.31021437578814626</c:v>
                </c:pt>
                <c:pt idx="2">
                  <c:v>0.35679012345679012</c:v>
                </c:pt>
                <c:pt idx="3">
                  <c:v>0.4156010230179028</c:v>
                </c:pt>
                <c:pt idx="4">
                  <c:v>0.44400000000000001</c:v>
                </c:pt>
                <c:pt idx="5">
                  <c:v>0.57530529172320222</c:v>
                </c:pt>
                <c:pt idx="6">
                  <c:v>0.58562691131498468</c:v>
                </c:pt>
                <c:pt idx="7">
                  <c:v>0.6681096681096681</c:v>
                </c:pt>
                <c:pt idx="8">
                  <c:v>0.66210045662100458</c:v>
                </c:pt>
                <c:pt idx="9">
                  <c:v>0.68279569892473113</c:v>
                </c:pt>
                <c:pt idx="10">
                  <c:v>0.71369863013698631</c:v>
                </c:pt>
                <c:pt idx="11">
                  <c:v>0.78404401650618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98-495E-9CEA-5FAD8A54DE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.24390243902439024</c:v>
                </c:pt>
                <c:pt idx="1">
                  <c:v>0.31967213114754101</c:v>
                </c:pt>
                <c:pt idx="2">
                  <c:v>0.33064516129032256</c:v>
                </c:pt>
                <c:pt idx="3">
                  <c:v>0.28082191780821919</c:v>
                </c:pt>
                <c:pt idx="4">
                  <c:v>0.2462686567164179</c:v>
                </c:pt>
                <c:pt idx="5">
                  <c:v>0.39455782312925169</c:v>
                </c:pt>
                <c:pt idx="6">
                  <c:v>0.47517730496453903</c:v>
                </c:pt>
                <c:pt idx="7">
                  <c:v>0.46923076923076923</c:v>
                </c:pt>
                <c:pt idx="8">
                  <c:v>0.46902654867256638</c:v>
                </c:pt>
                <c:pt idx="9">
                  <c:v>0.54421768707482998</c:v>
                </c:pt>
                <c:pt idx="10">
                  <c:v>0.84873949579831931</c:v>
                </c:pt>
                <c:pt idx="11">
                  <c:v>0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FC-427C-B853-E98F5FE566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20008972633467922</c:v>
                </c:pt>
                <c:pt idx="1">
                  <c:v>0.29141104294478526</c:v>
                </c:pt>
                <c:pt idx="2">
                  <c:v>0.38606741573033709</c:v>
                </c:pt>
                <c:pt idx="3">
                  <c:v>0.46251129177958444</c:v>
                </c:pt>
                <c:pt idx="4">
                  <c:v>0.49612403100775193</c:v>
                </c:pt>
                <c:pt idx="5">
                  <c:v>0.607176581680831</c:v>
                </c:pt>
                <c:pt idx="6">
                  <c:v>0.7060505002382087</c:v>
                </c:pt>
                <c:pt idx="7">
                  <c:v>0.74914529914529915</c:v>
                </c:pt>
                <c:pt idx="8">
                  <c:v>0.74978127734033251</c:v>
                </c:pt>
                <c:pt idx="9">
                  <c:v>0.76265418970650789</c:v>
                </c:pt>
                <c:pt idx="10">
                  <c:v>0.78609846917666526</c:v>
                </c:pt>
                <c:pt idx="11">
                  <c:v>0.83760683760683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FC-427C-B853-E98F5FE56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.23232323232323232</c:v>
                </c:pt>
                <c:pt idx="1">
                  <c:v>0.32067510548523209</c:v>
                </c:pt>
                <c:pt idx="2">
                  <c:v>0.35449735449735448</c:v>
                </c:pt>
                <c:pt idx="3">
                  <c:v>0.34955752212389379</c:v>
                </c:pt>
                <c:pt idx="4">
                  <c:v>0.26146788990825687</c:v>
                </c:pt>
                <c:pt idx="5">
                  <c:v>0.34033613445378152</c:v>
                </c:pt>
                <c:pt idx="6">
                  <c:v>0.45299145299145299</c:v>
                </c:pt>
                <c:pt idx="7">
                  <c:v>0.41078838174273857</c:v>
                </c:pt>
                <c:pt idx="8">
                  <c:v>0.44761904761904764</c:v>
                </c:pt>
                <c:pt idx="9">
                  <c:v>0.49327354260089684</c:v>
                </c:pt>
                <c:pt idx="10">
                  <c:v>0.90500000000000003</c:v>
                </c:pt>
                <c:pt idx="11">
                  <c:v>0.94672131147540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29-46A2-A117-779CC24A81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0.21698717948717949</c:v>
                </c:pt>
                <c:pt idx="1">
                  <c:v>0.31929824561403508</c:v>
                </c:pt>
                <c:pt idx="2">
                  <c:v>0.40794544915505487</c:v>
                </c:pt>
                <c:pt idx="3">
                  <c:v>0.48313253012048191</c:v>
                </c:pt>
                <c:pt idx="4">
                  <c:v>0.51833670228125905</c:v>
                </c:pt>
                <c:pt idx="5">
                  <c:v>0.63516230968112608</c:v>
                </c:pt>
                <c:pt idx="6">
                  <c:v>0.71105896157230863</c:v>
                </c:pt>
                <c:pt idx="7">
                  <c:v>0.76006528835690967</c:v>
                </c:pt>
                <c:pt idx="8">
                  <c:v>0.77538370720188898</c:v>
                </c:pt>
                <c:pt idx="9">
                  <c:v>0.78450430435990004</c:v>
                </c:pt>
                <c:pt idx="10">
                  <c:v>0.8062700964630225</c:v>
                </c:pt>
                <c:pt idx="11">
                  <c:v>0.83341535433070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FB-4F9D-B7CC-0C1E50BB7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ax val="1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1461623191362E-2"/>
          <c:y val="7.6042478835232769E-2"/>
          <c:w val="0.90502323617343194"/>
          <c:h val="0.82016721686766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yp I - FN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DE-4B2D-A144-D6A891202155}"/>
              </c:ext>
            </c:extLst>
          </c:dPt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B$2:$B$100</c:f>
              <c:numCache>
                <c:formatCode>General</c:formatCode>
                <c:ptCount val="99"/>
                <c:pt idx="0">
                  <c:v>0</c:v>
                </c:pt>
                <c:pt idx="1">
                  <c:v>454.8</c:v>
                </c:pt>
                <c:pt idx="2">
                  <c:v>0</c:v>
                </c:pt>
                <c:pt idx="3">
                  <c:v>343.2</c:v>
                </c:pt>
                <c:pt idx="4">
                  <c:v>327.39999999999998</c:v>
                </c:pt>
                <c:pt idx="5">
                  <c:v>281</c:v>
                </c:pt>
                <c:pt idx="6">
                  <c:v>0</c:v>
                </c:pt>
                <c:pt idx="7">
                  <c:v>0</c:v>
                </c:pt>
                <c:pt idx="8">
                  <c:v>213.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57.19999999999999</c:v>
                </c:pt>
                <c:pt idx="14">
                  <c:v>0</c:v>
                </c:pt>
                <c:pt idx="15">
                  <c:v>127</c:v>
                </c:pt>
                <c:pt idx="16">
                  <c:v>118.6</c:v>
                </c:pt>
                <c:pt idx="17">
                  <c:v>0</c:v>
                </c:pt>
                <c:pt idx="18">
                  <c:v>113.4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84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9.4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.2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DE-4B2D-A144-D6A89120215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Typ I - Spec ZZ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C$2:$C$100</c:f>
              <c:numCache>
                <c:formatCode>General</c:formatCode>
                <c:ptCount val="99"/>
                <c:pt idx="0">
                  <c:v>942</c:v>
                </c:pt>
                <c:pt idx="1">
                  <c:v>0</c:v>
                </c:pt>
                <c:pt idx="2">
                  <c:v>357.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17.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3DE-4B2D-A144-D6A89120215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Typ I - VK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2"/>
              </a:solidFill>
            </a:ln>
            <a:effectLst/>
          </c:spPr>
          <c:invertIfNegative val="0"/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D$2:$D$100</c:f>
              <c:numCache>
                <c:formatCode>General</c:formatCode>
                <c:ptCount val="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36.8</c:v>
                </c:pt>
                <c:pt idx="8">
                  <c:v>0</c:v>
                </c:pt>
                <c:pt idx="9">
                  <c:v>211.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32.6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03</c:v>
                </c:pt>
                <c:pt idx="22">
                  <c:v>0</c:v>
                </c:pt>
                <c:pt idx="23">
                  <c:v>98.8</c:v>
                </c:pt>
                <c:pt idx="24">
                  <c:v>96.4</c:v>
                </c:pt>
                <c:pt idx="25">
                  <c:v>0</c:v>
                </c:pt>
                <c:pt idx="26">
                  <c:v>93.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44.6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1.2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DE-4B2D-A144-D6A89120215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Typ II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bg2"/>
              </a:solidFill>
            </a:ln>
            <a:effectLst/>
          </c:spPr>
          <c:invertIfNegative val="0"/>
          <c:cat>
            <c:numRef>
              <c:f>List1!$A$2:$A$100</c:f>
              <c:numCache>
                <c:formatCode>General</c:formatCode>
                <c:ptCount val="9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 formatCode="###0">
                  <c:v>66</c:v>
                </c:pt>
                <c:pt idx="66" formatCode="###0">
                  <c:v>67</c:v>
                </c:pt>
                <c:pt idx="67" formatCode="###0">
                  <c:v>68</c:v>
                </c:pt>
                <c:pt idx="68" formatCode="###0">
                  <c:v>69</c:v>
                </c:pt>
                <c:pt idx="69" formatCode="###0">
                  <c:v>70</c:v>
                </c:pt>
                <c:pt idx="70" formatCode="###0">
                  <c:v>71</c:v>
                </c:pt>
                <c:pt idx="71" formatCode="###0">
                  <c:v>72</c:v>
                </c:pt>
                <c:pt idx="72" formatCode="###0">
                  <c:v>73</c:v>
                </c:pt>
                <c:pt idx="73" formatCode="###0">
                  <c:v>74</c:v>
                </c:pt>
                <c:pt idx="74" formatCode="###0">
                  <c:v>75</c:v>
                </c:pt>
                <c:pt idx="75" formatCode="###0">
                  <c:v>76</c:v>
                </c:pt>
                <c:pt idx="76" formatCode="###0">
                  <c:v>77</c:v>
                </c:pt>
                <c:pt idx="77" formatCode="###0">
                  <c:v>78</c:v>
                </c:pt>
                <c:pt idx="78" formatCode="###0">
                  <c:v>79</c:v>
                </c:pt>
                <c:pt idx="79" formatCode="###0">
                  <c:v>80</c:v>
                </c:pt>
                <c:pt idx="80" formatCode="###0">
                  <c:v>81</c:v>
                </c:pt>
                <c:pt idx="81" formatCode="###0">
                  <c:v>82</c:v>
                </c:pt>
                <c:pt idx="82" formatCode="###0">
                  <c:v>83</c:v>
                </c:pt>
                <c:pt idx="83" formatCode="###0">
                  <c:v>84</c:v>
                </c:pt>
                <c:pt idx="84" formatCode="###0">
                  <c:v>85</c:v>
                </c:pt>
                <c:pt idx="85" formatCode="###0">
                  <c:v>86</c:v>
                </c:pt>
                <c:pt idx="86" formatCode="###0">
                  <c:v>87</c:v>
                </c:pt>
                <c:pt idx="87" formatCode="###0">
                  <c:v>88</c:v>
                </c:pt>
                <c:pt idx="88" formatCode="###0">
                  <c:v>89</c:v>
                </c:pt>
                <c:pt idx="89" formatCode="###0">
                  <c:v>90</c:v>
                </c:pt>
                <c:pt idx="90" formatCode="###0">
                  <c:v>91</c:v>
                </c:pt>
                <c:pt idx="91" formatCode="###0">
                  <c:v>92</c:v>
                </c:pt>
                <c:pt idx="92" formatCode="###0">
                  <c:v>93</c:v>
                </c:pt>
                <c:pt idx="93" formatCode="###0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</c:numCache>
            </c:numRef>
          </c:cat>
          <c:val>
            <c:numRef>
              <c:f>List1!$E$2:$E$100</c:f>
              <c:numCache>
                <c:formatCode>General</c:formatCode>
                <c:ptCount val="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56.6000000000000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75.6</c:v>
                </c:pt>
                <c:pt idx="11">
                  <c:v>172</c:v>
                </c:pt>
                <c:pt idx="12">
                  <c:v>161.6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13</c:v>
                </c:pt>
                <c:pt idx="20">
                  <c:v>103.6</c:v>
                </c:pt>
                <c:pt idx="21">
                  <c:v>0</c:v>
                </c:pt>
                <c:pt idx="22">
                  <c:v>101.2</c:v>
                </c:pt>
                <c:pt idx="23">
                  <c:v>0</c:v>
                </c:pt>
                <c:pt idx="24">
                  <c:v>0</c:v>
                </c:pt>
                <c:pt idx="25">
                  <c:v>94.6</c:v>
                </c:pt>
                <c:pt idx="26">
                  <c:v>0</c:v>
                </c:pt>
                <c:pt idx="27">
                  <c:v>91.2</c:v>
                </c:pt>
                <c:pt idx="28">
                  <c:v>85</c:v>
                </c:pt>
                <c:pt idx="29">
                  <c:v>0</c:v>
                </c:pt>
                <c:pt idx="30">
                  <c:v>72.2</c:v>
                </c:pt>
                <c:pt idx="31">
                  <c:v>70.400000000000006</c:v>
                </c:pt>
                <c:pt idx="32">
                  <c:v>66.8</c:v>
                </c:pt>
                <c:pt idx="33">
                  <c:v>64.8</c:v>
                </c:pt>
                <c:pt idx="34">
                  <c:v>64.2</c:v>
                </c:pt>
                <c:pt idx="35">
                  <c:v>60.2</c:v>
                </c:pt>
                <c:pt idx="36">
                  <c:v>59.2</c:v>
                </c:pt>
                <c:pt idx="37">
                  <c:v>57.6</c:v>
                </c:pt>
                <c:pt idx="38">
                  <c:v>57.2</c:v>
                </c:pt>
                <c:pt idx="39">
                  <c:v>56.2</c:v>
                </c:pt>
                <c:pt idx="40">
                  <c:v>55.4</c:v>
                </c:pt>
                <c:pt idx="41">
                  <c:v>55</c:v>
                </c:pt>
                <c:pt idx="42">
                  <c:v>50.8</c:v>
                </c:pt>
                <c:pt idx="43">
                  <c:v>48.8</c:v>
                </c:pt>
                <c:pt idx="44">
                  <c:v>48.6</c:v>
                </c:pt>
                <c:pt idx="45">
                  <c:v>47.4</c:v>
                </c:pt>
                <c:pt idx="46">
                  <c:v>46.6</c:v>
                </c:pt>
                <c:pt idx="47">
                  <c:v>45.2</c:v>
                </c:pt>
                <c:pt idx="48">
                  <c:v>0</c:v>
                </c:pt>
                <c:pt idx="49">
                  <c:v>43.8</c:v>
                </c:pt>
                <c:pt idx="50">
                  <c:v>37.799999999999997</c:v>
                </c:pt>
                <c:pt idx="51">
                  <c:v>32.799999999999997</c:v>
                </c:pt>
                <c:pt idx="52">
                  <c:v>27.6</c:v>
                </c:pt>
                <c:pt idx="53">
                  <c:v>25.6</c:v>
                </c:pt>
                <c:pt idx="54">
                  <c:v>25.4</c:v>
                </c:pt>
                <c:pt idx="55">
                  <c:v>21.6</c:v>
                </c:pt>
                <c:pt idx="56">
                  <c:v>16.399999999999999</c:v>
                </c:pt>
                <c:pt idx="57">
                  <c:v>15.6</c:v>
                </c:pt>
                <c:pt idx="58">
                  <c:v>13.8</c:v>
                </c:pt>
                <c:pt idx="59">
                  <c:v>12.6</c:v>
                </c:pt>
                <c:pt idx="60">
                  <c:v>12.4</c:v>
                </c:pt>
                <c:pt idx="61">
                  <c:v>0</c:v>
                </c:pt>
                <c:pt idx="62">
                  <c:v>9.4</c:v>
                </c:pt>
                <c:pt idx="63">
                  <c:v>9</c:v>
                </c:pt>
                <c:pt idx="64">
                  <c:v>9</c:v>
                </c:pt>
                <c:pt idx="65">
                  <c:v>8.1999999999999993</c:v>
                </c:pt>
                <c:pt idx="66">
                  <c:v>7.6</c:v>
                </c:pt>
                <c:pt idx="67">
                  <c:v>6.4</c:v>
                </c:pt>
                <c:pt idx="68">
                  <c:v>6.4</c:v>
                </c:pt>
                <c:pt idx="69">
                  <c:v>6.2</c:v>
                </c:pt>
                <c:pt idx="70">
                  <c:v>5.2</c:v>
                </c:pt>
                <c:pt idx="71">
                  <c:v>4.5999999999999996</c:v>
                </c:pt>
                <c:pt idx="72">
                  <c:v>4.4000000000000004</c:v>
                </c:pt>
                <c:pt idx="73">
                  <c:v>3.6</c:v>
                </c:pt>
                <c:pt idx="74">
                  <c:v>3.4</c:v>
                </c:pt>
                <c:pt idx="75">
                  <c:v>3.4</c:v>
                </c:pt>
                <c:pt idx="76">
                  <c:v>3</c:v>
                </c:pt>
                <c:pt idx="77">
                  <c:v>1.6</c:v>
                </c:pt>
                <c:pt idx="78">
                  <c:v>1.4</c:v>
                </c:pt>
                <c:pt idx="79">
                  <c:v>1.4</c:v>
                </c:pt>
                <c:pt idx="80">
                  <c:v>1.4</c:v>
                </c:pt>
                <c:pt idx="81">
                  <c:v>0</c:v>
                </c:pt>
                <c:pt idx="82">
                  <c:v>0.8</c:v>
                </c:pt>
                <c:pt idx="83">
                  <c:v>0.6</c:v>
                </c:pt>
                <c:pt idx="84">
                  <c:v>0.6</c:v>
                </c:pt>
                <c:pt idx="85">
                  <c:v>0.4</c:v>
                </c:pt>
                <c:pt idx="86">
                  <c:v>0.4</c:v>
                </c:pt>
                <c:pt idx="87">
                  <c:v>0.4</c:v>
                </c:pt>
                <c:pt idx="88">
                  <c:v>0.4</c:v>
                </c:pt>
                <c:pt idx="89">
                  <c:v>0.4</c:v>
                </c:pt>
                <c:pt idx="90">
                  <c:v>0.4</c:v>
                </c:pt>
                <c:pt idx="91">
                  <c:v>0.4</c:v>
                </c:pt>
                <c:pt idx="92">
                  <c:v>0.2</c:v>
                </c:pt>
                <c:pt idx="93">
                  <c:v>0.2</c:v>
                </c:pt>
                <c:pt idx="94">
                  <c:v>0.2</c:v>
                </c:pt>
                <c:pt idx="95">
                  <c:v>0</c:v>
                </c:pt>
                <c:pt idx="96">
                  <c:v>0.2</c:v>
                </c:pt>
                <c:pt idx="97">
                  <c:v>0.2</c:v>
                </c:pt>
                <c:pt idx="98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3DE-4B2D-A144-D6A8912021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0600031"/>
        <c:axId val="1416453231"/>
      </c:barChart>
      <c:catAx>
        <c:axId val="1190600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16453231"/>
        <c:crosses val="autoZero"/>
        <c:auto val="1"/>
        <c:lblAlgn val="ctr"/>
        <c:lblOffset val="100"/>
        <c:tickLblSkip val="2"/>
        <c:noMultiLvlLbl val="0"/>
      </c:catAx>
      <c:valAx>
        <c:axId val="1416453231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300" dirty="0">
                    <a:solidFill>
                      <a:schemeClr val="tx1"/>
                    </a:solidFill>
                  </a:rPr>
                  <a:t>Průměrný počet HP za 1 rok</a:t>
                </a:r>
              </a:p>
            </c:rich>
          </c:tx>
          <c:layout>
            <c:manualLayout>
              <c:xMode val="edge"/>
              <c:yMode val="edge"/>
              <c:x val="1.0534397562910773E-2"/>
              <c:y val="0.155125578540501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90600031"/>
        <c:crosses val="autoZero"/>
        <c:crossBetween val="between"/>
        <c:majorUnit val="10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2:$AV$2</c:f>
              <c:numCache>
                <c:formatCode>General</c:formatCode>
                <c:ptCount val="47"/>
                <c:pt idx="0">
                  <c:v>39.902520000000003</c:v>
                </c:pt>
                <c:pt idx="1">
                  <c:v>38.04439</c:v>
                </c:pt>
                <c:pt idx="2">
                  <c:v>34.87923</c:v>
                </c:pt>
                <c:pt idx="3">
                  <c:v>37.389470000000003</c:v>
                </c:pt>
                <c:pt idx="4">
                  <c:v>40.566409999999998</c:v>
                </c:pt>
                <c:pt idx="5">
                  <c:v>43.175699999999999</c:v>
                </c:pt>
                <c:pt idx="6">
                  <c:v>41.976460000000003</c:v>
                </c:pt>
                <c:pt idx="7">
                  <c:v>41.394159999999999</c:v>
                </c:pt>
                <c:pt idx="8">
                  <c:v>42.741370000000003</c:v>
                </c:pt>
                <c:pt idx="9">
                  <c:v>51.913849999999996</c:v>
                </c:pt>
                <c:pt idx="10">
                  <c:v>50.819989999999997</c:v>
                </c:pt>
                <c:pt idx="11">
                  <c:v>53.403039999999997</c:v>
                </c:pt>
                <c:pt idx="12">
                  <c:v>52.430280000000003</c:v>
                </c:pt>
                <c:pt idx="13">
                  <c:v>50.439689999999999</c:v>
                </c:pt>
                <c:pt idx="14">
                  <c:v>59.4148</c:v>
                </c:pt>
                <c:pt idx="15">
                  <c:v>61.22343</c:v>
                </c:pt>
                <c:pt idx="16">
                  <c:v>67.563400000000001</c:v>
                </c:pt>
                <c:pt idx="17">
                  <c:v>69.432050000000004</c:v>
                </c:pt>
                <c:pt idx="18">
                  <c:v>71.270189999999999</c:v>
                </c:pt>
                <c:pt idx="19">
                  <c:v>67.567570000000003</c:v>
                </c:pt>
                <c:pt idx="20">
                  <c:v>70.659630000000007</c:v>
                </c:pt>
                <c:pt idx="21">
                  <c:v>69.581000000000003</c:v>
                </c:pt>
                <c:pt idx="22">
                  <c:v>79.010249999999999</c:v>
                </c:pt>
                <c:pt idx="23">
                  <c:v>73.610600000000005</c:v>
                </c:pt>
                <c:pt idx="24">
                  <c:v>81.278260000000003</c:v>
                </c:pt>
                <c:pt idx="25">
                  <c:v>95.744519999999994</c:v>
                </c:pt>
                <c:pt idx="26">
                  <c:v>97.323750000000004</c:v>
                </c:pt>
                <c:pt idx="27">
                  <c:v>90.885069999999999</c:v>
                </c:pt>
                <c:pt idx="28">
                  <c:v>95.446680000000001</c:v>
                </c:pt>
                <c:pt idx="29">
                  <c:v>99.174869999999999</c:v>
                </c:pt>
                <c:pt idx="30">
                  <c:v>109.5556</c:v>
                </c:pt>
                <c:pt idx="31">
                  <c:v>103.2817</c:v>
                </c:pt>
                <c:pt idx="32">
                  <c:v>98.232129999999998</c:v>
                </c:pt>
                <c:pt idx="33">
                  <c:v>110.00830000000001</c:v>
                </c:pt>
                <c:pt idx="34">
                  <c:v>112.50149999999999</c:v>
                </c:pt>
                <c:pt idx="35">
                  <c:v>102.1874</c:v>
                </c:pt>
                <c:pt idx="36">
                  <c:v>115.5489</c:v>
                </c:pt>
                <c:pt idx="37">
                  <c:v>122.2694</c:v>
                </c:pt>
                <c:pt idx="38">
                  <c:v>108.92</c:v>
                </c:pt>
                <c:pt idx="39">
                  <c:v>120.5513</c:v>
                </c:pt>
                <c:pt idx="40">
                  <c:v>118.8917</c:v>
                </c:pt>
                <c:pt idx="41">
                  <c:v>118.685</c:v>
                </c:pt>
                <c:pt idx="42">
                  <c:v>125.15219999999999</c:v>
                </c:pt>
                <c:pt idx="43">
                  <c:v>106.1564</c:v>
                </c:pt>
                <c:pt idx="44">
                  <c:v>121.15389999999999</c:v>
                </c:pt>
                <c:pt idx="45">
                  <c:v>128.0292</c:v>
                </c:pt>
                <c:pt idx="46">
                  <c:v>133.512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DD-4191-A44E-6DDA4A55BD7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C9900">
                <a:alpha val="30000"/>
              </a:srgbClr>
            </a:solidFill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3:$AV$3</c:f>
              <c:numCache>
                <c:formatCode>General</c:formatCode>
                <c:ptCount val="47"/>
                <c:pt idx="0">
                  <c:v>40.14472</c:v>
                </c:pt>
                <c:pt idx="1">
                  <c:v>40.08222</c:v>
                </c:pt>
                <c:pt idx="2">
                  <c:v>46.308320000000002</c:v>
                </c:pt>
                <c:pt idx="3">
                  <c:v>41.98565</c:v>
                </c:pt>
                <c:pt idx="4">
                  <c:v>42.158110000000001</c:v>
                </c:pt>
                <c:pt idx="5">
                  <c:v>32.409730000000003</c:v>
                </c:pt>
                <c:pt idx="6">
                  <c:v>40.913559999999997</c:v>
                </c:pt>
                <c:pt idx="7">
                  <c:v>49.222020000000001</c:v>
                </c:pt>
                <c:pt idx="8">
                  <c:v>39.321260000000002</c:v>
                </c:pt>
                <c:pt idx="9">
                  <c:v>31.007750000000001</c:v>
                </c:pt>
                <c:pt idx="10">
                  <c:v>37.723770000000002</c:v>
                </c:pt>
                <c:pt idx="11">
                  <c:v>33.561340000000001</c:v>
                </c:pt>
                <c:pt idx="12">
                  <c:v>41.884430000000002</c:v>
                </c:pt>
                <c:pt idx="13">
                  <c:v>44.287280000000003</c:v>
                </c:pt>
                <c:pt idx="14">
                  <c:v>38.226750000000003</c:v>
                </c:pt>
                <c:pt idx="15">
                  <c:v>37.104990000000001</c:v>
                </c:pt>
                <c:pt idx="16">
                  <c:v>32.970610000000001</c:v>
                </c:pt>
                <c:pt idx="17">
                  <c:v>34.998640000000002</c:v>
                </c:pt>
                <c:pt idx="18">
                  <c:v>35.159930000000003</c:v>
                </c:pt>
                <c:pt idx="19">
                  <c:v>37.712769999999999</c:v>
                </c:pt>
                <c:pt idx="20">
                  <c:v>32.681739999999998</c:v>
                </c:pt>
                <c:pt idx="21">
                  <c:v>35.967089999999999</c:v>
                </c:pt>
                <c:pt idx="22">
                  <c:v>43.337029999999999</c:v>
                </c:pt>
                <c:pt idx="23">
                  <c:v>49.949599999999997</c:v>
                </c:pt>
                <c:pt idx="24">
                  <c:v>53.334960000000002</c:v>
                </c:pt>
                <c:pt idx="25">
                  <c:v>42.920780000000001</c:v>
                </c:pt>
                <c:pt idx="26">
                  <c:v>50.249009999999998</c:v>
                </c:pt>
                <c:pt idx="27">
                  <c:v>43.745049999999999</c:v>
                </c:pt>
                <c:pt idx="28">
                  <c:v>39.633560000000003</c:v>
                </c:pt>
                <c:pt idx="29">
                  <c:v>38.895530000000001</c:v>
                </c:pt>
                <c:pt idx="30">
                  <c:v>38.931199999999997</c:v>
                </c:pt>
                <c:pt idx="31">
                  <c:v>49.590350000000001</c:v>
                </c:pt>
                <c:pt idx="32">
                  <c:v>45.356169999999999</c:v>
                </c:pt>
                <c:pt idx="33">
                  <c:v>37.874890000000001</c:v>
                </c:pt>
                <c:pt idx="34">
                  <c:v>33.773269999999997</c:v>
                </c:pt>
                <c:pt idx="35">
                  <c:v>51.074069999999999</c:v>
                </c:pt>
                <c:pt idx="36">
                  <c:v>41.149549999999998</c:v>
                </c:pt>
                <c:pt idx="37">
                  <c:v>34.475529999999999</c:v>
                </c:pt>
                <c:pt idx="38">
                  <c:v>49.308100000000003</c:v>
                </c:pt>
                <c:pt idx="39">
                  <c:v>34.537979999999997</c:v>
                </c:pt>
                <c:pt idx="40">
                  <c:v>40.194659999999999</c:v>
                </c:pt>
                <c:pt idx="41">
                  <c:v>40.049990000000001</c:v>
                </c:pt>
                <c:pt idx="42">
                  <c:v>29.863769999999999</c:v>
                </c:pt>
                <c:pt idx="43">
                  <c:v>39.823779999999999</c:v>
                </c:pt>
                <c:pt idx="44">
                  <c:v>42.837769999999999</c:v>
                </c:pt>
                <c:pt idx="45">
                  <c:v>29.624130000000001</c:v>
                </c:pt>
                <c:pt idx="46">
                  <c:v>34.5508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DD-4191-A44E-6DDA4A55B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4:$AV$4</c:f>
              <c:numCache>
                <c:formatCode>General</c:formatCode>
                <c:ptCount val="47"/>
                <c:pt idx="0">
                  <c:v>53.589480000000002</c:v>
                </c:pt>
                <c:pt idx="1">
                  <c:v>52.263770000000001</c:v>
                </c:pt>
                <c:pt idx="2">
                  <c:v>52.269030000000001</c:v>
                </c:pt>
                <c:pt idx="3">
                  <c:v>53.257620000000003</c:v>
                </c:pt>
                <c:pt idx="4">
                  <c:v>55.621510000000001</c:v>
                </c:pt>
                <c:pt idx="5">
                  <c:v>57.426729999999999</c:v>
                </c:pt>
                <c:pt idx="6">
                  <c:v>56.794800000000002</c:v>
                </c:pt>
                <c:pt idx="7">
                  <c:v>60.323560000000001</c:v>
                </c:pt>
                <c:pt idx="8">
                  <c:v>58.799500000000002</c:v>
                </c:pt>
                <c:pt idx="9">
                  <c:v>60.80986</c:v>
                </c:pt>
                <c:pt idx="10">
                  <c:v>66.976039999999998</c:v>
                </c:pt>
                <c:pt idx="11">
                  <c:v>63.31908</c:v>
                </c:pt>
                <c:pt idx="12">
                  <c:v>66.848190000000002</c:v>
                </c:pt>
                <c:pt idx="13">
                  <c:v>65.486930000000001</c:v>
                </c:pt>
                <c:pt idx="14">
                  <c:v>72.647350000000003</c:v>
                </c:pt>
                <c:pt idx="15">
                  <c:v>76.385800000000003</c:v>
                </c:pt>
                <c:pt idx="16">
                  <c:v>78.872230000000002</c:v>
                </c:pt>
                <c:pt idx="17">
                  <c:v>87.454660000000004</c:v>
                </c:pt>
                <c:pt idx="18">
                  <c:v>86.656940000000006</c:v>
                </c:pt>
                <c:pt idx="19">
                  <c:v>86.460509999999999</c:v>
                </c:pt>
                <c:pt idx="20">
                  <c:v>87.169910000000002</c:v>
                </c:pt>
                <c:pt idx="21">
                  <c:v>90.043180000000007</c:v>
                </c:pt>
                <c:pt idx="22">
                  <c:v>97.178749999999994</c:v>
                </c:pt>
                <c:pt idx="23">
                  <c:v>95.293599999999998</c:v>
                </c:pt>
                <c:pt idx="24">
                  <c:v>100.7008</c:v>
                </c:pt>
                <c:pt idx="25">
                  <c:v>106.52809999999999</c:v>
                </c:pt>
                <c:pt idx="26">
                  <c:v>114.1692</c:v>
                </c:pt>
                <c:pt idx="27">
                  <c:v>110.82689999999999</c:v>
                </c:pt>
                <c:pt idx="28">
                  <c:v>109.5819</c:v>
                </c:pt>
                <c:pt idx="29">
                  <c:v>115.0829</c:v>
                </c:pt>
                <c:pt idx="30">
                  <c:v>127.6092</c:v>
                </c:pt>
                <c:pt idx="31">
                  <c:v>123.5056</c:v>
                </c:pt>
                <c:pt idx="32">
                  <c:v>114.99760000000001</c:v>
                </c:pt>
                <c:pt idx="33">
                  <c:v>125.10120000000001</c:v>
                </c:pt>
                <c:pt idx="34">
                  <c:v>125.6254</c:v>
                </c:pt>
                <c:pt idx="35">
                  <c:v>130.32</c:v>
                </c:pt>
                <c:pt idx="36">
                  <c:v>136.24719999999999</c:v>
                </c:pt>
                <c:pt idx="37">
                  <c:v>133.95230000000001</c:v>
                </c:pt>
                <c:pt idx="38">
                  <c:v>134.988</c:v>
                </c:pt>
                <c:pt idx="39">
                  <c:v>137.0556</c:v>
                </c:pt>
                <c:pt idx="40">
                  <c:v>135.78720000000001</c:v>
                </c:pt>
                <c:pt idx="41">
                  <c:v>134.15350000000001</c:v>
                </c:pt>
                <c:pt idx="42">
                  <c:v>140.65690000000001</c:v>
                </c:pt>
                <c:pt idx="43">
                  <c:v>131.47819999999999</c:v>
                </c:pt>
                <c:pt idx="44">
                  <c:v>145.2817</c:v>
                </c:pt>
                <c:pt idx="45">
                  <c:v>143.24160000000001</c:v>
                </c:pt>
                <c:pt idx="46">
                  <c:v>147.029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DD-4191-A44E-6DDA4A55BD78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2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5:$AV$5</c:f>
              <c:numCache>
                <c:formatCode>General</c:formatCode>
                <c:ptCount val="47"/>
                <c:pt idx="0">
                  <c:v>46.697200000000002</c:v>
                </c:pt>
                <c:pt idx="1">
                  <c:v>56.816429999999997</c:v>
                </c:pt>
                <c:pt idx="2">
                  <c:v>56.031790000000001</c:v>
                </c:pt>
                <c:pt idx="3">
                  <c:v>52.264090000000003</c:v>
                </c:pt>
                <c:pt idx="4">
                  <c:v>56.598730000000003</c:v>
                </c:pt>
                <c:pt idx="5">
                  <c:v>62.541879999999999</c:v>
                </c:pt>
                <c:pt idx="6">
                  <c:v>53.338470000000001</c:v>
                </c:pt>
                <c:pt idx="7">
                  <c:v>67.931030000000007</c:v>
                </c:pt>
                <c:pt idx="8">
                  <c:v>56.326929999999997</c:v>
                </c:pt>
                <c:pt idx="9">
                  <c:v>59.222830000000002</c:v>
                </c:pt>
                <c:pt idx="10">
                  <c:v>63.411320000000003</c:v>
                </c:pt>
                <c:pt idx="11">
                  <c:v>57.242570000000001</c:v>
                </c:pt>
                <c:pt idx="12">
                  <c:v>72.911100000000005</c:v>
                </c:pt>
                <c:pt idx="13">
                  <c:v>65.380619999999993</c:v>
                </c:pt>
                <c:pt idx="14">
                  <c:v>72.399140000000003</c:v>
                </c:pt>
                <c:pt idx="15">
                  <c:v>84.179220000000001</c:v>
                </c:pt>
                <c:pt idx="16">
                  <c:v>84.58099</c:v>
                </c:pt>
                <c:pt idx="17">
                  <c:v>97.945939999999993</c:v>
                </c:pt>
                <c:pt idx="18">
                  <c:v>98.506569999999996</c:v>
                </c:pt>
                <c:pt idx="19">
                  <c:v>92.043360000000007</c:v>
                </c:pt>
                <c:pt idx="20">
                  <c:v>91.912409999999994</c:v>
                </c:pt>
                <c:pt idx="21">
                  <c:v>97.777339999999995</c:v>
                </c:pt>
                <c:pt idx="22">
                  <c:v>99.383470000000003</c:v>
                </c:pt>
                <c:pt idx="23">
                  <c:v>89.544280000000001</c:v>
                </c:pt>
                <c:pt idx="24">
                  <c:v>110.7574</c:v>
                </c:pt>
                <c:pt idx="25">
                  <c:v>105.2256</c:v>
                </c:pt>
                <c:pt idx="26">
                  <c:v>120.9134</c:v>
                </c:pt>
                <c:pt idx="27">
                  <c:v>117.7033</c:v>
                </c:pt>
                <c:pt idx="28">
                  <c:v>117.22369999999999</c:v>
                </c:pt>
                <c:pt idx="29">
                  <c:v>130.69200000000001</c:v>
                </c:pt>
                <c:pt idx="30">
                  <c:v>146.49870000000001</c:v>
                </c:pt>
                <c:pt idx="31">
                  <c:v>134.3528</c:v>
                </c:pt>
                <c:pt idx="32">
                  <c:v>133.75700000000001</c:v>
                </c:pt>
                <c:pt idx="33">
                  <c:v>131.0797</c:v>
                </c:pt>
                <c:pt idx="34">
                  <c:v>140.6216</c:v>
                </c:pt>
                <c:pt idx="35">
                  <c:v>142.85319999999999</c:v>
                </c:pt>
                <c:pt idx="36">
                  <c:v>151.9452</c:v>
                </c:pt>
                <c:pt idx="37">
                  <c:v>137.94669999999999</c:v>
                </c:pt>
                <c:pt idx="38">
                  <c:v>154.85579999999999</c:v>
                </c:pt>
                <c:pt idx="39">
                  <c:v>155.08930000000001</c:v>
                </c:pt>
                <c:pt idx="40">
                  <c:v>159.0864</c:v>
                </c:pt>
                <c:pt idx="41">
                  <c:v>158.73500000000001</c:v>
                </c:pt>
                <c:pt idx="42">
                  <c:v>149.85300000000001</c:v>
                </c:pt>
                <c:pt idx="43">
                  <c:v>130.6463</c:v>
                </c:pt>
                <c:pt idx="44">
                  <c:v>157.19820000000001</c:v>
                </c:pt>
                <c:pt idx="45">
                  <c:v>128.0292</c:v>
                </c:pt>
                <c:pt idx="46">
                  <c:v>141.9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DD-4191-A44E-6DDA4A55B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266959194468845E-2"/>
          <c:y val="7.131897832510338E-2"/>
          <c:w val="0.8745461197344413"/>
          <c:h val="0.6022485326478418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oč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F5C0-4BC7-95E2-132142B7E422}"/>
              </c:ext>
            </c:extLst>
          </c:dPt>
          <c:dPt>
            <c:idx val="4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E771-4EFA-A224-1D7CC9CBA1F2}"/>
              </c:ext>
            </c:extLst>
          </c:dPt>
          <c:dPt>
            <c:idx val="6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D864-4D4F-A02A-5D2C3D97038D}"/>
              </c:ext>
            </c:extLst>
          </c:dPt>
          <c:dPt>
            <c:idx val="9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BA2A-4F07-9C7E-799FC234DE74}"/>
              </c:ext>
            </c:extLst>
          </c:dPt>
          <c:dPt>
            <c:idx val="10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87F2-43A9-98B9-74C2C681F60C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Olomou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Zlínský kraj</c:v>
                </c:pt>
                <c:pt idx="5">
                  <c:v>Královéhradec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Liberecký kraj</c:v>
                </c:pt>
                <c:pt idx="12">
                  <c:v>Hlavní město Praha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.0%</c:formatCode>
                <c:ptCount val="14"/>
                <c:pt idx="0">
                  <c:v>0.65811045226244602</c:v>
                </c:pt>
                <c:pt idx="1">
                  <c:v>0.63788283078492258</c:v>
                </c:pt>
                <c:pt idx="2">
                  <c:v>0.63142811654195197</c:v>
                </c:pt>
                <c:pt idx="3">
                  <c:v>0.61623176128320312</c:v>
                </c:pt>
                <c:pt idx="4">
                  <c:v>0.60564692498553452</c:v>
                </c:pt>
                <c:pt idx="5">
                  <c:v>0.6039392376280357</c:v>
                </c:pt>
                <c:pt idx="6">
                  <c:v>0.59621107749935032</c:v>
                </c:pt>
                <c:pt idx="7">
                  <c:v>0.59112641278048461</c:v>
                </c:pt>
                <c:pt idx="8">
                  <c:v>0.58802470368415793</c:v>
                </c:pt>
                <c:pt idx="9">
                  <c:v>0.5777497441268179</c:v>
                </c:pt>
                <c:pt idx="10">
                  <c:v>0.55322483538957001</c:v>
                </c:pt>
                <c:pt idx="11">
                  <c:v>0.55189575011459624</c:v>
                </c:pt>
                <c:pt idx="12">
                  <c:v>0.52882482863322711</c:v>
                </c:pt>
                <c:pt idx="13">
                  <c:v>0.52851346782373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75-442C-9DC4-FE6F1A852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5135750458"/>
              <c:y val="0.868844540996879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/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okrytí</a:t>
                </a:r>
                <a:r>
                  <a:rPr lang="cs-CZ" b="0" baseline="0" dirty="0">
                    <a:solidFill>
                      <a:schemeClr val="tx1"/>
                    </a:solidFill>
                  </a:rPr>
                  <a:t> ve skupině</a:t>
                </a:r>
                <a:endParaRPr lang="cs-CZ" b="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1.5185501930636889E-2"/>
              <c:y val="0.16183215458168157"/>
            </c:manualLayout>
          </c:layout>
          <c:overlay val="0"/>
        </c:title>
        <c:numFmt formatCode="0\ %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282314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cs-CZ" sz="1200" dirty="0"/>
              <a:t>Počet center</a:t>
            </a:r>
          </a:p>
        </c:rich>
      </c:tx>
      <c:layout>
        <c:manualLayout>
          <c:xMode val="edge"/>
          <c:yMode val="edge"/>
          <c:x val="0.45571432097633569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3220207975570453"/>
          <c:y val="7.131897832510338E-2"/>
          <c:w val="0.84508478759904226"/>
          <c:h val="0.52082878560367019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oč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4D52-4700-9ACE-150753CFB83E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DF57-48F3-B17A-0519C683E4C9}"/>
              </c:ext>
            </c:extLst>
          </c:dPt>
          <c:dPt>
            <c:idx val="6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E3B9-4269-87E5-23578642A43D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BEEE-4A4B-A320-8B6146040DA6}"/>
              </c:ext>
            </c:extLst>
          </c:dPt>
          <c:dPt>
            <c:idx val="1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2702-4369-9256-057B754A2178}"/>
              </c:ext>
            </c:extLst>
          </c:dPt>
          <c:cat>
            <c:strRef>
              <c:f>Sheet1!$A$2:$A$15</c:f>
              <c:strCache>
                <c:ptCount val="14"/>
                <c:pt idx="0">
                  <c:v>Hlavní město Praha</c:v>
                </c:pt>
                <c:pt idx="1">
                  <c:v>Moravskoslezský kraj</c:v>
                </c:pt>
                <c:pt idx="2">
                  <c:v>Jihomoravský kraj</c:v>
                </c:pt>
                <c:pt idx="3">
                  <c:v>Královéhradecký kraj</c:v>
                </c:pt>
                <c:pt idx="4">
                  <c:v>Olomoucký kraj</c:v>
                </c:pt>
                <c:pt idx="5">
                  <c:v>Kraj Vysočina</c:v>
                </c:pt>
                <c:pt idx="6">
                  <c:v>Plzeňský kraj</c:v>
                </c:pt>
                <c:pt idx="7">
                  <c:v>Středočes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Jihoče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1</c:v>
                </c:pt>
                <c:pt idx="1">
                  <c:v>9</c:v>
                </c:pt>
                <c:pt idx="2">
                  <c:v>8</c:v>
                </c:pt>
                <c:pt idx="3">
                  <c:v>6</c:v>
                </c:pt>
                <c:pt idx="4">
                  <c:v>6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4</c:v>
                </c:pt>
                <c:pt idx="9">
                  <c:v>4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18-497C-8ED2-1F2628D888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9823442903"/>
              <c:y val="0.8288580465623185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/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  <c:max val="14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očet center</a:t>
                </a:r>
              </a:p>
            </c:rich>
          </c:tx>
          <c:layout>
            <c:manualLayout>
              <c:xMode val="edge"/>
              <c:yMode val="edge"/>
              <c:x val="1.8861952600752491E-2"/>
              <c:y val="0.1569442637602356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/>
            </a:pPr>
            <a:endParaRPr lang="cs-CZ"/>
          </a:p>
        </c:txPr>
        <c:crossAx val="328231464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cs-CZ" sz="1200" dirty="0"/>
              <a:t>Počet žen z cílové populace na</a:t>
            </a:r>
            <a:r>
              <a:rPr lang="cs-CZ" sz="1200" baseline="0" dirty="0"/>
              <a:t> 1 mamografické screeningové centrum</a:t>
            </a:r>
            <a:endParaRPr lang="cs-CZ" sz="1200" dirty="0"/>
          </a:p>
        </c:rich>
      </c:tx>
      <c:layout>
        <c:manualLayout>
          <c:xMode val="edge"/>
          <c:yMode val="edge"/>
          <c:x val="0.17982531180467645"/>
          <c:y val="4.667164987589751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3220207975570453"/>
          <c:y val="7.131897832510338E-2"/>
          <c:w val="0.84508478759904226"/>
          <c:h val="0.52082878560367019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oč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0A62-4BD5-A358-C73C04149588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9"/>
              </a:solidFill>
            </c:spPr>
            <c:extLst>
              <c:ext xmlns:c16="http://schemas.microsoft.com/office/drawing/2014/chart" uri="{C3380CC4-5D6E-409C-BE32-E72D297353CC}">
                <c16:uniqueId val="{00000002-A479-473A-B608-715EA5090769}"/>
              </c:ext>
            </c:extLst>
          </c:dPt>
          <c:dPt>
            <c:idx val="6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52FF-42B7-9D16-EE71FDAD5907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8208-4FF6-A9FE-E388A21586F8}"/>
              </c:ext>
            </c:extLst>
          </c:dPt>
          <c:dPt>
            <c:idx val="1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12ED-4546-B328-02FB63A28867}"/>
              </c:ext>
            </c:extLst>
          </c:dPt>
          <c:cat>
            <c:strRef>
              <c:f>Sheet1!$A$2:$A$15</c:f>
              <c:strCache>
                <c:ptCount val="14"/>
                <c:pt idx="0">
                  <c:v>Hlavní město Praha</c:v>
                </c:pt>
                <c:pt idx="1">
                  <c:v>Moravskoslezský kraj</c:v>
                </c:pt>
                <c:pt idx="2">
                  <c:v>Jihomoravský kraj</c:v>
                </c:pt>
                <c:pt idx="3">
                  <c:v>Královéhradecký kraj</c:v>
                </c:pt>
                <c:pt idx="4">
                  <c:v>Olomoucký kraj</c:v>
                </c:pt>
                <c:pt idx="5">
                  <c:v>Kraj Vysočina</c:v>
                </c:pt>
                <c:pt idx="6">
                  <c:v>Plzeňský kraj</c:v>
                </c:pt>
                <c:pt idx="7">
                  <c:v>Středočes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Jihoče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30297.090909090908</c:v>
                </c:pt>
                <c:pt idx="1">
                  <c:v>35475.888888888891</c:v>
                </c:pt>
                <c:pt idx="2">
                  <c:v>39021.25</c:v>
                </c:pt>
                <c:pt idx="3">
                  <c:v>24755.833333333332</c:v>
                </c:pt>
                <c:pt idx="4">
                  <c:v>28175.666666666668</c:v>
                </c:pt>
                <c:pt idx="5">
                  <c:v>26889.8</c:v>
                </c:pt>
                <c:pt idx="6">
                  <c:v>31452.2</c:v>
                </c:pt>
                <c:pt idx="7">
                  <c:v>71129</c:v>
                </c:pt>
                <c:pt idx="8">
                  <c:v>39312</c:v>
                </c:pt>
                <c:pt idx="9">
                  <c:v>52788</c:v>
                </c:pt>
                <c:pt idx="10">
                  <c:v>38961.333333333336</c:v>
                </c:pt>
                <c:pt idx="11">
                  <c:v>45508.333333333336</c:v>
                </c:pt>
                <c:pt idx="12">
                  <c:v>39820</c:v>
                </c:pt>
                <c:pt idx="13">
                  <c:v>8556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F0-45A6-832B-B3A0F99D6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9823442903"/>
              <c:y val="0.8288580465623185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/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  <c:max val="10000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očet žen na 1 centrum</a:t>
                </a:r>
              </a:p>
            </c:rich>
          </c:tx>
          <c:layout>
            <c:manualLayout>
              <c:xMode val="edge"/>
              <c:yMode val="edge"/>
              <c:x val="2.0653264736892215E-2"/>
              <c:y val="2.9278191697738234E-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/>
            </a:pPr>
            <a:endParaRPr lang="cs-CZ"/>
          </a:p>
        </c:txPr>
        <c:crossAx val="328231464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266959194468845E-2"/>
          <c:y val="7.1318953650543221E-2"/>
          <c:w val="0.8745461197344413"/>
          <c:h val="0.6022485326478418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růměrná objednávací doba 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B449-4A4F-8020-B9B1065E8D3D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E8A4-41A7-8D65-C665D9725951}"/>
              </c:ext>
            </c:extLst>
          </c:dPt>
          <c:dPt>
            <c:idx val="5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312F-4195-930C-D29EC0B0ACD0}"/>
              </c:ext>
            </c:extLst>
          </c:dPt>
          <c:dPt>
            <c:idx val="9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831C-4DEE-8C69-52B90AB5D6E4}"/>
              </c:ext>
            </c:extLst>
          </c:dPt>
          <c:dPt>
            <c:idx val="10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2-8BB7-4C5C-B110-BDA315A94C5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5</c:f>
              <c:strCache>
                <c:ptCount val="14"/>
                <c:pt idx="0">
                  <c:v>Karlovarský kraj</c:v>
                </c:pt>
                <c:pt idx="1">
                  <c:v>Moravskoslezský kraj</c:v>
                </c:pt>
                <c:pt idx="2">
                  <c:v>Ústec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Hlavní město Praha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Kraj Vysočina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2</c:v>
                </c:pt>
                <c:pt idx="1">
                  <c:v>29.444444444444443</c:v>
                </c:pt>
                <c:pt idx="2">
                  <c:v>27</c:v>
                </c:pt>
                <c:pt idx="3">
                  <c:v>35</c:v>
                </c:pt>
                <c:pt idx="4">
                  <c:v>17.666666666666668</c:v>
                </c:pt>
                <c:pt idx="5">
                  <c:v>21.181818181818183</c:v>
                </c:pt>
                <c:pt idx="6">
                  <c:v>27</c:v>
                </c:pt>
                <c:pt idx="7">
                  <c:v>17.666666666666668</c:v>
                </c:pt>
                <c:pt idx="8">
                  <c:v>14.75</c:v>
                </c:pt>
                <c:pt idx="9">
                  <c:v>19.399999999999999</c:v>
                </c:pt>
                <c:pt idx="10">
                  <c:v>14.2</c:v>
                </c:pt>
                <c:pt idx="11">
                  <c:v>16.833333333333332</c:v>
                </c:pt>
                <c:pt idx="12">
                  <c:v>12</c:v>
                </c:pt>
                <c:pt idx="1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D5-4B00-BF0A-25604D019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5135750458"/>
              <c:y val="0.868844540996879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>
                <a:solidFill>
                  <a:schemeClr val="tx1"/>
                </a:solidFill>
              </a:defRPr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růměrná objednávací doba v regionu ve dnech</a:t>
                </a:r>
              </a:p>
            </c:rich>
          </c:tx>
          <c:layout>
            <c:manualLayout>
              <c:xMode val="edge"/>
              <c:yMode val="edge"/>
              <c:x val="1.4001719746558762E-2"/>
              <c:y val="2.5085105575116472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28231464"/>
        <c:crosses val="autoZero"/>
        <c:crossBetween val="between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266959194468845E-2"/>
          <c:y val="7.1318953650543221E-2"/>
          <c:w val="0.8745461197344413"/>
          <c:h val="0.6022485326478418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průměrná objednávací doba 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0-B449-4A4F-8020-B9B1065E8D3D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4-E8A4-41A7-8D65-C665D9725951}"/>
              </c:ext>
            </c:extLst>
          </c:dPt>
          <c:dPt>
            <c:idx val="5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6-440A-4B3C-90D0-DF2756223EAD}"/>
              </c:ext>
            </c:extLst>
          </c:dPt>
          <c:dPt>
            <c:idx val="9"/>
            <c:invertIfNegative val="0"/>
            <c:bubble3D val="0"/>
            <c:spPr>
              <a:solidFill>
                <a:srgbClr val="D71440"/>
              </a:solidFill>
            </c:spPr>
            <c:extLst>
              <c:ext xmlns:c16="http://schemas.microsoft.com/office/drawing/2014/chart" uri="{C3380CC4-5D6E-409C-BE32-E72D297353CC}">
                <c16:uniqueId val="{00000008-CC7C-45E1-A6C2-C5A4079EC1DF}"/>
              </c:ext>
            </c:extLst>
          </c:dPt>
          <c:dPt>
            <c:idx val="10"/>
            <c:invertIfNegative val="0"/>
            <c:bubble3D val="0"/>
            <c:spPr>
              <a:solidFill>
                <a:srgbClr val="2C2F7A"/>
              </a:solidFill>
            </c:spPr>
            <c:extLst>
              <c:ext xmlns:c16="http://schemas.microsoft.com/office/drawing/2014/chart" uri="{C3380CC4-5D6E-409C-BE32-E72D297353CC}">
                <c16:uniqueId val="{00000002-8BB7-4C5C-B110-BDA315A94C5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5</c:f>
              <c:strCache>
                <c:ptCount val="14"/>
                <c:pt idx="0">
                  <c:v>Karlovarský kraj</c:v>
                </c:pt>
                <c:pt idx="1">
                  <c:v>Moravskoslezský kraj</c:v>
                </c:pt>
                <c:pt idx="2">
                  <c:v>Ústec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Hlavní město Praha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Kraj Vysočina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2.5</c:v>
                </c:pt>
                <c:pt idx="1">
                  <c:v>35.333333333333336</c:v>
                </c:pt>
                <c:pt idx="2">
                  <c:v>31.75</c:v>
                </c:pt>
                <c:pt idx="3">
                  <c:v>27.75</c:v>
                </c:pt>
                <c:pt idx="4">
                  <c:v>22.666666666666668</c:v>
                </c:pt>
                <c:pt idx="5">
                  <c:v>21.727272727272727</c:v>
                </c:pt>
                <c:pt idx="6">
                  <c:v>20.5</c:v>
                </c:pt>
                <c:pt idx="7">
                  <c:v>20.333333333333332</c:v>
                </c:pt>
                <c:pt idx="8">
                  <c:v>16.875</c:v>
                </c:pt>
                <c:pt idx="9">
                  <c:v>16</c:v>
                </c:pt>
                <c:pt idx="10">
                  <c:v>15.2</c:v>
                </c:pt>
                <c:pt idx="11">
                  <c:v>14.666666666666666</c:v>
                </c:pt>
                <c:pt idx="12">
                  <c:v>12.666666666666666</c:v>
                </c:pt>
                <c:pt idx="13">
                  <c:v>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D5-4B00-BF0A-25604D019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28231464"/>
        <c:axId val="328226368"/>
      </c:barChart>
      <c:catAx>
        <c:axId val="3282314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Kraj</a:t>
                </a:r>
              </a:p>
            </c:rich>
          </c:tx>
          <c:layout>
            <c:manualLayout>
              <c:xMode val="edge"/>
              <c:yMode val="edge"/>
              <c:x val="0.92035765135750458"/>
              <c:y val="0.868844540996879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900">
                <a:solidFill>
                  <a:schemeClr val="tx1"/>
                </a:solidFill>
              </a:defRPr>
            </a:pPr>
            <a:endParaRPr lang="cs-CZ"/>
          </a:p>
        </c:txPr>
        <c:crossAx val="328226368"/>
        <c:crosses val="autoZero"/>
        <c:auto val="1"/>
        <c:lblAlgn val="ctr"/>
        <c:lblOffset val="240"/>
        <c:tickLblSkip val="1"/>
        <c:tickMarkSkip val="1"/>
        <c:noMultiLvlLbl val="0"/>
      </c:catAx>
      <c:valAx>
        <c:axId val="328226368"/>
        <c:scaling>
          <c:orientation val="minMax"/>
          <c:max val="70"/>
        </c:scaling>
        <c:delete val="0"/>
        <c:axPos val="l"/>
        <c:title>
          <c:tx>
            <c:rich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b="0" dirty="0">
                    <a:solidFill>
                      <a:schemeClr val="tx1"/>
                    </a:solidFill>
                  </a:rPr>
                  <a:t>Průměrná objednávací doba v regionu ve dnech</a:t>
                </a:r>
              </a:p>
            </c:rich>
          </c:tx>
          <c:layout>
            <c:manualLayout>
              <c:xMode val="edge"/>
              <c:yMode val="edge"/>
              <c:x val="1.4001719746558762E-2"/>
              <c:y val="2.5085105575116472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28231464"/>
        <c:crosses val="autoZero"/>
        <c:crossBetween val="between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197" b="1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2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su (C50) u žen</c:v>
                </c:pt>
                <c:pt idx="2">
                  <c:v>ZN tlustého střeva a konečníku (C18–C20)</c:v>
                </c:pt>
                <c:pt idx="3">
                  <c:v>ZN prostaty (C61)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hlavy a krku (C00–C14, C30–C31)</c:v>
                </c:pt>
                <c:pt idx="10">
                  <c:v>ZN dělohy (C54, C55)</c:v>
                </c:pt>
                <c:pt idx="11">
                  <c:v>non-Hodgkinův lymfom (C82–C86)</c:v>
                </c:pt>
                <c:pt idx="12">
                  <c:v>leukémie (C91–C95)</c:v>
                </c:pt>
                <c:pt idx="13">
                  <c:v>ZN žaludku (C16)</c:v>
                </c:pt>
                <c:pt idx="14">
                  <c:v>ZN štítné žlázy (C73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hrdla děložního (C53)</c:v>
                </c:pt>
                <c:pt idx="18">
                  <c:v>ZN vaječníku (C56)</c:v>
                </c:pt>
                <c:pt idx="19">
                  <c:v>ZN žlučníku a žlučových cest (C23, C24)</c:v>
                </c:pt>
                <c:pt idx="20">
                  <c:v>ZN jícnu (C15)</c:v>
                </c:pt>
                <c:pt idx="21">
                  <c:v>mnohočetný myelom (C90)</c:v>
                </c:pt>
                <c:pt idx="22">
                  <c:v>ZN varlete (C62)</c:v>
                </c:pt>
                <c:pt idx="23">
                  <c:v>ZN hrtanu (C32)</c:v>
                </c:pt>
                <c:pt idx="24">
                  <c:v>ZN poj. a měk. tkání a perif. nervů (C47, C49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237.38059999999999</c:v>
                </c:pt>
                <c:pt idx="1">
                  <c:v>71.490840000000006</c:v>
                </c:pt>
                <c:pt idx="2">
                  <c:v>65.181830000000005</c:v>
                </c:pt>
                <c:pt idx="3">
                  <c:v>62.752699999999997</c:v>
                </c:pt>
                <c:pt idx="4">
                  <c:v>61.90925</c:v>
                </c:pt>
                <c:pt idx="5">
                  <c:v>35.121270000000003</c:v>
                </c:pt>
                <c:pt idx="6">
                  <c:v>26.754239999999999</c:v>
                </c:pt>
                <c:pt idx="7">
                  <c:v>23.953990000000001</c:v>
                </c:pt>
                <c:pt idx="8">
                  <c:v>22.739419999999999</c:v>
                </c:pt>
                <c:pt idx="9">
                  <c:v>19.36562</c:v>
                </c:pt>
                <c:pt idx="10">
                  <c:v>19.16319</c:v>
                </c:pt>
                <c:pt idx="11">
                  <c:v>17.172650000000001</c:v>
                </c:pt>
                <c:pt idx="12">
                  <c:v>15.35079</c:v>
                </c:pt>
                <c:pt idx="13">
                  <c:v>12.5168</c:v>
                </c:pt>
                <c:pt idx="14">
                  <c:v>10.69495</c:v>
                </c:pt>
                <c:pt idx="15">
                  <c:v>9.9189749999999997</c:v>
                </c:pt>
                <c:pt idx="16">
                  <c:v>9.5815950000000001</c:v>
                </c:pt>
                <c:pt idx="17">
                  <c:v>9.3791670000000007</c:v>
                </c:pt>
                <c:pt idx="18">
                  <c:v>9.3454289999999993</c:v>
                </c:pt>
                <c:pt idx="19">
                  <c:v>7.5573139999999999</c:v>
                </c:pt>
                <c:pt idx="20">
                  <c:v>6.6801259999999996</c:v>
                </c:pt>
                <c:pt idx="21">
                  <c:v>6.6126500000000004</c:v>
                </c:pt>
                <c:pt idx="22">
                  <c:v>4.824535</c:v>
                </c:pt>
                <c:pt idx="23">
                  <c:v>4.3184649999999998</c:v>
                </c:pt>
                <c:pt idx="24">
                  <c:v>3.5762290000000001</c:v>
                </c:pt>
                <c:pt idx="25">
                  <c:v>2.6990409999999998</c:v>
                </c:pt>
                <c:pt idx="26">
                  <c:v>30.36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1D-4CA6-9EE3-EB56ACD94EC4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CC9900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nemelanomový kožní ZN (C44)</c:v>
                </c:pt>
                <c:pt idx="1">
                  <c:v>ZN prsu (C50) u žen</c:v>
                </c:pt>
                <c:pt idx="2">
                  <c:v>ZN tlustého střeva a konečníku (C18–C20)</c:v>
                </c:pt>
                <c:pt idx="3">
                  <c:v>ZN prostaty (C61)</c:v>
                </c:pt>
                <c:pt idx="4">
                  <c:v>ZN průdušnice, průdušky a plíce (C33, C34)</c:v>
                </c:pt>
                <c:pt idx="5">
                  <c:v>ZN ledviny (C64)</c:v>
                </c:pt>
                <c:pt idx="6">
                  <c:v>zhoubný melanom kůže (C43)</c:v>
                </c:pt>
                <c:pt idx="7">
                  <c:v>ZN slinivky břišní (C25)</c:v>
                </c:pt>
                <c:pt idx="8">
                  <c:v>ZN močového měchýře (C67)</c:v>
                </c:pt>
                <c:pt idx="9">
                  <c:v>ZN hlavy a krku (C00–C14, C30–C31)</c:v>
                </c:pt>
                <c:pt idx="10">
                  <c:v>ZN dělohy (C54, C55)</c:v>
                </c:pt>
                <c:pt idx="11">
                  <c:v>non-Hodgkinův lymfom (C82–C86)</c:v>
                </c:pt>
                <c:pt idx="12">
                  <c:v>leukémie (C91–C95)</c:v>
                </c:pt>
                <c:pt idx="13">
                  <c:v>ZN žaludku (C16)</c:v>
                </c:pt>
                <c:pt idx="14">
                  <c:v>ZN štítné žlázy (C73)</c:v>
                </c:pt>
                <c:pt idx="15">
                  <c:v>ZN jater a intrahepatálních žlučových cest (C22)</c:v>
                </c:pt>
                <c:pt idx="16">
                  <c:v>ZN mozku, míchy a jiných částí CNS (C70–C72)</c:v>
                </c:pt>
                <c:pt idx="17">
                  <c:v>ZN hrdla děložního (C53)</c:v>
                </c:pt>
                <c:pt idx="18">
                  <c:v>ZN vaječníku (C56)</c:v>
                </c:pt>
                <c:pt idx="19">
                  <c:v>ZN žlučníku a žlučových cest (C23, C24)</c:v>
                </c:pt>
                <c:pt idx="20">
                  <c:v>ZN jícnu (C15)</c:v>
                </c:pt>
                <c:pt idx="21">
                  <c:v>mnohočetný myelom (C90)</c:v>
                </c:pt>
                <c:pt idx="22">
                  <c:v>ZN varlete (C62)</c:v>
                </c:pt>
                <c:pt idx="23">
                  <c:v>ZN hrtanu (C32)</c:v>
                </c:pt>
                <c:pt idx="24">
                  <c:v>ZN poj. a měk. tkání a perif. nervů (C47, C49)</c:v>
                </c:pt>
                <c:pt idx="25">
                  <c:v>Hodgkinův lymfom (C81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248.97069999999999</c:v>
                </c:pt>
                <c:pt idx="1">
                  <c:v>71.938919999999996</c:v>
                </c:pt>
                <c:pt idx="2">
                  <c:v>66.623810000000006</c:v>
                </c:pt>
                <c:pt idx="3">
                  <c:v>76.426100000000005</c:v>
                </c:pt>
                <c:pt idx="4">
                  <c:v>61.803959999999996</c:v>
                </c:pt>
                <c:pt idx="5">
                  <c:v>30.133870000000002</c:v>
                </c:pt>
                <c:pt idx="6">
                  <c:v>25.665369999999999</c:v>
                </c:pt>
                <c:pt idx="7">
                  <c:v>24.22072</c:v>
                </c:pt>
                <c:pt idx="8">
                  <c:v>20.33905</c:v>
                </c:pt>
                <c:pt idx="9">
                  <c:v>19.213989999999999</c:v>
                </c:pt>
                <c:pt idx="10">
                  <c:v>18.27768</c:v>
                </c:pt>
                <c:pt idx="11">
                  <c:v>18.161809999999999</c:v>
                </c:pt>
                <c:pt idx="12">
                  <c:v>14.55486</c:v>
                </c:pt>
                <c:pt idx="13">
                  <c:v>14.04279</c:v>
                </c:pt>
                <c:pt idx="14">
                  <c:v>10.80775</c:v>
                </c:pt>
                <c:pt idx="15">
                  <c:v>10.041510000000001</c:v>
                </c:pt>
                <c:pt idx="16">
                  <c:v>8.7164710000000003</c:v>
                </c:pt>
                <c:pt idx="17">
                  <c:v>7.2045440000000003</c:v>
                </c:pt>
                <c:pt idx="18">
                  <c:v>9.0416559999999997</c:v>
                </c:pt>
                <c:pt idx="19">
                  <c:v>7.8493089999999999</c:v>
                </c:pt>
                <c:pt idx="20">
                  <c:v>7.4381550000000001</c:v>
                </c:pt>
                <c:pt idx="21">
                  <c:v>6.7391920000000001</c:v>
                </c:pt>
                <c:pt idx="22">
                  <c:v>4.7002410000000001</c:v>
                </c:pt>
                <c:pt idx="23">
                  <c:v>4.2311509999999997</c:v>
                </c:pt>
                <c:pt idx="24">
                  <c:v>3.4219249999999999</c:v>
                </c:pt>
                <c:pt idx="25">
                  <c:v>2.8612600000000001</c:v>
                </c:pt>
                <c:pt idx="26">
                  <c:v>35.8320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1D-4CA6-9EE3-EB56ACD94EC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30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  <c:majorUnit val="50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F0E1B3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Plzeň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Hl. m. Praha</c:v>
                </c:pt>
                <c:pt idx="12">
                  <c:v>Pardubi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888540000000006</c:v>
                </c:pt>
                <c:pt idx="1">
                  <c:v>78.613709999999998</c:v>
                </c:pt>
                <c:pt idx="2">
                  <c:v>76.963300000000004</c:v>
                </c:pt>
                <c:pt idx="3">
                  <c:v>67.729870000000005</c:v>
                </c:pt>
                <c:pt idx="4">
                  <c:v>63.438980000000001</c:v>
                </c:pt>
                <c:pt idx="5">
                  <c:v>62.115929999999999</c:v>
                </c:pt>
                <c:pt idx="6">
                  <c:v>61.90925</c:v>
                </c:pt>
                <c:pt idx="7">
                  <c:v>61.803959999999996</c:v>
                </c:pt>
                <c:pt idx="8">
                  <c:v>60.702730000000003</c:v>
                </c:pt>
                <c:pt idx="9">
                  <c:v>57.429769999999998</c:v>
                </c:pt>
                <c:pt idx="10">
                  <c:v>56.377249999999997</c:v>
                </c:pt>
                <c:pt idx="11">
                  <c:v>56.352319999999999</c:v>
                </c:pt>
                <c:pt idx="12">
                  <c:v>55.268880000000003</c:v>
                </c:pt>
                <c:pt idx="13">
                  <c:v>52.529739999999997</c:v>
                </c:pt>
                <c:pt idx="14">
                  <c:v>45.52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Plzeň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Hl. m. Praha</c:v>
                </c:pt>
                <c:pt idx="12">
                  <c:v>Pardubi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7">
                  <c:v>61.8039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Plzeň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Hl. m. Praha</c:v>
                </c:pt>
                <c:pt idx="12">
                  <c:v>Pardubi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6">
                  <c:v>61.90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1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5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CC9900">
                <a:alpha val="29804"/>
              </a:srgbClr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CC9900">
                  <a:alpha val="30000"/>
                </a:srgbClr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A7B4-4F8F-A384-7A6FA1628C25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Tachov</c:v>
                </c:pt>
                <c:pt idx="1">
                  <c:v>Plzeň-sever</c:v>
                </c:pt>
                <c:pt idx="2">
                  <c:v>Plzeň-jih</c:v>
                </c:pt>
                <c:pt idx="3">
                  <c:v>Plzeňský kraj</c:v>
                </c:pt>
                <c:pt idx="4">
                  <c:v>Česká republika</c:v>
                </c:pt>
                <c:pt idx="5">
                  <c:v>Plzeň-město</c:v>
                </c:pt>
                <c:pt idx="6">
                  <c:v>Rokycany</c:v>
                </c:pt>
                <c:pt idx="7">
                  <c:v>Klatovy</c:v>
                </c:pt>
                <c:pt idx="8">
                  <c:v>Domažlice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75.066320000000005</c:v>
                </c:pt>
                <c:pt idx="1">
                  <c:v>67.295410000000004</c:v>
                </c:pt>
                <c:pt idx="2">
                  <c:v>64.974559999999997</c:v>
                </c:pt>
                <c:pt idx="3">
                  <c:v>61.90925</c:v>
                </c:pt>
                <c:pt idx="4">
                  <c:v>61.803959999999996</c:v>
                </c:pt>
                <c:pt idx="5">
                  <c:v>60.597580000000001</c:v>
                </c:pt>
                <c:pt idx="6">
                  <c:v>58.555340000000001</c:v>
                </c:pt>
                <c:pt idx="7">
                  <c:v>57.797969999999999</c:v>
                </c:pt>
                <c:pt idx="8">
                  <c:v>51.7534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0E-4AC5-914B-E303EE86027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Tachov</c:v>
                </c:pt>
                <c:pt idx="1">
                  <c:v>Plzeň-sever</c:v>
                </c:pt>
                <c:pt idx="2">
                  <c:v>Plzeň-jih</c:v>
                </c:pt>
                <c:pt idx="3">
                  <c:v>Plzeňský kraj</c:v>
                </c:pt>
                <c:pt idx="4">
                  <c:v>Česká republika</c:v>
                </c:pt>
                <c:pt idx="5">
                  <c:v>Plzeň-město</c:v>
                </c:pt>
                <c:pt idx="6">
                  <c:v>Rokycany</c:v>
                </c:pt>
                <c:pt idx="7">
                  <c:v>Klatovy</c:v>
                </c:pt>
                <c:pt idx="8">
                  <c:v>Domažlice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4">
                  <c:v>61.8039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0E-4AC5-914B-E303EE86027A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Tachov</c:v>
                </c:pt>
                <c:pt idx="1">
                  <c:v>Plzeň-sever</c:v>
                </c:pt>
                <c:pt idx="2">
                  <c:v>Plzeň-jih</c:v>
                </c:pt>
                <c:pt idx="3">
                  <c:v>Plzeňský kraj</c:v>
                </c:pt>
                <c:pt idx="4">
                  <c:v>Česká republika</c:v>
                </c:pt>
                <c:pt idx="5">
                  <c:v>Plzeň-město</c:v>
                </c:pt>
                <c:pt idx="6">
                  <c:v>Rokycany</c:v>
                </c:pt>
                <c:pt idx="7">
                  <c:v>Klatovy</c:v>
                </c:pt>
                <c:pt idx="8">
                  <c:v>Domažlice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3">
                  <c:v>61.90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B0E-4AC5-914B-E303EE8602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1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5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2:$AV$2</c:f>
              <c:numCache>
                <c:formatCode>General</c:formatCode>
                <c:ptCount val="47"/>
                <c:pt idx="0">
                  <c:v>44.5349</c:v>
                </c:pt>
                <c:pt idx="1">
                  <c:v>37.007719999999999</c:v>
                </c:pt>
                <c:pt idx="2">
                  <c:v>40.5274</c:v>
                </c:pt>
                <c:pt idx="3">
                  <c:v>40.206699999999998</c:v>
                </c:pt>
                <c:pt idx="4">
                  <c:v>48.013199999999998</c:v>
                </c:pt>
                <c:pt idx="5">
                  <c:v>43.394019999999998</c:v>
                </c:pt>
                <c:pt idx="6">
                  <c:v>37.079610000000002</c:v>
                </c:pt>
                <c:pt idx="7">
                  <c:v>43.936210000000003</c:v>
                </c:pt>
                <c:pt idx="8">
                  <c:v>42.012920000000001</c:v>
                </c:pt>
                <c:pt idx="9">
                  <c:v>43.064300000000003</c:v>
                </c:pt>
                <c:pt idx="10">
                  <c:v>48.977919999999997</c:v>
                </c:pt>
                <c:pt idx="11">
                  <c:v>45.415619999999997</c:v>
                </c:pt>
                <c:pt idx="12">
                  <c:v>47.225580000000001</c:v>
                </c:pt>
                <c:pt idx="13">
                  <c:v>45.043759999999999</c:v>
                </c:pt>
                <c:pt idx="14">
                  <c:v>46.193939999999998</c:v>
                </c:pt>
                <c:pt idx="15">
                  <c:v>40.617699999999999</c:v>
                </c:pt>
                <c:pt idx="16">
                  <c:v>46.811799999999998</c:v>
                </c:pt>
                <c:pt idx="17">
                  <c:v>46.938899999999997</c:v>
                </c:pt>
                <c:pt idx="18">
                  <c:v>48.171349999999997</c:v>
                </c:pt>
                <c:pt idx="19">
                  <c:v>47.642609999999998</c:v>
                </c:pt>
                <c:pt idx="20">
                  <c:v>39.845950000000002</c:v>
                </c:pt>
                <c:pt idx="21">
                  <c:v>46.317030000000003</c:v>
                </c:pt>
                <c:pt idx="22">
                  <c:v>45.985120000000002</c:v>
                </c:pt>
                <c:pt idx="23">
                  <c:v>43.474119999999999</c:v>
                </c:pt>
                <c:pt idx="24">
                  <c:v>48.173920000000003</c:v>
                </c:pt>
                <c:pt idx="25">
                  <c:v>44.822040000000001</c:v>
                </c:pt>
                <c:pt idx="26">
                  <c:v>41.870669999999997</c:v>
                </c:pt>
                <c:pt idx="27">
                  <c:v>41.77328</c:v>
                </c:pt>
                <c:pt idx="28">
                  <c:v>36.92118</c:v>
                </c:pt>
                <c:pt idx="29">
                  <c:v>40.008879999999998</c:v>
                </c:pt>
                <c:pt idx="30">
                  <c:v>42.881360000000001</c:v>
                </c:pt>
                <c:pt idx="31">
                  <c:v>49.738869999999999</c:v>
                </c:pt>
                <c:pt idx="32">
                  <c:v>46.338340000000002</c:v>
                </c:pt>
                <c:pt idx="33">
                  <c:v>43.864179999999998</c:v>
                </c:pt>
                <c:pt idx="34">
                  <c:v>44.097990000000003</c:v>
                </c:pt>
                <c:pt idx="35">
                  <c:v>45.895029999999998</c:v>
                </c:pt>
                <c:pt idx="36">
                  <c:v>46.198900000000002</c:v>
                </c:pt>
                <c:pt idx="37">
                  <c:v>46.942030000000003</c:v>
                </c:pt>
                <c:pt idx="38">
                  <c:v>41.037709999999997</c:v>
                </c:pt>
                <c:pt idx="39">
                  <c:v>44.679920000000003</c:v>
                </c:pt>
                <c:pt idx="40">
                  <c:v>44.233519999999999</c:v>
                </c:pt>
                <c:pt idx="41">
                  <c:v>43.749789999999997</c:v>
                </c:pt>
                <c:pt idx="42">
                  <c:v>48.737789999999997</c:v>
                </c:pt>
                <c:pt idx="43">
                  <c:v>42.141550000000002</c:v>
                </c:pt>
                <c:pt idx="44">
                  <c:v>45.199590000000001</c:v>
                </c:pt>
                <c:pt idx="45">
                  <c:v>42.294980000000002</c:v>
                </c:pt>
                <c:pt idx="46">
                  <c:v>49.2283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D0-453C-A69E-2E79517C936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C9900">
                <a:alpha val="30000"/>
              </a:srgbClr>
            </a:solidFill>
            <a:ln w="25401">
              <a:noFill/>
            </a:ln>
          </c:spP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3:$AV$3</c:f>
              <c:numCache>
                <c:formatCode>General</c:formatCode>
                <c:ptCount val="47"/>
                <c:pt idx="0">
                  <c:v>24.748930000000001</c:v>
                </c:pt>
                <c:pt idx="1">
                  <c:v>31.79269</c:v>
                </c:pt>
                <c:pt idx="2">
                  <c:v>32.592300000000002</c:v>
                </c:pt>
                <c:pt idx="3">
                  <c:v>26.293559999999999</c:v>
                </c:pt>
                <c:pt idx="4">
                  <c:v>22.750979999999998</c:v>
                </c:pt>
                <c:pt idx="5">
                  <c:v>32.212440000000001</c:v>
                </c:pt>
                <c:pt idx="6">
                  <c:v>38.479280000000003</c:v>
                </c:pt>
                <c:pt idx="7">
                  <c:v>33.625</c:v>
                </c:pt>
                <c:pt idx="8">
                  <c:v>38.312519999999999</c:v>
                </c:pt>
                <c:pt idx="9">
                  <c:v>25.43262</c:v>
                </c:pt>
                <c:pt idx="10">
                  <c:v>26.20026</c:v>
                </c:pt>
                <c:pt idx="11">
                  <c:v>27.01127</c:v>
                </c:pt>
                <c:pt idx="12">
                  <c:v>27.770009999999999</c:v>
                </c:pt>
                <c:pt idx="13">
                  <c:v>31.270209999999999</c:v>
                </c:pt>
                <c:pt idx="14">
                  <c:v>33.723990000000001</c:v>
                </c:pt>
                <c:pt idx="15">
                  <c:v>36.46781</c:v>
                </c:pt>
                <c:pt idx="16">
                  <c:v>27.698250000000002</c:v>
                </c:pt>
                <c:pt idx="17">
                  <c:v>29.034389999999998</c:v>
                </c:pt>
                <c:pt idx="18">
                  <c:v>28.618680000000001</c:v>
                </c:pt>
                <c:pt idx="19">
                  <c:v>40.856450000000002</c:v>
                </c:pt>
                <c:pt idx="20">
                  <c:v>37.903579999999998</c:v>
                </c:pt>
                <c:pt idx="21">
                  <c:v>33.295409999999997</c:v>
                </c:pt>
                <c:pt idx="22">
                  <c:v>31.457190000000001</c:v>
                </c:pt>
                <c:pt idx="23">
                  <c:v>34.989699999999999</c:v>
                </c:pt>
                <c:pt idx="24">
                  <c:v>29.1572</c:v>
                </c:pt>
                <c:pt idx="25">
                  <c:v>44.392829999999996</c:v>
                </c:pt>
                <c:pt idx="26">
                  <c:v>36.069850000000002</c:v>
                </c:pt>
                <c:pt idx="27">
                  <c:v>43.172820000000002</c:v>
                </c:pt>
                <c:pt idx="28">
                  <c:v>43.883020000000002</c:v>
                </c:pt>
                <c:pt idx="29">
                  <c:v>38.101599999999998</c:v>
                </c:pt>
                <c:pt idx="30">
                  <c:v>41.428829999999998</c:v>
                </c:pt>
                <c:pt idx="31">
                  <c:v>34.285380000000004</c:v>
                </c:pt>
                <c:pt idx="32">
                  <c:v>43.283110000000001</c:v>
                </c:pt>
                <c:pt idx="33">
                  <c:v>39.030569999999997</c:v>
                </c:pt>
                <c:pt idx="34">
                  <c:v>43.520200000000003</c:v>
                </c:pt>
                <c:pt idx="35">
                  <c:v>39.19932</c:v>
                </c:pt>
                <c:pt idx="36">
                  <c:v>38.320900000000002</c:v>
                </c:pt>
                <c:pt idx="37">
                  <c:v>43.990319999999997</c:v>
                </c:pt>
                <c:pt idx="38">
                  <c:v>52.427750000000003</c:v>
                </c:pt>
                <c:pt idx="39">
                  <c:v>48.486629999999998</c:v>
                </c:pt>
                <c:pt idx="40">
                  <c:v>46.151000000000003</c:v>
                </c:pt>
                <c:pt idx="41">
                  <c:v>42.286920000000002</c:v>
                </c:pt>
                <c:pt idx="42">
                  <c:v>40.472079999999998</c:v>
                </c:pt>
                <c:pt idx="43">
                  <c:v>44.37715</c:v>
                </c:pt>
                <c:pt idx="44">
                  <c:v>38.102989999999998</c:v>
                </c:pt>
                <c:pt idx="45">
                  <c:v>51.643230000000003</c:v>
                </c:pt>
                <c:pt idx="46">
                  <c:v>42.18675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D0-453C-A69E-2E79517C9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4:$AV$4</c:f>
              <c:numCache>
                <c:formatCode>General</c:formatCode>
                <c:ptCount val="47"/>
                <c:pt idx="0">
                  <c:v>53.655430000000003</c:v>
                </c:pt>
                <c:pt idx="1">
                  <c:v>51.913469999999997</c:v>
                </c:pt>
                <c:pt idx="2">
                  <c:v>52.909799999999997</c:v>
                </c:pt>
                <c:pt idx="3">
                  <c:v>54.200020000000002</c:v>
                </c:pt>
                <c:pt idx="4">
                  <c:v>55.730899999999998</c:v>
                </c:pt>
                <c:pt idx="5">
                  <c:v>55.294029999999999</c:v>
                </c:pt>
                <c:pt idx="6">
                  <c:v>55.827100000000002</c:v>
                </c:pt>
                <c:pt idx="7">
                  <c:v>56.416260000000001</c:v>
                </c:pt>
                <c:pt idx="8">
                  <c:v>55.172289999999997</c:v>
                </c:pt>
                <c:pt idx="9">
                  <c:v>54.369059999999998</c:v>
                </c:pt>
                <c:pt idx="10">
                  <c:v>57.26249</c:v>
                </c:pt>
                <c:pt idx="11">
                  <c:v>56.042859999999997</c:v>
                </c:pt>
                <c:pt idx="12">
                  <c:v>57.120759999999997</c:v>
                </c:pt>
                <c:pt idx="13">
                  <c:v>56.548749999999998</c:v>
                </c:pt>
                <c:pt idx="14">
                  <c:v>58.843600000000002</c:v>
                </c:pt>
                <c:pt idx="15">
                  <c:v>56.988849999999999</c:v>
                </c:pt>
                <c:pt idx="16">
                  <c:v>57.818480000000001</c:v>
                </c:pt>
                <c:pt idx="17">
                  <c:v>58.493670000000002</c:v>
                </c:pt>
                <c:pt idx="18">
                  <c:v>57.391719999999999</c:v>
                </c:pt>
                <c:pt idx="19">
                  <c:v>61.568420000000003</c:v>
                </c:pt>
                <c:pt idx="20">
                  <c:v>57.698050000000002</c:v>
                </c:pt>
                <c:pt idx="21">
                  <c:v>59.417520000000003</c:v>
                </c:pt>
                <c:pt idx="22">
                  <c:v>58.466659999999997</c:v>
                </c:pt>
                <c:pt idx="23">
                  <c:v>59.6252</c:v>
                </c:pt>
                <c:pt idx="24">
                  <c:v>58.791930000000001</c:v>
                </c:pt>
                <c:pt idx="25">
                  <c:v>59.162179999999999</c:v>
                </c:pt>
                <c:pt idx="26">
                  <c:v>59.578589999999998</c:v>
                </c:pt>
                <c:pt idx="27">
                  <c:v>62.369430000000001</c:v>
                </c:pt>
                <c:pt idx="28">
                  <c:v>61.959580000000003</c:v>
                </c:pt>
                <c:pt idx="29">
                  <c:v>61.129989999999999</c:v>
                </c:pt>
                <c:pt idx="30">
                  <c:v>63.636519999999997</c:v>
                </c:pt>
                <c:pt idx="31">
                  <c:v>63.3384</c:v>
                </c:pt>
                <c:pt idx="32">
                  <c:v>62.28857</c:v>
                </c:pt>
                <c:pt idx="33">
                  <c:v>63.467179999999999</c:v>
                </c:pt>
                <c:pt idx="34">
                  <c:v>62.924709999999997</c:v>
                </c:pt>
                <c:pt idx="35">
                  <c:v>62.592260000000003</c:v>
                </c:pt>
                <c:pt idx="36">
                  <c:v>62.127049999999997</c:v>
                </c:pt>
                <c:pt idx="37">
                  <c:v>61.635480000000001</c:v>
                </c:pt>
                <c:pt idx="38">
                  <c:v>62.78134</c:v>
                </c:pt>
                <c:pt idx="39">
                  <c:v>65.393410000000003</c:v>
                </c:pt>
                <c:pt idx="40">
                  <c:v>63.600580000000001</c:v>
                </c:pt>
                <c:pt idx="41">
                  <c:v>61.234110000000001</c:v>
                </c:pt>
                <c:pt idx="42">
                  <c:v>65.158770000000004</c:v>
                </c:pt>
                <c:pt idx="43">
                  <c:v>59.578580000000002</c:v>
                </c:pt>
                <c:pt idx="44">
                  <c:v>60.12847</c:v>
                </c:pt>
                <c:pt idx="45">
                  <c:v>62.18676</c:v>
                </c:pt>
                <c:pt idx="46">
                  <c:v>61.94129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BD0-453C-A69E-2E79517C936B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2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5:$AV$5</c:f>
              <c:numCache>
                <c:formatCode>General</c:formatCode>
                <c:ptCount val="47"/>
                <c:pt idx="0">
                  <c:v>69.283820000000006</c:v>
                </c:pt>
                <c:pt idx="1">
                  <c:v>63.96716</c:v>
                </c:pt>
                <c:pt idx="2">
                  <c:v>67.869489999999999</c:v>
                </c:pt>
                <c:pt idx="3">
                  <c:v>63.953069999999997</c:v>
                </c:pt>
                <c:pt idx="4">
                  <c:v>70.764179999999996</c:v>
                </c:pt>
                <c:pt idx="5">
                  <c:v>71.219170000000005</c:v>
                </c:pt>
                <c:pt idx="6">
                  <c:v>72.534999999999997</c:v>
                </c:pt>
                <c:pt idx="7">
                  <c:v>68.774330000000006</c:v>
                </c:pt>
                <c:pt idx="8">
                  <c:v>65.010750000000002</c:v>
                </c:pt>
                <c:pt idx="9">
                  <c:v>62.634630000000001</c:v>
                </c:pt>
                <c:pt idx="10">
                  <c:v>64.606129999999993</c:v>
                </c:pt>
                <c:pt idx="11">
                  <c:v>66.072720000000004</c:v>
                </c:pt>
                <c:pt idx="12">
                  <c:v>67.347970000000004</c:v>
                </c:pt>
                <c:pt idx="13">
                  <c:v>64.731250000000003</c:v>
                </c:pt>
                <c:pt idx="14">
                  <c:v>70.756960000000007</c:v>
                </c:pt>
                <c:pt idx="15">
                  <c:v>68.244060000000005</c:v>
                </c:pt>
                <c:pt idx="16">
                  <c:v>66.634100000000004</c:v>
                </c:pt>
                <c:pt idx="17">
                  <c:v>65.179100000000005</c:v>
                </c:pt>
                <c:pt idx="18">
                  <c:v>65.998649999999998</c:v>
                </c:pt>
                <c:pt idx="19">
                  <c:v>68.480310000000003</c:v>
                </c:pt>
                <c:pt idx="20">
                  <c:v>62.828130000000002</c:v>
                </c:pt>
                <c:pt idx="21">
                  <c:v>64.935180000000003</c:v>
                </c:pt>
                <c:pt idx="22">
                  <c:v>63.395580000000002</c:v>
                </c:pt>
                <c:pt idx="23">
                  <c:v>67.796610000000001</c:v>
                </c:pt>
                <c:pt idx="24">
                  <c:v>63.399099999999997</c:v>
                </c:pt>
                <c:pt idx="25">
                  <c:v>66.257829999999998</c:v>
                </c:pt>
                <c:pt idx="26">
                  <c:v>70.270359999999997</c:v>
                </c:pt>
                <c:pt idx="27">
                  <c:v>68.825379999999996</c:v>
                </c:pt>
                <c:pt idx="28">
                  <c:v>71.042990000000003</c:v>
                </c:pt>
                <c:pt idx="29">
                  <c:v>76.686840000000004</c:v>
                </c:pt>
                <c:pt idx="30">
                  <c:v>71.414090000000002</c:v>
                </c:pt>
                <c:pt idx="31">
                  <c:v>70.484740000000002</c:v>
                </c:pt>
                <c:pt idx="32">
                  <c:v>71.603769999999997</c:v>
                </c:pt>
                <c:pt idx="33">
                  <c:v>65.906440000000003</c:v>
                </c:pt>
                <c:pt idx="34">
                  <c:v>64.392290000000003</c:v>
                </c:pt>
                <c:pt idx="35">
                  <c:v>73.249700000000004</c:v>
                </c:pt>
                <c:pt idx="36">
                  <c:v>70.171520000000001</c:v>
                </c:pt>
                <c:pt idx="37">
                  <c:v>70.384129999999999</c:v>
                </c:pt>
                <c:pt idx="38">
                  <c:v>67.052890000000005</c:v>
                </c:pt>
                <c:pt idx="39">
                  <c:v>69.94</c:v>
                </c:pt>
                <c:pt idx="40">
                  <c:v>75.617890000000003</c:v>
                </c:pt>
                <c:pt idx="41">
                  <c:v>72.433790000000002</c:v>
                </c:pt>
                <c:pt idx="42">
                  <c:v>67.570899999999995</c:v>
                </c:pt>
                <c:pt idx="43">
                  <c:v>66.848429999999993</c:v>
                </c:pt>
                <c:pt idx="44">
                  <c:v>56.827039999999997</c:v>
                </c:pt>
                <c:pt idx="45">
                  <c:v>61.010469999999998</c:v>
                </c:pt>
                <c:pt idx="46">
                  <c:v>57.36312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BD0-453C-A69E-2E79517C936B}"/>
            </c:ext>
          </c:extLst>
        </c:ser>
        <c:ser>
          <c:idx val="3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BD0-453C-A69E-2E79517C936B}"/>
            </c:ext>
          </c:extLst>
        </c:ser>
        <c:ser>
          <c:idx val="4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BD0-453C-A69E-2E79517C936B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BD0-453C-A69E-2E79517C936B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BD0-453C-A69E-2E79517C9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2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ZN močového měchýře (C67)</c:v>
                </c:pt>
                <c:pt idx="7">
                  <c:v>ZN jater a intrahepatálních žlučových cest (C22)</c:v>
                </c:pt>
                <c:pt idx="8">
                  <c:v>leukémie (C91–C95)</c:v>
                </c:pt>
                <c:pt idx="9">
                  <c:v>ZN žaludku (C16)</c:v>
                </c:pt>
                <c:pt idx="10">
                  <c:v>ZN hlavy a krku (C00–C14, C30–C31)</c:v>
                </c:pt>
                <c:pt idx="11">
                  <c:v>ZN mozku, míchy a jiných částí CNS (C70–C72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houbný melanom kůže (C43)</c:v>
                </c:pt>
                <c:pt idx="17">
                  <c:v>mnohočetný myelom (C90)</c:v>
                </c:pt>
                <c:pt idx="18">
                  <c:v>ZN dělohy (C54, C55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51.113079999999997</c:v>
                </c:pt>
                <c:pt idx="1">
                  <c:v>31.74747</c:v>
                </c:pt>
                <c:pt idx="2">
                  <c:v>22.46951</c:v>
                </c:pt>
                <c:pt idx="3">
                  <c:v>15.654439999999999</c:v>
                </c:pt>
                <c:pt idx="4">
                  <c:v>15.08089</c:v>
                </c:pt>
                <c:pt idx="5">
                  <c:v>11.538399999999999</c:v>
                </c:pt>
                <c:pt idx="6">
                  <c:v>9.4803809999999995</c:v>
                </c:pt>
                <c:pt idx="7">
                  <c:v>9.3791670000000007</c:v>
                </c:pt>
                <c:pt idx="8">
                  <c:v>8.2320740000000008</c:v>
                </c:pt>
                <c:pt idx="9">
                  <c:v>7.9621700000000004</c:v>
                </c:pt>
                <c:pt idx="10">
                  <c:v>7.2199340000000003</c:v>
                </c:pt>
                <c:pt idx="11">
                  <c:v>7.1524580000000002</c:v>
                </c:pt>
                <c:pt idx="12">
                  <c:v>6.342746</c:v>
                </c:pt>
                <c:pt idx="13">
                  <c:v>6.0728419999999996</c:v>
                </c:pt>
                <c:pt idx="14">
                  <c:v>5.7691999999999997</c:v>
                </c:pt>
                <c:pt idx="15">
                  <c:v>5.1956530000000001</c:v>
                </c:pt>
                <c:pt idx="16">
                  <c:v>4.0822989999999999</c:v>
                </c:pt>
                <c:pt idx="17">
                  <c:v>3.9810850000000002</c:v>
                </c:pt>
                <c:pt idx="18">
                  <c:v>3.7449189999999999</c:v>
                </c:pt>
                <c:pt idx="19">
                  <c:v>2.5978270000000001</c:v>
                </c:pt>
                <c:pt idx="20">
                  <c:v>2.4291369999999999</c:v>
                </c:pt>
                <c:pt idx="21">
                  <c:v>1.6869000000000001</c:v>
                </c:pt>
                <c:pt idx="22">
                  <c:v>1.5182100000000001</c:v>
                </c:pt>
                <c:pt idx="23">
                  <c:v>1.0796159999999999</c:v>
                </c:pt>
                <c:pt idx="24">
                  <c:v>0.70849799999999996</c:v>
                </c:pt>
                <c:pt idx="25">
                  <c:v>0.43859399999999998</c:v>
                </c:pt>
                <c:pt idx="26">
                  <c:v>24.96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B-43A3-83AE-F3EF8C17136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858585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ZN močového měchýře (C67)</c:v>
                </c:pt>
                <c:pt idx="7">
                  <c:v>ZN jater a intrahepatálních žlučových cest (C22)</c:v>
                </c:pt>
                <c:pt idx="8">
                  <c:v>leukémie (C91–C95)</c:v>
                </c:pt>
                <c:pt idx="9">
                  <c:v>ZN žaludku (C16)</c:v>
                </c:pt>
                <c:pt idx="10">
                  <c:v>ZN hlavy a krku (C00–C14, C30–C31)</c:v>
                </c:pt>
                <c:pt idx="11">
                  <c:v>ZN mozku, míchy a jiných částí CNS (C70–C72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houbný melanom kůže (C43)</c:v>
                </c:pt>
                <c:pt idx="17">
                  <c:v>mnohočetný myelom (C90)</c:v>
                </c:pt>
                <c:pt idx="18">
                  <c:v>ZN dělohy (C54, C55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47.518219999999999</c:v>
                </c:pt>
                <c:pt idx="1">
                  <c:v>30.502040000000001</c:v>
                </c:pt>
                <c:pt idx="2">
                  <c:v>21.821079999999998</c:v>
                </c:pt>
                <c:pt idx="3">
                  <c:v>16.100429999999999</c:v>
                </c:pt>
                <c:pt idx="4">
                  <c:v>13.8316</c:v>
                </c:pt>
                <c:pt idx="5">
                  <c:v>8.6959129999999991</c:v>
                </c:pt>
                <c:pt idx="6">
                  <c:v>8.5221070000000001</c:v>
                </c:pt>
                <c:pt idx="7">
                  <c:v>8.2791519999999998</c:v>
                </c:pt>
                <c:pt idx="8">
                  <c:v>8.6454529999999998</c:v>
                </c:pt>
                <c:pt idx="9">
                  <c:v>8.9612940000000005</c:v>
                </c:pt>
                <c:pt idx="10">
                  <c:v>8.1109519999999993</c:v>
                </c:pt>
                <c:pt idx="11">
                  <c:v>7.2026750000000002</c:v>
                </c:pt>
                <c:pt idx="12">
                  <c:v>6.1430189999999998</c:v>
                </c:pt>
                <c:pt idx="13">
                  <c:v>5.8253079999999997</c:v>
                </c:pt>
                <c:pt idx="14">
                  <c:v>5.5804850000000004</c:v>
                </c:pt>
                <c:pt idx="15">
                  <c:v>5.3730390000000003</c:v>
                </c:pt>
                <c:pt idx="16">
                  <c:v>3.9545569999999999</c:v>
                </c:pt>
                <c:pt idx="17">
                  <c:v>3.7415039999999999</c:v>
                </c:pt>
                <c:pt idx="18">
                  <c:v>3.9097029999999999</c:v>
                </c:pt>
                <c:pt idx="19">
                  <c:v>2.5585010000000001</c:v>
                </c:pt>
                <c:pt idx="20">
                  <c:v>1.867014</c:v>
                </c:pt>
                <c:pt idx="21">
                  <c:v>1.986623</c:v>
                </c:pt>
                <c:pt idx="22">
                  <c:v>1.302611</c:v>
                </c:pt>
                <c:pt idx="23">
                  <c:v>0.70830700000000002</c:v>
                </c:pt>
                <c:pt idx="24">
                  <c:v>0.50459799999999999</c:v>
                </c:pt>
                <c:pt idx="25">
                  <c:v>0.29154600000000003</c:v>
                </c:pt>
                <c:pt idx="26">
                  <c:v>26.1774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DB-43A3-83AE-F3EF8C17136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6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F0E1B3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Jihomoravský kraj</c:v>
                </c:pt>
                <c:pt idx="2">
                  <c:v>Zlínský kraj</c:v>
                </c:pt>
                <c:pt idx="3">
                  <c:v>Hl. m. Praha</c:v>
                </c:pt>
                <c:pt idx="4">
                  <c:v>Česká republika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7.1369</c:v>
                </c:pt>
                <c:pt idx="1">
                  <c:v>152.0761</c:v>
                </c:pt>
                <c:pt idx="2">
                  <c:v>148.32900000000001</c:v>
                </c:pt>
                <c:pt idx="3">
                  <c:v>145.66749999999999</c:v>
                </c:pt>
                <c:pt idx="4">
                  <c:v>141.5523</c:v>
                </c:pt>
                <c:pt idx="5">
                  <c:v>141.40899999999999</c:v>
                </c:pt>
                <c:pt idx="6">
                  <c:v>139.7602</c:v>
                </c:pt>
                <c:pt idx="7">
                  <c:v>139.37029999999999</c:v>
                </c:pt>
                <c:pt idx="8">
                  <c:v>139.07820000000001</c:v>
                </c:pt>
                <c:pt idx="9">
                  <c:v>138.05789999999999</c:v>
                </c:pt>
                <c:pt idx="10">
                  <c:v>137.3364</c:v>
                </c:pt>
                <c:pt idx="11">
                  <c:v>136.38050000000001</c:v>
                </c:pt>
                <c:pt idx="12">
                  <c:v>135.64590000000001</c:v>
                </c:pt>
                <c:pt idx="13">
                  <c:v>135.03380000000001</c:v>
                </c:pt>
                <c:pt idx="14">
                  <c:v>124.7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Jihomoravský kraj</c:v>
                </c:pt>
                <c:pt idx="2">
                  <c:v>Zlínský kraj</c:v>
                </c:pt>
                <c:pt idx="3">
                  <c:v>Hl. m. Praha</c:v>
                </c:pt>
                <c:pt idx="4">
                  <c:v>Česká republika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4">
                  <c:v>141.5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Jihomoravský kraj</c:v>
                </c:pt>
                <c:pt idx="2">
                  <c:v>Zlínský kraj</c:v>
                </c:pt>
                <c:pt idx="3">
                  <c:v>Hl. m. Praha</c:v>
                </c:pt>
                <c:pt idx="4">
                  <c:v>Česká republika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5">
                  <c:v>141.40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5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2:$AS$2</c:f>
              <c:numCache>
                <c:formatCode>General</c:formatCode>
                <c:ptCount val="44"/>
                <c:pt idx="0">
                  <c:v>38.170920000000002</c:v>
                </c:pt>
                <c:pt idx="1">
                  <c:v>40.236409999999999</c:v>
                </c:pt>
                <c:pt idx="2">
                  <c:v>38.622149999999998</c:v>
                </c:pt>
                <c:pt idx="3">
                  <c:v>40.619030000000002</c:v>
                </c:pt>
                <c:pt idx="4">
                  <c:v>38.886069999999997</c:v>
                </c:pt>
                <c:pt idx="5">
                  <c:v>40.332410000000003</c:v>
                </c:pt>
                <c:pt idx="6">
                  <c:v>39.983130000000003</c:v>
                </c:pt>
                <c:pt idx="7">
                  <c:v>42.939549999999997</c:v>
                </c:pt>
                <c:pt idx="8">
                  <c:v>42.566670000000002</c:v>
                </c:pt>
                <c:pt idx="9">
                  <c:v>42.736269999999998</c:v>
                </c:pt>
                <c:pt idx="10">
                  <c:v>41.668309999999998</c:v>
                </c:pt>
                <c:pt idx="11">
                  <c:v>40.838120000000004</c:v>
                </c:pt>
                <c:pt idx="12">
                  <c:v>43.589939999999999</c:v>
                </c:pt>
                <c:pt idx="13">
                  <c:v>41.732219999999998</c:v>
                </c:pt>
                <c:pt idx="14">
                  <c:v>45.362589999999997</c:v>
                </c:pt>
                <c:pt idx="15">
                  <c:v>43.0045</c:v>
                </c:pt>
                <c:pt idx="16">
                  <c:v>41.479050000000001</c:v>
                </c:pt>
                <c:pt idx="17">
                  <c:v>39.179070000000003</c:v>
                </c:pt>
                <c:pt idx="18">
                  <c:v>39.062429999999999</c:v>
                </c:pt>
                <c:pt idx="19">
                  <c:v>39.66216</c:v>
                </c:pt>
                <c:pt idx="20">
                  <c:v>38.959499999999998</c:v>
                </c:pt>
                <c:pt idx="21">
                  <c:v>45.724429999999998</c:v>
                </c:pt>
                <c:pt idx="22">
                  <c:v>39.092910000000003</c:v>
                </c:pt>
                <c:pt idx="23">
                  <c:v>39.675840000000001</c:v>
                </c:pt>
                <c:pt idx="24">
                  <c:v>36.361359999999998</c:v>
                </c:pt>
                <c:pt idx="25">
                  <c:v>35.396909999999998</c:v>
                </c:pt>
                <c:pt idx="26">
                  <c:v>36.618299999999998</c:v>
                </c:pt>
                <c:pt idx="27">
                  <c:v>35.593220000000002</c:v>
                </c:pt>
                <c:pt idx="28">
                  <c:v>38.065460000000002</c:v>
                </c:pt>
                <c:pt idx="29">
                  <c:v>39.404499999999999</c:v>
                </c:pt>
                <c:pt idx="30">
                  <c:v>37.428510000000003</c:v>
                </c:pt>
                <c:pt idx="31">
                  <c:v>40.366619999999998</c:v>
                </c:pt>
                <c:pt idx="32">
                  <c:v>37.565930000000002</c:v>
                </c:pt>
                <c:pt idx="33">
                  <c:v>37.33417</c:v>
                </c:pt>
                <c:pt idx="34">
                  <c:v>33.627560000000003</c:v>
                </c:pt>
                <c:pt idx="35">
                  <c:v>34.369079999999997</c:v>
                </c:pt>
                <c:pt idx="36">
                  <c:v>36.976489999999998</c:v>
                </c:pt>
                <c:pt idx="37">
                  <c:v>34.817570000000003</c:v>
                </c:pt>
                <c:pt idx="38">
                  <c:v>33.284149999999997</c:v>
                </c:pt>
                <c:pt idx="39">
                  <c:v>33.635939999999998</c:v>
                </c:pt>
                <c:pt idx="40">
                  <c:v>36.637349999999998</c:v>
                </c:pt>
                <c:pt idx="41">
                  <c:v>31.936389999999999</c:v>
                </c:pt>
                <c:pt idx="42">
                  <c:v>31.764389999999999</c:v>
                </c:pt>
                <c:pt idx="43">
                  <c:v>33.3926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E1-4AE8-A1BD-69513B5D8FA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8C8C8"/>
            </a:solidFill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3:$AS$3</c:f>
              <c:numCache>
                <c:formatCode>General</c:formatCode>
                <c:ptCount val="44"/>
                <c:pt idx="0">
                  <c:v>25.49418</c:v>
                </c:pt>
                <c:pt idx="1">
                  <c:v>22.254339999999999</c:v>
                </c:pt>
                <c:pt idx="2">
                  <c:v>27.07142</c:v>
                </c:pt>
                <c:pt idx="3">
                  <c:v>27.785720000000001</c:v>
                </c:pt>
                <c:pt idx="4">
                  <c:v>35.443429999999999</c:v>
                </c:pt>
                <c:pt idx="5">
                  <c:v>25.417860000000001</c:v>
                </c:pt>
                <c:pt idx="6">
                  <c:v>30.245920000000002</c:v>
                </c:pt>
                <c:pt idx="7">
                  <c:v>23.213809999999999</c:v>
                </c:pt>
                <c:pt idx="8">
                  <c:v>25.292760000000001</c:v>
                </c:pt>
                <c:pt idx="9">
                  <c:v>23.453050000000001</c:v>
                </c:pt>
                <c:pt idx="10">
                  <c:v>24.20956</c:v>
                </c:pt>
                <c:pt idx="11">
                  <c:v>28.570519999999998</c:v>
                </c:pt>
                <c:pt idx="12">
                  <c:v>30.530740000000002</c:v>
                </c:pt>
                <c:pt idx="13">
                  <c:v>21.995080000000002</c:v>
                </c:pt>
                <c:pt idx="14">
                  <c:v>19.22101</c:v>
                </c:pt>
                <c:pt idx="15">
                  <c:v>39.920760000000001</c:v>
                </c:pt>
                <c:pt idx="16">
                  <c:v>33.58126</c:v>
                </c:pt>
                <c:pt idx="17">
                  <c:v>36.930169999999997</c:v>
                </c:pt>
                <c:pt idx="18">
                  <c:v>35.831330000000001</c:v>
                </c:pt>
                <c:pt idx="19">
                  <c:v>29.576509999999999</c:v>
                </c:pt>
                <c:pt idx="20">
                  <c:v>33.26661</c:v>
                </c:pt>
                <c:pt idx="21">
                  <c:v>26.99973</c:v>
                </c:pt>
                <c:pt idx="22">
                  <c:v>33.990859999999998</c:v>
                </c:pt>
                <c:pt idx="23">
                  <c:v>31.434640000000002</c:v>
                </c:pt>
                <c:pt idx="24">
                  <c:v>37.119759999999999</c:v>
                </c:pt>
                <c:pt idx="25">
                  <c:v>35.929510000000001</c:v>
                </c:pt>
                <c:pt idx="26">
                  <c:v>34.810879999999997</c:v>
                </c:pt>
                <c:pt idx="27">
                  <c:v>33.453919999999997</c:v>
                </c:pt>
                <c:pt idx="28">
                  <c:v>26.900500000000001</c:v>
                </c:pt>
                <c:pt idx="29">
                  <c:v>32.235250000000001</c:v>
                </c:pt>
                <c:pt idx="30">
                  <c:v>31.009239999999998</c:v>
                </c:pt>
                <c:pt idx="31">
                  <c:v>34.096769999999999</c:v>
                </c:pt>
                <c:pt idx="32">
                  <c:v>29.87565</c:v>
                </c:pt>
                <c:pt idx="33">
                  <c:v>32.291739999999997</c:v>
                </c:pt>
                <c:pt idx="34">
                  <c:v>42.634369999999997</c:v>
                </c:pt>
                <c:pt idx="35">
                  <c:v>34.306260000000002</c:v>
                </c:pt>
                <c:pt idx="36">
                  <c:v>30.291779999999999</c:v>
                </c:pt>
                <c:pt idx="37">
                  <c:v>39.365960000000001</c:v>
                </c:pt>
                <c:pt idx="38">
                  <c:v>39.59113</c:v>
                </c:pt>
                <c:pt idx="39">
                  <c:v>40.705620000000003</c:v>
                </c:pt>
                <c:pt idx="40">
                  <c:v>32.02646</c:v>
                </c:pt>
                <c:pt idx="41">
                  <c:v>40.484319999999997</c:v>
                </c:pt>
                <c:pt idx="42">
                  <c:v>38.349800000000002</c:v>
                </c:pt>
                <c:pt idx="43">
                  <c:v>34.89184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7F7F7F"/>
              </a:solidFill>
              <a:prstDash val="solid"/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4:$AS$4</c:f>
              <c:numCache>
                <c:formatCode>General</c:formatCode>
                <c:ptCount val="44"/>
                <c:pt idx="0">
                  <c:v>48.801310000000001</c:v>
                </c:pt>
                <c:pt idx="1">
                  <c:v>49.250790000000002</c:v>
                </c:pt>
                <c:pt idx="2">
                  <c:v>50.081449999999997</c:v>
                </c:pt>
                <c:pt idx="3">
                  <c:v>52.118209999999998</c:v>
                </c:pt>
                <c:pt idx="4">
                  <c:v>51.258479999999999</c:v>
                </c:pt>
                <c:pt idx="5">
                  <c:v>50.24982</c:v>
                </c:pt>
                <c:pt idx="6">
                  <c:v>51.787880000000001</c:v>
                </c:pt>
                <c:pt idx="7">
                  <c:v>51.368110000000001</c:v>
                </c:pt>
                <c:pt idx="8">
                  <c:v>50.934890000000003</c:v>
                </c:pt>
                <c:pt idx="9">
                  <c:v>52.401710000000001</c:v>
                </c:pt>
                <c:pt idx="10">
                  <c:v>52.669469999999997</c:v>
                </c:pt>
                <c:pt idx="11">
                  <c:v>53.23668</c:v>
                </c:pt>
                <c:pt idx="12">
                  <c:v>53.412509999999997</c:v>
                </c:pt>
                <c:pt idx="13">
                  <c:v>52.339619999999996</c:v>
                </c:pt>
                <c:pt idx="14">
                  <c:v>53.811079999999997</c:v>
                </c:pt>
                <c:pt idx="15">
                  <c:v>56.094619999999999</c:v>
                </c:pt>
                <c:pt idx="16">
                  <c:v>54.171680000000002</c:v>
                </c:pt>
                <c:pt idx="17">
                  <c:v>53.971209999999999</c:v>
                </c:pt>
                <c:pt idx="18">
                  <c:v>52.773479999999999</c:v>
                </c:pt>
                <c:pt idx="19">
                  <c:v>54.683630000000001</c:v>
                </c:pt>
                <c:pt idx="20">
                  <c:v>55.741039999999998</c:v>
                </c:pt>
                <c:pt idx="21">
                  <c:v>55.114379999999997</c:v>
                </c:pt>
                <c:pt idx="22">
                  <c:v>54.535080000000001</c:v>
                </c:pt>
                <c:pt idx="23">
                  <c:v>54.5794</c:v>
                </c:pt>
                <c:pt idx="24">
                  <c:v>55.73668</c:v>
                </c:pt>
                <c:pt idx="25">
                  <c:v>54.162109999999998</c:v>
                </c:pt>
                <c:pt idx="26">
                  <c:v>53.853999999999999</c:v>
                </c:pt>
                <c:pt idx="27">
                  <c:v>53.048189999999998</c:v>
                </c:pt>
                <c:pt idx="28">
                  <c:v>51.88073</c:v>
                </c:pt>
                <c:pt idx="29">
                  <c:v>51.994509999999998</c:v>
                </c:pt>
                <c:pt idx="30">
                  <c:v>52.979640000000003</c:v>
                </c:pt>
                <c:pt idx="31">
                  <c:v>53.25497</c:v>
                </c:pt>
                <c:pt idx="32">
                  <c:v>53.248150000000003</c:v>
                </c:pt>
                <c:pt idx="33">
                  <c:v>51.623489999999997</c:v>
                </c:pt>
                <c:pt idx="34">
                  <c:v>49.967779999999998</c:v>
                </c:pt>
                <c:pt idx="35">
                  <c:v>49.900680000000001</c:v>
                </c:pt>
                <c:pt idx="36">
                  <c:v>50.476640000000003</c:v>
                </c:pt>
                <c:pt idx="37">
                  <c:v>51.588709999999999</c:v>
                </c:pt>
                <c:pt idx="38">
                  <c:v>49.64038</c:v>
                </c:pt>
                <c:pt idx="39">
                  <c:v>49.9938</c:v>
                </c:pt>
                <c:pt idx="40">
                  <c:v>49.569380000000002</c:v>
                </c:pt>
                <c:pt idx="41">
                  <c:v>46.643839999999997</c:v>
                </c:pt>
                <c:pt idx="42">
                  <c:v>46.21951</c:v>
                </c:pt>
                <c:pt idx="43">
                  <c:v>45.20114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E1-4AE8-A1BD-69513B5D8FA3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2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5:$AS$5</c:f>
              <c:numCache>
                <c:formatCode>General</c:formatCode>
                <c:ptCount val="44"/>
                <c:pt idx="0">
                  <c:v>55.017159999999997</c:v>
                </c:pt>
                <c:pt idx="1">
                  <c:v>62.490760000000002</c:v>
                </c:pt>
                <c:pt idx="2">
                  <c:v>62.581200000000003</c:v>
                </c:pt>
                <c:pt idx="3">
                  <c:v>63.181339999999999</c:v>
                </c:pt>
                <c:pt idx="4">
                  <c:v>57.10568</c:v>
                </c:pt>
                <c:pt idx="5">
                  <c:v>60.759369999999997</c:v>
                </c:pt>
                <c:pt idx="6">
                  <c:v>62.812060000000002</c:v>
                </c:pt>
                <c:pt idx="7">
                  <c:v>53.424300000000002</c:v>
                </c:pt>
                <c:pt idx="8">
                  <c:v>61.454740000000001</c:v>
                </c:pt>
                <c:pt idx="9">
                  <c:v>64.327079999999995</c:v>
                </c:pt>
                <c:pt idx="10">
                  <c:v>62.952919999999999</c:v>
                </c:pt>
                <c:pt idx="11">
                  <c:v>60.546460000000003</c:v>
                </c:pt>
                <c:pt idx="12">
                  <c:v>58.546219999999998</c:v>
                </c:pt>
                <c:pt idx="13">
                  <c:v>61.78472</c:v>
                </c:pt>
                <c:pt idx="14">
                  <c:v>63.203969999999998</c:v>
                </c:pt>
                <c:pt idx="15">
                  <c:v>62.222160000000002</c:v>
                </c:pt>
                <c:pt idx="16">
                  <c:v>54.063409999999998</c:v>
                </c:pt>
                <c:pt idx="17">
                  <c:v>62.46705</c:v>
                </c:pt>
                <c:pt idx="18">
                  <c:v>52.092849999999999</c:v>
                </c:pt>
                <c:pt idx="19">
                  <c:v>59.048450000000003</c:v>
                </c:pt>
                <c:pt idx="20">
                  <c:v>57.826520000000002</c:v>
                </c:pt>
                <c:pt idx="21">
                  <c:v>63.94408</c:v>
                </c:pt>
                <c:pt idx="22">
                  <c:v>58.06662</c:v>
                </c:pt>
                <c:pt idx="23">
                  <c:v>63.898690000000002</c:v>
                </c:pt>
                <c:pt idx="24">
                  <c:v>62.452660000000002</c:v>
                </c:pt>
                <c:pt idx="25">
                  <c:v>57.415819999999997</c:v>
                </c:pt>
                <c:pt idx="26">
                  <c:v>57.876860000000001</c:v>
                </c:pt>
                <c:pt idx="27">
                  <c:v>52.214820000000003</c:v>
                </c:pt>
                <c:pt idx="28">
                  <c:v>57.059069999999998</c:v>
                </c:pt>
                <c:pt idx="29">
                  <c:v>53.221380000000003</c:v>
                </c:pt>
                <c:pt idx="30">
                  <c:v>55.417349999999999</c:v>
                </c:pt>
                <c:pt idx="31">
                  <c:v>47.94426</c:v>
                </c:pt>
                <c:pt idx="32">
                  <c:v>54.893569999999997</c:v>
                </c:pt>
                <c:pt idx="33">
                  <c:v>55.508809999999997</c:v>
                </c:pt>
                <c:pt idx="34">
                  <c:v>52.7881</c:v>
                </c:pt>
                <c:pt idx="35">
                  <c:v>47.075989999999997</c:v>
                </c:pt>
                <c:pt idx="36">
                  <c:v>47.08831</c:v>
                </c:pt>
                <c:pt idx="37">
                  <c:v>50.06664</c:v>
                </c:pt>
                <c:pt idx="38">
                  <c:v>52.179789999999997</c:v>
                </c:pt>
                <c:pt idx="39">
                  <c:v>57.188470000000002</c:v>
                </c:pt>
                <c:pt idx="40">
                  <c:v>53.647979999999997</c:v>
                </c:pt>
                <c:pt idx="41">
                  <c:v>50.070169999999997</c:v>
                </c:pt>
                <c:pt idx="42">
                  <c:v>49.644129999999997</c:v>
                </c:pt>
                <c:pt idx="43">
                  <c:v>45.2349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ort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. m. Prah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0.721900000000005</c:v>
                </c:pt>
                <c:pt idx="1">
                  <c:v>63.946460000000002</c:v>
                </c:pt>
                <c:pt idx="2">
                  <c:v>59.264890000000001</c:v>
                </c:pt>
                <c:pt idx="3">
                  <c:v>51.113079999999997</c:v>
                </c:pt>
                <c:pt idx="4">
                  <c:v>49.430959999999999</c:v>
                </c:pt>
                <c:pt idx="5">
                  <c:v>49.273040000000002</c:v>
                </c:pt>
                <c:pt idx="6">
                  <c:v>47.518219999999999</c:v>
                </c:pt>
                <c:pt idx="7">
                  <c:v>45.37764</c:v>
                </c:pt>
                <c:pt idx="8">
                  <c:v>44.32985</c:v>
                </c:pt>
                <c:pt idx="9">
                  <c:v>44.267150000000001</c:v>
                </c:pt>
                <c:pt idx="10">
                  <c:v>43.064529999999998</c:v>
                </c:pt>
                <c:pt idx="11">
                  <c:v>42.902850000000001</c:v>
                </c:pt>
                <c:pt idx="12">
                  <c:v>42.473399999999998</c:v>
                </c:pt>
                <c:pt idx="13">
                  <c:v>40.660119999999999</c:v>
                </c:pt>
                <c:pt idx="14">
                  <c:v>33.4791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. m. Prah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6">
                  <c:v>47.518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český kraj</c:v>
                </c:pt>
                <c:pt idx="5">
                  <c:v>Moravskoslezský kraj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. m. Prah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Zlín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3">
                  <c:v>51.1130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8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71E-4324-B818-48D10DFAA03A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Tachov</c:v>
                </c:pt>
                <c:pt idx="1">
                  <c:v>Plzeň-jih</c:v>
                </c:pt>
                <c:pt idx="2">
                  <c:v>Plzeň-sever</c:v>
                </c:pt>
                <c:pt idx="3">
                  <c:v>Plzeňský kraj</c:v>
                </c:pt>
                <c:pt idx="4">
                  <c:v>Plzeň-město</c:v>
                </c:pt>
                <c:pt idx="5">
                  <c:v>Klatovy</c:v>
                </c:pt>
                <c:pt idx="6">
                  <c:v>Česká republika</c:v>
                </c:pt>
                <c:pt idx="7">
                  <c:v>Rokycany</c:v>
                </c:pt>
                <c:pt idx="8">
                  <c:v>Domažlice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63.405529999999999</c:v>
                </c:pt>
                <c:pt idx="1">
                  <c:v>54.590499999999999</c:v>
                </c:pt>
                <c:pt idx="2">
                  <c:v>54.477240000000002</c:v>
                </c:pt>
                <c:pt idx="3">
                  <c:v>51.113079999999997</c:v>
                </c:pt>
                <c:pt idx="4">
                  <c:v>49.356879999999997</c:v>
                </c:pt>
                <c:pt idx="5">
                  <c:v>48.048909999999999</c:v>
                </c:pt>
                <c:pt idx="6">
                  <c:v>47.518219999999999</c:v>
                </c:pt>
                <c:pt idx="7">
                  <c:v>46.036610000000003</c:v>
                </c:pt>
                <c:pt idx="8">
                  <c:v>45.54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0E-4AC5-914B-E303EE86027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Tachov</c:v>
                </c:pt>
                <c:pt idx="1">
                  <c:v>Plzeň-jih</c:v>
                </c:pt>
                <c:pt idx="2">
                  <c:v>Plzeň-sever</c:v>
                </c:pt>
                <c:pt idx="3">
                  <c:v>Plzeňský kraj</c:v>
                </c:pt>
                <c:pt idx="4">
                  <c:v>Plzeň-město</c:v>
                </c:pt>
                <c:pt idx="5">
                  <c:v>Klatovy</c:v>
                </c:pt>
                <c:pt idx="6">
                  <c:v>Česká republika</c:v>
                </c:pt>
                <c:pt idx="7">
                  <c:v>Rokycany</c:v>
                </c:pt>
                <c:pt idx="8">
                  <c:v>Domažlice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6">
                  <c:v>47.518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0E-4AC5-914B-E303EE86027A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Tachov</c:v>
                </c:pt>
                <c:pt idx="1">
                  <c:v>Plzeň-jih</c:v>
                </c:pt>
                <c:pt idx="2">
                  <c:v>Plzeň-sever</c:v>
                </c:pt>
                <c:pt idx="3">
                  <c:v>Plzeňský kraj</c:v>
                </c:pt>
                <c:pt idx="4">
                  <c:v>Plzeň-město</c:v>
                </c:pt>
                <c:pt idx="5">
                  <c:v>Klatovy</c:v>
                </c:pt>
                <c:pt idx="6">
                  <c:v>Česká republika</c:v>
                </c:pt>
                <c:pt idx="7">
                  <c:v>Rokycany</c:v>
                </c:pt>
                <c:pt idx="8">
                  <c:v>Domažlice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3">
                  <c:v>51.1130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B0E-4AC5-914B-E303EE8602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8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2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3.772779999999999</c:v>
                </c:pt>
                <c:pt idx="1">
                  <c:v>11.57574</c:v>
                </c:pt>
                <c:pt idx="2">
                  <c:v>12.479559999999999</c:v>
                </c:pt>
                <c:pt idx="3">
                  <c:v>12.27477</c:v>
                </c:pt>
                <c:pt idx="4">
                  <c:v>11.99532</c:v>
                </c:pt>
                <c:pt idx="5">
                  <c:v>12.406219999999999</c:v>
                </c:pt>
                <c:pt idx="6">
                  <c:v>10.23503</c:v>
                </c:pt>
                <c:pt idx="7">
                  <c:v>11.32208</c:v>
                </c:pt>
                <c:pt idx="8">
                  <c:v>10.940429999999999</c:v>
                </c:pt>
                <c:pt idx="9">
                  <c:v>8.9887639999999998</c:v>
                </c:pt>
                <c:pt idx="10">
                  <c:v>10.231920000000001</c:v>
                </c:pt>
                <c:pt idx="11">
                  <c:v>9.7577850000000002</c:v>
                </c:pt>
                <c:pt idx="12">
                  <c:v>9.2432429999999997</c:v>
                </c:pt>
                <c:pt idx="13">
                  <c:v>8.8055800000000009</c:v>
                </c:pt>
                <c:pt idx="14">
                  <c:v>9.266899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65-4E09-8A10-3E5001B4B4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6.9131830000000001</c:v>
                </c:pt>
                <c:pt idx="1">
                  <c:v>7.6433119999999999</c:v>
                </c:pt>
                <c:pt idx="2">
                  <c:v>6.5940050000000001</c:v>
                </c:pt>
                <c:pt idx="3">
                  <c:v>6.475225</c:v>
                </c:pt>
                <c:pt idx="4">
                  <c:v>6.6120539999999997</c:v>
                </c:pt>
                <c:pt idx="5">
                  <c:v>6.0825290000000001</c:v>
                </c:pt>
                <c:pt idx="6">
                  <c:v>7.5056859999999999</c:v>
                </c:pt>
                <c:pt idx="7">
                  <c:v>6.2587900000000003</c:v>
                </c:pt>
                <c:pt idx="8">
                  <c:v>6.452979</c:v>
                </c:pt>
                <c:pt idx="9">
                  <c:v>7.962872</c:v>
                </c:pt>
                <c:pt idx="10">
                  <c:v>6.684857</c:v>
                </c:pt>
                <c:pt idx="11">
                  <c:v>5.8131490000000001</c:v>
                </c:pt>
                <c:pt idx="12">
                  <c:v>5.594595</c:v>
                </c:pt>
                <c:pt idx="13">
                  <c:v>5.8413250000000003</c:v>
                </c:pt>
                <c:pt idx="14">
                  <c:v>5.331641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65-4E09-8A10-3E5001B4B41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21.811360000000001</c:v>
                </c:pt>
                <c:pt idx="1">
                  <c:v>19.46829</c:v>
                </c:pt>
                <c:pt idx="2">
                  <c:v>19.400539999999999</c:v>
                </c:pt>
                <c:pt idx="3">
                  <c:v>17.96171</c:v>
                </c:pt>
                <c:pt idx="4">
                  <c:v>18.431830000000001</c:v>
                </c:pt>
                <c:pt idx="5">
                  <c:v>15.30011</c:v>
                </c:pt>
                <c:pt idx="6">
                  <c:v>20.773309999999999</c:v>
                </c:pt>
                <c:pt idx="7">
                  <c:v>15.588369999999999</c:v>
                </c:pt>
                <c:pt idx="8">
                  <c:v>18.31569</c:v>
                </c:pt>
                <c:pt idx="9">
                  <c:v>20.322420000000001</c:v>
                </c:pt>
                <c:pt idx="10">
                  <c:v>17.121420000000001</c:v>
                </c:pt>
                <c:pt idx="11">
                  <c:v>17.093430000000001</c:v>
                </c:pt>
                <c:pt idx="12">
                  <c:v>18.37838</c:v>
                </c:pt>
                <c:pt idx="13">
                  <c:v>23.278120000000001</c:v>
                </c:pt>
                <c:pt idx="14">
                  <c:v>18.59727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65-4E09-8A10-3E5001B4B41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50.321539999999999</c:v>
                </c:pt>
                <c:pt idx="1">
                  <c:v>48.296869999999998</c:v>
                </c:pt>
                <c:pt idx="2">
                  <c:v>50.84469</c:v>
                </c:pt>
                <c:pt idx="3">
                  <c:v>53.322069999999997</c:v>
                </c:pt>
                <c:pt idx="4">
                  <c:v>47.162080000000003</c:v>
                </c:pt>
                <c:pt idx="5">
                  <c:v>48.043939999999999</c:v>
                </c:pt>
                <c:pt idx="6">
                  <c:v>51.478389999999997</c:v>
                </c:pt>
                <c:pt idx="7">
                  <c:v>42.920769999999997</c:v>
                </c:pt>
                <c:pt idx="8">
                  <c:v>47.732080000000003</c:v>
                </c:pt>
                <c:pt idx="9">
                  <c:v>48.949680000000001</c:v>
                </c:pt>
                <c:pt idx="10">
                  <c:v>48.840380000000003</c:v>
                </c:pt>
                <c:pt idx="11">
                  <c:v>43.875430000000001</c:v>
                </c:pt>
                <c:pt idx="12">
                  <c:v>42.67568</c:v>
                </c:pt>
                <c:pt idx="13">
                  <c:v>44.027900000000002</c:v>
                </c:pt>
                <c:pt idx="14">
                  <c:v>53.2212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65-4E09-8A10-3E5001B4B41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3.1082529999999999</c:v>
                </c:pt>
                <c:pt idx="1">
                  <c:v>7.3386870000000002</c:v>
                </c:pt>
                <c:pt idx="2">
                  <c:v>7.4659399999999998</c:v>
                </c:pt>
                <c:pt idx="3">
                  <c:v>4.6171170000000004</c:v>
                </c:pt>
                <c:pt idx="4">
                  <c:v>9.4207140000000003</c:v>
                </c:pt>
                <c:pt idx="5">
                  <c:v>7.4758839999999998</c:v>
                </c:pt>
                <c:pt idx="6">
                  <c:v>4.3214560000000004</c:v>
                </c:pt>
                <c:pt idx="7">
                  <c:v>8.6029070000000001</c:v>
                </c:pt>
                <c:pt idx="8">
                  <c:v>7.5869369999999998</c:v>
                </c:pt>
                <c:pt idx="9">
                  <c:v>5.715681</c:v>
                </c:pt>
                <c:pt idx="10">
                  <c:v>7.6398359999999998</c:v>
                </c:pt>
                <c:pt idx="11">
                  <c:v>10.31142</c:v>
                </c:pt>
                <c:pt idx="12">
                  <c:v>10.86486</c:v>
                </c:pt>
                <c:pt idx="13">
                  <c:v>8.9799480000000003</c:v>
                </c:pt>
                <c:pt idx="14">
                  <c:v>6.98191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65-4E09-8A10-3E5001B4B41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Zlínský kraj</c:v>
                </c:pt>
                <c:pt idx="7">
                  <c:v>Středočeský kraj</c:v>
                </c:pt>
                <c:pt idx="8">
                  <c:v>Česká republika</c:v>
                </c:pt>
                <c:pt idx="9">
                  <c:v>Jih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4.072883</c:v>
                </c:pt>
                <c:pt idx="1">
                  <c:v>5.677098</c:v>
                </c:pt>
                <c:pt idx="2">
                  <c:v>3.2152590000000001</c:v>
                </c:pt>
                <c:pt idx="3">
                  <c:v>5.3490989999999998</c:v>
                </c:pt>
                <c:pt idx="4">
                  <c:v>6.377999</c:v>
                </c:pt>
                <c:pt idx="5">
                  <c:v>10.691319999999999</c:v>
                </c:pt>
                <c:pt idx="6">
                  <c:v>5.6861259999999998</c:v>
                </c:pt>
                <c:pt idx="7">
                  <c:v>15.307079999999999</c:v>
                </c:pt>
                <c:pt idx="8">
                  <c:v>8.9718780000000002</c:v>
                </c:pt>
                <c:pt idx="9">
                  <c:v>8.0605759999999993</c:v>
                </c:pt>
                <c:pt idx="10">
                  <c:v>9.4815830000000005</c:v>
                </c:pt>
                <c:pt idx="11">
                  <c:v>13.14879</c:v>
                </c:pt>
                <c:pt idx="12">
                  <c:v>13.24324</c:v>
                </c:pt>
                <c:pt idx="13">
                  <c:v>9.0671320000000009</c:v>
                </c:pt>
                <c:pt idx="14">
                  <c:v>6.601079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B65-4E09-8A10-3E5001B4B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72726336"/>
        <c:axId val="372726728"/>
      </c:barChart>
      <c:catAx>
        <c:axId val="3727263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728"/>
        <c:crosses val="autoZero"/>
        <c:auto val="1"/>
        <c:lblAlgn val="ctr"/>
        <c:lblOffset val="100"/>
        <c:noMultiLvlLbl val="0"/>
      </c:catAx>
      <c:valAx>
        <c:axId val="372726728"/>
        <c:scaling>
          <c:orientation val="minMax"/>
          <c:max val="1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56914697373464"/>
          <c:y val="9.5982142857142863E-2"/>
          <c:w val="0.78270063975706416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Kohorta 2010-2014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2:$A$26</c:f>
              <c:numCache>
                <c:formatCode>General</c:formatCode>
                <c:ptCount val="25"/>
                <c:pt idx="0">
                  <c:v>0.90710000000000002</c:v>
                </c:pt>
                <c:pt idx="1">
                  <c:v>0.95709999999999995</c:v>
                </c:pt>
                <c:pt idx="2">
                  <c:v>0.9486</c:v>
                </c:pt>
                <c:pt idx="3">
                  <c:v>0.83940000000000003</c:v>
                </c:pt>
                <c:pt idx="4">
                  <c:v>0.85729999999999995</c:v>
                </c:pt>
                <c:pt idx="5">
                  <c:v>0.80740000000000001</c:v>
                </c:pt>
                <c:pt idx="6">
                  <c:v>0.78700000000000003</c:v>
                </c:pt>
                <c:pt idx="7">
                  <c:v>0.68110000000000004</c:v>
                </c:pt>
                <c:pt idx="8">
                  <c:v>0.62860000000000005</c:v>
                </c:pt>
                <c:pt idx="9">
                  <c:v>0.63739999999999997</c:v>
                </c:pt>
                <c:pt idx="10">
                  <c:v>0.6381</c:v>
                </c:pt>
                <c:pt idx="11">
                  <c:v>0.57369999999999999</c:v>
                </c:pt>
                <c:pt idx="12">
                  <c:v>0.56759999999999999</c:v>
                </c:pt>
                <c:pt idx="13">
                  <c:v>0.49769999999999998</c:v>
                </c:pt>
                <c:pt idx="14">
                  <c:v>0.47720000000000001</c:v>
                </c:pt>
                <c:pt idx="15">
                  <c:v>0.38080000000000003</c:v>
                </c:pt>
                <c:pt idx="16">
                  <c:v>0.37140000000000001</c:v>
                </c:pt>
                <c:pt idx="17">
                  <c:v>0.3997</c:v>
                </c:pt>
                <c:pt idx="18">
                  <c:v>0.21010000000000001</c:v>
                </c:pt>
                <c:pt idx="19">
                  <c:v>0.1676</c:v>
                </c:pt>
                <c:pt idx="20">
                  <c:v>0.1069</c:v>
                </c:pt>
                <c:pt idx="21">
                  <c:v>0.1089</c:v>
                </c:pt>
                <c:pt idx="22">
                  <c:v>9.4899999999999998E-2</c:v>
                </c:pt>
                <c:pt idx="23">
                  <c:v>5.2900000000000003E-2</c:v>
                </c:pt>
                <c:pt idx="24">
                  <c:v>6.1199999999999997E-2</c:v>
                </c:pt>
              </c:numCache>
            </c:numRef>
          </c:xVal>
          <c:y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7"/>
          <c:order val="1"/>
          <c:tx>
            <c:strRef>
              <c:f>Sheet1!$C$1</c:f>
              <c:strCache>
                <c:ptCount val="1"/>
                <c:pt idx="0">
                  <c:v>Kohorta 2015-2019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chemeClr val="tx1"/>
              </a:solidFill>
              <a:ln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27:$A$51</c:f>
              <c:numCache>
                <c:formatCode>General</c:formatCode>
                <c:ptCount val="25"/>
                <c:pt idx="0">
                  <c:v>0.95140000000000002</c:v>
                </c:pt>
                <c:pt idx="1">
                  <c:v>0.97819999999999996</c:v>
                </c:pt>
                <c:pt idx="2">
                  <c:v>0.96350000000000002</c:v>
                </c:pt>
                <c:pt idx="3">
                  <c:v>0.90339999999999998</c:v>
                </c:pt>
                <c:pt idx="4">
                  <c:v>0.89129999999999998</c:v>
                </c:pt>
                <c:pt idx="5">
                  <c:v>0.86639999999999995</c:v>
                </c:pt>
                <c:pt idx="6">
                  <c:v>0.81499999999999995</c:v>
                </c:pt>
                <c:pt idx="7">
                  <c:v>0.7419</c:v>
                </c:pt>
                <c:pt idx="8">
                  <c:v>0.6411</c:v>
                </c:pt>
                <c:pt idx="9">
                  <c:v>0.67269999999999996</c:v>
                </c:pt>
                <c:pt idx="10">
                  <c:v>0.64680000000000004</c:v>
                </c:pt>
                <c:pt idx="11">
                  <c:v>0.61150000000000004</c:v>
                </c:pt>
                <c:pt idx="12">
                  <c:v>0.58199999999999996</c:v>
                </c:pt>
                <c:pt idx="13">
                  <c:v>0.55630000000000002</c:v>
                </c:pt>
                <c:pt idx="14">
                  <c:v>0.52710000000000001</c:v>
                </c:pt>
                <c:pt idx="15">
                  <c:v>0.48120000000000002</c:v>
                </c:pt>
                <c:pt idx="16">
                  <c:v>0.35799999999999998</c:v>
                </c:pt>
                <c:pt idx="17">
                  <c:v>0.44019999999999998</c:v>
                </c:pt>
                <c:pt idx="18">
                  <c:v>0.26569999999999999</c:v>
                </c:pt>
                <c:pt idx="19">
                  <c:v>0.2089</c:v>
                </c:pt>
                <c:pt idx="20">
                  <c:v>0.1653</c:v>
                </c:pt>
                <c:pt idx="21">
                  <c:v>0.1459</c:v>
                </c:pt>
                <c:pt idx="22">
                  <c:v>0.15129999999999999</c:v>
                </c:pt>
                <c:pt idx="23">
                  <c:v>9.8199999999999996E-2</c:v>
                </c:pt>
                <c:pt idx="24">
                  <c:v>0.10879999999999999</c:v>
                </c:pt>
              </c:numCache>
            </c:numRef>
          </c:xVal>
          <c:yVal>
            <c:numRef>
              <c:f>Sheet1!$C$27:$C$51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55-4B86-BABD-9343ACD16095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Perioda 2020-2022</c:v>
                </c:pt>
              </c:strCache>
            </c:strRef>
          </c:tx>
          <c:spPr>
            <a:ln w="19050">
              <a:noFill/>
            </a:ln>
          </c:spPr>
          <c:marker>
            <c:symbol val="square"/>
            <c:size val="8"/>
            <c:spPr>
              <a:solidFill>
                <a:srgbClr val="FFC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52:$A$76</c:f>
              <c:numCache>
                <c:formatCode>General</c:formatCode>
                <c:ptCount val="25"/>
                <c:pt idx="0">
                  <c:v>0.98480000000000001</c:v>
                </c:pt>
                <c:pt idx="1">
                  <c:v>0.97829999999999995</c:v>
                </c:pt>
                <c:pt idx="2">
                  <c:v>0.96719999999999995</c:v>
                </c:pt>
                <c:pt idx="3">
                  <c:v>0.92600000000000005</c:v>
                </c:pt>
                <c:pt idx="4">
                  <c:v>0.91039999999999999</c:v>
                </c:pt>
                <c:pt idx="5">
                  <c:v>0.87719999999999998</c:v>
                </c:pt>
                <c:pt idx="6">
                  <c:v>0.82589999999999997</c:v>
                </c:pt>
                <c:pt idx="7">
                  <c:v>0.80579999999999996</c:v>
                </c:pt>
                <c:pt idx="8">
                  <c:v>0.70220000000000005</c:v>
                </c:pt>
                <c:pt idx="9">
                  <c:v>0.69399999999999995</c:v>
                </c:pt>
                <c:pt idx="10">
                  <c:v>0.67710000000000004</c:v>
                </c:pt>
                <c:pt idx="11">
                  <c:v>0.64710000000000001</c:v>
                </c:pt>
                <c:pt idx="12">
                  <c:v>0.61339999999999995</c:v>
                </c:pt>
                <c:pt idx="13">
                  <c:v>0.58230000000000004</c:v>
                </c:pt>
                <c:pt idx="14">
                  <c:v>0.56179999999999997</c:v>
                </c:pt>
                <c:pt idx="15">
                  <c:v>0.52270000000000005</c:v>
                </c:pt>
                <c:pt idx="16">
                  <c:v>0.4743</c:v>
                </c:pt>
                <c:pt idx="17">
                  <c:v>0.47189999999999999</c:v>
                </c:pt>
                <c:pt idx="18">
                  <c:v>0.31480000000000002</c:v>
                </c:pt>
                <c:pt idx="19">
                  <c:v>0.247</c:v>
                </c:pt>
                <c:pt idx="20">
                  <c:v>0.2072</c:v>
                </c:pt>
                <c:pt idx="21">
                  <c:v>0.18770000000000001</c:v>
                </c:pt>
                <c:pt idx="22">
                  <c:v>0.1767</c:v>
                </c:pt>
                <c:pt idx="23">
                  <c:v>0.14000000000000001</c:v>
                </c:pt>
                <c:pt idx="24">
                  <c:v>0.1232</c:v>
                </c:pt>
              </c:numCache>
            </c:numRef>
          </c:xVal>
          <c:yVal>
            <c:numRef>
              <c:f>Sheet1!$D$52:$D$7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55-4B86-BABD-9343ACD16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59:$A$77</c15:sqref>
                        </c15:formulaRef>
                      </c:ext>
                    </c:extLst>
                    <c:numCache>
                      <c:formatCode>General</c:formatCode>
                      <c:ptCount val="19"/>
                      <c:pt idx="0">
                        <c:v>0.80579999999999996</c:v>
                      </c:pt>
                      <c:pt idx="1">
                        <c:v>0.70220000000000005</c:v>
                      </c:pt>
                      <c:pt idx="2">
                        <c:v>0.69399999999999995</c:v>
                      </c:pt>
                      <c:pt idx="3">
                        <c:v>0.67710000000000004</c:v>
                      </c:pt>
                      <c:pt idx="4">
                        <c:v>0.64710000000000001</c:v>
                      </c:pt>
                      <c:pt idx="5">
                        <c:v>0.61339999999999995</c:v>
                      </c:pt>
                      <c:pt idx="6">
                        <c:v>0.58230000000000004</c:v>
                      </c:pt>
                      <c:pt idx="7">
                        <c:v>0.56179999999999997</c:v>
                      </c:pt>
                      <c:pt idx="8">
                        <c:v>0.52270000000000005</c:v>
                      </c:pt>
                      <c:pt idx="9">
                        <c:v>0.4743</c:v>
                      </c:pt>
                      <c:pt idx="10">
                        <c:v>0.47189999999999999</c:v>
                      </c:pt>
                      <c:pt idx="11">
                        <c:v>0.31480000000000002</c:v>
                      </c:pt>
                      <c:pt idx="12">
                        <c:v>0.247</c:v>
                      </c:pt>
                      <c:pt idx="13">
                        <c:v>0.2072</c:v>
                      </c:pt>
                      <c:pt idx="14">
                        <c:v>0.18770000000000001</c:v>
                      </c:pt>
                      <c:pt idx="15">
                        <c:v>0.1767</c:v>
                      </c:pt>
                      <c:pt idx="16">
                        <c:v>0.14000000000000001</c:v>
                      </c:pt>
                      <c:pt idx="17">
                        <c:v>0.1232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20F5-4966-9C6C-4ADAFC8366C3}"/>
                  </c:ext>
                </c:extLst>
              </c15:ser>
            </c15:filteredScatterSeries>
            <c15:filteredScatterSeries>
              <c15:ser>
                <c:idx val="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78:$A$96</c15:sqref>
                        </c15:formulaRef>
                      </c:ext>
                    </c:extLst>
                    <c:numCache>
                      <c:formatCode>General</c:formatCode>
                      <c:ptCount val="19"/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0E0A-45F8-A7D3-F9E8CAE758E8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ax val="25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8381502890173E-2"/>
          <c:y val="9.5982142857142863E-2"/>
          <c:w val="0.87668593448940269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ČR</c:v>
                </c:pt>
              </c:strCache>
            </c:strRef>
          </c:tx>
          <c:spPr>
            <a:ln w="18989">
              <a:noFill/>
            </a:ln>
          </c:spPr>
          <c:marker>
            <c:symbol val="square"/>
            <c:size val="10"/>
            <c:spPr>
              <a:solidFill>
                <a:srgbClr val="002060"/>
              </a:solidFill>
              <a:ln>
                <a:solidFill>
                  <a:schemeClr val="tx1"/>
                </a:solidFill>
              </a:ln>
            </c:spPr>
          </c:marker>
          <c:dPt>
            <c:idx val="7"/>
            <c:marker>
              <c:spPr>
                <a:solidFill>
                  <a:srgbClr val="C00000"/>
                </a:solidFill>
                <a:ln>
                  <a:solidFill>
                    <a:schemeClr val="tx1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8EC-4B35-832F-C40E600460F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FB68-4A8D-9473-EEB04198498B}"/>
              </c:ext>
            </c:extLst>
          </c:dPt>
          <c:xVal>
            <c:numRef>
              <c:f>Sheet1!$A$2:$A$266</c:f>
              <c:numCache>
                <c:formatCode>General</c:formatCode>
                <c:ptCount val="265"/>
                <c:pt idx="0">
                  <c:v>0.26700000000000002</c:v>
                </c:pt>
                <c:pt idx="1">
                  <c:v>0.25900000000000001</c:v>
                </c:pt>
                <c:pt idx="2">
                  <c:v>0.23200000000000001</c:v>
                </c:pt>
                <c:pt idx="3">
                  <c:v>0.22600000000000001</c:v>
                </c:pt>
                <c:pt idx="4">
                  <c:v>0.219</c:v>
                </c:pt>
                <c:pt idx="5">
                  <c:v>0.21199999999999999</c:v>
                </c:pt>
                <c:pt idx="6">
                  <c:v>0.21</c:v>
                </c:pt>
                <c:pt idx="7">
                  <c:v>0.2072</c:v>
                </c:pt>
                <c:pt idx="8">
                  <c:v>0.20499999999999999</c:v>
                </c:pt>
                <c:pt idx="9">
                  <c:v>0.20300000000000001</c:v>
                </c:pt>
                <c:pt idx="10">
                  <c:v>0.20200000000000001</c:v>
                </c:pt>
                <c:pt idx="11">
                  <c:v>0.193</c:v>
                </c:pt>
                <c:pt idx="12">
                  <c:v>0.161</c:v>
                </c:pt>
                <c:pt idx="13">
                  <c:v>0.14899999999999999</c:v>
                </c:pt>
                <c:pt idx="14">
                  <c:v>0.14299999999999999</c:v>
                </c:pt>
                <c:pt idx="15">
                  <c:v>0.20200000000000001</c:v>
                </c:pt>
                <c:pt idx="16">
                  <c:v>0.21299999999999999</c:v>
                </c:pt>
                <c:pt idx="17">
                  <c:v>0.16200000000000001</c:v>
                </c:pt>
                <c:pt idx="18">
                  <c:v>0.159</c:v>
                </c:pt>
                <c:pt idx="19">
                  <c:v>0.17499999999999999</c:v>
                </c:pt>
                <c:pt idx="20">
                  <c:v>0.14699999999999999</c:v>
                </c:pt>
                <c:pt idx="21">
                  <c:v>0.17100000000000001</c:v>
                </c:pt>
                <c:pt idx="22">
                  <c:v>0.19961292968688499</c:v>
                </c:pt>
                <c:pt idx="23">
                  <c:v>0.14599999999999999</c:v>
                </c:pt>
                <c:pt idx="24">
                  <c:v>0.14599999999999999</c:v>
                </c:pt>
                <c:pt idx="25">
                  <c:v>0.157</c:v>
                </c:pt>
                <c:pt idx="26">
                  <c:v>0.13200000000000001</c:v>
                </c:pt>
                <c:pt idx="27">
                  <c:v>0.107</c:v>
                </c:pt>
                <c:pt idx="28">
                  <c:v>0.11600000000000001</c:v>
                </c:pt>
                <c:pt idx="29">
                  <c:v>8.5000000000000006E-2</c:v>
                </c:pt>
                <c:pt idx="30">
                  <c:v>0.33400000000000002</c:v>
                </c:pt>
                <c:pt idx="31">
                  <c:v>0.30599999999999999</c:v>
                </c:pt>
                <c:pt idx="32">
                  <c:v>0.308</c:v>
                </c:pt>
                <c:pt idx="33">
                  <c:v>0.30099999999999999</c:v>
                </c:pt>
                <c:pt idx="34">
                  <c:v>0.26800000000000002</c:v>
                </c:pt>
                <c:pt idx="35">
                  <c:v>0.28799999999999998</c:v>
                </c:pt>
                <c:pt idx="36">
                  <c:v>0.254</c:v>
                </c:pt>
                <c:pt idx="37">
                  <c:v>0.21488978329198899</c:v>
                </c:pt>
                <c:pt idx="38">
                  <c:v>0.27200000000000002</c:v>
                </c:pt>
                <c:pt idx="39">
                  <c:v>0.26600000000000001</c:v>
                </c:pt>
                <c:pt idx="40">
                  <c:v>0.25</c:v>
                </c:pt>
                <c:pt idx="41">
                  <c:v>0.26600000000000001</c:v>
                </c:pt>
                <c:pt idx="42">
                  <c:v>0.22700000000000001</c:v>
                </c:pt>
                <c:pt idx="43">
                  <c:v>0.186</c:v>
                </c:pt>
                <c:pt idx="44">
                  <c:v>0.217</c:v>
                </c:pt>
              </c:numCache>
            </c:numRef>
          </c:xVal>
          <c:yVal>
            <c:numRef>
              <c:f>Sheet1!$B$2:$B$266</c:f>
              <c:numCache>
                <c:formatCode>General</c:formatCode>
                <c:ptCount val="26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  <c:pt idx="0">
                  <c:v>ČR_low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17:$A$31</c:f>
              <c:numCache>
                <c:formatCode>General</c:formatCode>
                <c:ptCount val="15"/>
                <c:pt idx="0">
                  <c:v>0.20200000000000001</c:v>
                </c:pt>
                <c:pt idx="1">
                  <c:v>0.21299999999999999</c:v>
                </c:pt>
                <c:pt idx="2">
                  <c:v>0.16200000000000001</c:v>
                </c:pt>
                <c:pt idx="3">
                  <c:v>0.159</c:v>
                </c:pt>
                <c:pt idx="4">
                  <c:v>0.17499999999999999</c:v>
                </c:pt>
                <c:pt idx="5">
                  <c:v>0.14699999999999999</c:v>
                </c:pt>
                <c:pt idx="6">
                  <c:v>0.17100000000000001</c:v>
                </c:pt>
                <c:pt idx="7">
                  <c:v>0.19961292968688499</c:v>
                </c:pt>
                <c:pt idx="8">
                  <c:v>0.14599999999999999</c:v>
                </c:pt>
                <c:pt idx="9">
                  <c:v>0.14599999999999999</c:v>
                </c:pt>
                <c:pt idx="10">
                  <c:v>0.157</c:v>
                </c:pt>
                <c:pt idx="11">
                  <c:v>0.13200000000000001</c:v>
                </c:pt>
                <c:pt idx="12">
                  <c:v>0.107</c:v>
                </c:pt>
                <c:pt idx="13">
                  <c:v>0.11600000000000001</c:v>
                </c:pt>
                <c:pt idx="14">
                  <c:v>8.5000000000000006E-2</c:v>
                </c:pt>
              </c:numCache>
            </c:numRef>
          </c:xVal>
          <c:yVal>
            <c:numRef>
              <c:f>Sheet1!$C$17:$C$31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E6-46C6-BA62-E0C855890E1D}"/>
            </c:ext>
          </c:extLst>
        </c:ser>
        <c:ser>
          <c:idx val="1"/>
          <c:order val="3"/>
          <c:tx>
            <c:strRef>
              <c:f>Sheet1!$D$1</c:f>
              <c:strCache>
                <c:ptCount val="1"/>
                <c:pt idx="0">
                  <c:v>ČR_upp</c:v>
                </c:pt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chemeClr val="tx1"/>
                </a:solidFill>
              </a:ln>
            </c:spPr>
          </c:marker>
          <c:xVal>
            <c:numRef>
              <c:f>Sheet1!$A$32:$A$56</c:f>
              <c:numCache>
                <c:formatCode>General</c:formatCode>
                <c:ptCount val="25"/>
                <c:pt idx="0">
                  <c:v>0.33400000000000002</c:v>
                </c:pt>
                <c:pt idx="1">
                  <c:v>0.30599999999999999</c:v>
                </c:pt>
                <c:pt idx="2">
                  <c:v>0.308</c:v>
                </c:pt>
                <c:pt idx="3">
                  <c:v>0.30099999999999999</c:v>
                </c:pt>
                <c:pt idx="4">
                  <c:v>0.26800000000000002</c:v>
                </c:pt>
                <c:pt idx="5">
                  <c:v>0.28799999999999998</c:v>
                </c:pt>
                <c:pt idx="6">
                  <c:v>0.254</c:v>
                </c:pt>
                <c:pt idx="7">
                  <c:v>0.21488978329198899</c:v>
                </c:pt>
                <c:pt idx="8">
                  <c:v>0.27200000000000002</c:v>
                </c:pt>
                <c:pt idx="9">
                  <c:v>0.26600000000000001</c:v>
                </c:pt>
                <c:pt idx="10">
                  <c:v>0.25</c:v>
                </c:pt>
                <c:pt idx="11">
                  <c:v>0.26600000000000001</c:v>
                </c:pt>
                <c:pt idx="12">
                  <c:v>0.22700000000000001</c:v>
                </c:pt>
                <c:pt idx="13">
                  <c:v>0.186</c:v>
                </c:pt>
                <c:pt idx="14">
                  <c:v>0.217</c:v>
                </c:pt>
              </c:numCache>
            </c:numRef>
          </c:xVal>
          <c:yVal>
            <c:numRef>
              <c:f>Sheet1!$D$32:$D$5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7E6-46C6-BA62-E0C855890E1D}"/>
            </c:ext>
          </c:extLst>
        </c:ser>
        <c:ser>
          <c:idx val="2"/>
          <c:order val="4"/>
          <c:tx>
            <c:strRef>
              <c:f>Sheet1!$E$1</c:f>
              <c:strCache>
                <c:ptCount val="1"/>
                <c:pt idx="0">
                  <c:v>CZ</c:v>
                </c:pt>
              </c:strCache>
            </c:strRef>
          </c:tx>
          <c:spPr>
            <a:ln w="19050" cap="sq">
              <a:solidFill>
                <a:srgbClr val="C00000"/>
              </a:solidFill>
              <a:prstDash val="dash"/>
              <a:miter lim="800000"/>
            </a:ln>
          </c:spPr>
          <c:marker>
            <c:symbol val="none"/>
          </c:marker>
          <c:xVal>
            <c:numRef>
              <c:f>Sheet1!$E$2:$E$16</c:f>
              <c:numCache>
                <c:formatCode>General</c:formatCode>
                <c:ptCount val="15"/>
                <c:pt idx="0">
                  <c:v>0.2072</c:v>
                </c:pt>
                <c:pt idx="1">
                  <c:v>0.2072</c:v>
                </c:pt>
                <c:pt idx="2">
                  <c:v>0.2072</c:v>
                </c:pt>
                <c:pt idx="3">
                  <c:v>0.2072</c:v>
                </c:pt>
                <c:pt idx="4">
                  <c:v>0.2072</c:v>
                </c:pt>
                <c:pt idx="5">
                  <c:v>0.2072</c:v>
                </c:pt>
                <c:pt idx="6">
                  <c:v>0.2072</c:v>
                </c:pt>
                <c:pt idx="7">
                  <c:v>0.2072</c:v>
                </c:pt>
                <c:pt idx="8">
                  <c:v>0.2072</c:v>
                </c:pt>
                <c:pt idx="9">
                  <c:v>0.2072</c:v>
                </c:pt>
                <c:pt idx="10">
                  <c:v>0.2072</c:v>
                </c:pt>
                <c:pt idx="11">
                  <c:v>0.2072</c:v>
                </c:pt>
                <c:pt idx="12">
                  <c:v>0.2072</c:v>
                </c:pt>
                <c:pt idx="13">
                  <c:v>0.2072</c:v>
                </c:pt>
                <c:pt idx="14">
                  <c:v>0.2072</c:v>
                </c:pt>
              </c:numCache>
            </c:numRef>
          </c:xVal>
          <c:yVal>
            <c:numRef>
              <c:f>Sheet1!$B$2:$B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7E6-46C6-BA62-E0C855890E1D}"/>
            </c:ext>
          </c:extLst>
        </c:ser>
        <c:ser>
          <c:idx val="3"/>
          <c:order val="5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82:$A$106</c:f>
              <c:numCache>
                <c:formatCode>General</c:formatCode>
                <c:ptCount val="25"/>
              </c:numCache>
            </c:numRef>
          </c:xVal>
          <c:yVal>
            <c:numRef>
              <c:f>Sheet1!$F$82:$F$106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7E6-46C6-BA62-E0C855890E1D}"/>
            </c:ext>
          </c:extLst>
        </c:ser>
        <c:ser>
          <c:idx val="5"/>
          <c:order val="6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noFill/>
            </a:ln>
          </c:spPr>
          <c:marker>
            <c:symbol val="plus"/>
            <c:size val="10"/>
            <c:spPr>
              <a:noFill/>
              <a:ln>
                <a:solidFill>
                  <a:srgbClr val="FF0000"/>
                </a:solidFill>
              </a:ln>
            </c:spPr>
          </c:marker>
          <c:xVal>
            <c:numRef>
              <c:f>Sheet1!$A$107:$A$131</c:f>
              <c:numCache>
                <c:formatCode>General</c:formatCode>
                <c:ptCount val="25"/>
              </c:numCache>
            </c:numRef>
          </c:xVal>
          <c:yVal>
            <c:numRef>
              <c:f>Sheet1!$G$107:$G$131</c:f>
              <c:numCache>
                <c:formatCode>General</c:formatCode>
                <c:ptCount val="25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7E6-46C6-BA62-E0C855890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4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square"/>
                  <c:size val="10"/>
                  <c:spPr>
                    <a:solidFill>
                      <a:srgbClr val="FF0000"/>
                    </a:solidFill>
                    <a:ln w="6350">
                      <a:solidFill>
                        <a:schemeClr val="tx1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2:$A$266</c15:sqref>
                        </c15:formulaRef>
                      </c:ext>
                    </c:extLst>
                    <c:numCache>
                      <c:formatCode>General</c:formatCode>
                      <c:ptCount val="265"/>
                      <c:pt idx="0">
                        <c:v>0.26700000000000002</c:v>
                      </c:pt>
                      <c:pt idx="1">
                        <c:v>0.25900000000000001</c:v>
                      </c:pt>
                      <c:pt idx="2">
                        <c:v>0.23200000000000001</c:v>
                      </c:pt>
                      <c:pt idx="3">
                        <c:v>0.22600000000000001</c:v>
                      </c:pt>
                      <c:pt idx="4">
                        <c:v>0.219</c:v>
                      </c:pt>
                      <c:pt idx="5">
                        <c:v>0.21199999999999999</c:v>
                      </c:pt>
                      <c:pt idx="6">
                        <c:v>0.21</c:v>
                      </c:pt>
                      <c:pt idx="7">
                        <c:v>0.2072</c:v>
                      </c:pt>
                      <c:pt idx="8">
                        <c:v>0.20499999999999999</c:v>
                      </c:pt>
                      <c:pt idx="9">
                        <c:v>0.20300000000000001</c:v>
                      </c:pt>
                      <c:pt idx="10">
                        <c:v>0.20200000000000001</c:v>
                      </c:pt>
                      <c:pt idx="11">
                        <c:v>0.193</c:v>
                      </c:pt>
                      <c:pt idx="12">
                        <c:v>0.161</c:v>
                      </c:pt>
                      <c:pt idx="13">
                        <c:v>0.14899999999999999</c:v>
                      </c:pt>
                      <c:pt idx="14">
                        <c:v>0.14299999999999999</c:v>
                      </c:pt>
                      <c:pt idx="15">
                        <c:v>0.20200000000000001</c:v>
                      </c:pt>
                      <c:pt idx="16">
                        <c:v>0.21299999999999999</c:v>
                      </c:pt>
                      <c:pt idx="17">
                        <c:v>0.16200000000000001</c:v>
                      </c:pt>
                      <c:pt idx="18">
                        <c:v>0.159</c:v>
                      </c:pt>
                      <c:pt idx="19">
                        <c:v>0.17499999999999999</c:v>
                      </c:pt>
                      <c:pt idx="20">
                        <c:v>0.14699999999999999</c:v>
                      </c:pt>
                      <c:pt idx="21">
                        <c:v>0.17100000000000001</c:v>
                      </c:pt>
                      <c:pt idx="22">
                        <c:v>0.19961292968688499</c:v>
                      </c:pt>
                      <c:pt idx="23">
                        <c:v>0.14599999999999999</c:v>
                      </c:pt>
                      <c:pt idx="24">
                        <c:v>0.14599999999999999</c:v>
                      </c:pt>
                      <c:pt idx="25">
                        <c:v>0.157</c:v>
                      </c:pt>
                      <c:pt idx="26">
                        <c:v>0.13200000000000001</c:v>
                      </c:pt>
                      <c:pt idx="27">
                        <c:v>0.107</c:v>
                      </c:pt>
                      <c:pt idx="28">
                        <c:v>0.11600000000000001</c:v>
                      </c:pt>
                      <c:pt idx="29">
                        <c:v>8.5000000000000006E-2</c:v>
                      </c:pt>
                      <c:pt idx="30">
                        <c:v>0.33400000000000002</c:v>
                      </c:pt>
                      <c:pt idx="31">
                        <c:v>0.30599999999999999</c:v>
                      </c:pt>
                      <c:pt idx="32">
                        <c:v>0.308</c:v>
                      </c:pt>
                      <c:pt idx="33">
                        <c:v>0.30099999999999999</c:v>
                      </c:pt>
                      <c:pt idx="34">
                        <c:v>0.26800000000000002</c:v>
                      </c:pt>
                      <c:pt idx="35">
                        <c:v>0.28799999999999998</c:v>
                      </c:pt>
                      <c:pt idx="36">
                        <c:v>0.254</c:v>
                      </c:pt>
                      <c:pt idx="37">
                        <c:v>0.21488978329198899</c:v>
                      </c:pt>
                      <c:pt idx="38">
                        <c:v>0.27200000000000002</c:v>
                      </c:pt>
                      <c:pt idx="39">
                        <c:v>0.26600000000000001</c:v>
                      </c:pt>
                      <c:pt idx="40">
                        <c:v>0.25</c:v>
                      </c:pt>
                      <c:pt idx="41">
                        <c:v>0.26600000000000001</c:v>
                      </c:pt>
                      <c:pt idx="42">
                        <c:v>0.22700000000000001</c:v>
                      </c:pt>
                      <c:pt idx="43">
                        <c:v>0.186</c:v>
                      </c:pt>
                      <c:pt idx="44">
                        <c:v>0.217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92BF-4A47-AE06-D2CDCCFC9767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553250647036122"/>
          <c:y val="0.1513741818872098"/>
          <c:w val="0.63946058329738675"/>
          <c:h val="0.8082071259377863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Středočeský kraj</c:v>
                </c:pt>
                <c:pt idx="1">
                  <c:v>Hl. m. Praha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Královéhrade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Vysočina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508.4</c:v>
                </c:pt>
                <c:pt idx="1">
                  <c:v>571</c:v>
                </c:pt>
                <c:pt idx="2">
                  <c:v>424.8</c:v>
                </c:pt>
                <c:pt idx="3">
                  <c:v>443.6</c:v>
                </c:pt>
                <c:pt idx="4">
                  <c:v>386.6</c:v>
                </c:pt>
                <c:pt idx="5">
                  <c:v>239.4</c:v>
                </c:pt>
                <c:pt idx="6">
                  <c:v>231.6</c:v>
                </c:pt>
                <c:pt idx="7">
                  <c:v>229</c:v>
                </c:pt>
                <c:pt idx="8">
                  <c:v>241.4</c:v>
                </c:pt>
                <c:pt idx="9">
                  <c:v>248.4</c:v>
                </c:pt>
                <c:pt idx="10">
                  <c:v>175.2</c:v>
                </c:pt>
                <c:pt idx="11">
                  <c:v>198.4</c:v>
                </c:pt>
                <c:pt idx="12">
                  <c:v>167.4</c:v>
                </c:pt>
                <c:pt idx="13">
                  <c:v>7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BE-4860-B2D7-6FDE2933679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5</c:f>
              <c:strCache>
                <c:ptCount val="14"/>
                <c:pt idx="0">
                  <c:v>Středočeský kraj</c:v>
                </c:pt>
                <c:pt idx="1">
                  <c:v>Hl. m. Praha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Královéhrade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Vysočina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Karlovarský kraj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177</c:v>
                </c:pt>
                <c:pt idx="1">
                  <c:v>39.4</c:v>
                </c:pt>
                <c:pt idx="2">
                  <c:v>147.4</c:v>
                </c:pt>
                <c:pt idx="3">
                  <c:v>79.599999999999994</c:v>
                </c:pt>
                <c:pt idx="4">
                  <c:v>109.6</c:v>
                </c:pt>
                <c:pt idx="5">
                  <c:v>82.8</c:v>
                </c:pt>
                <c:pt idx="6">
                  <c:v>59.8</c:v>
                </c:pt>
                <c:pt idx="7">
                  <c:v>49.4</c:v>
                </c:pt>
                <c:pt idx="8">
                  <c:v>29.2</c:v>
                </c:pt>
                <c:pt idx="9">
                  <c:v>18.600000000000001</c:v>
                </c:pt>
                <c:pt idx="10">
                  <c:v>61</c:v>
                </c:pt>
                <c:pt idx="11">
                  <c:v>36.4</c:v>
                </c:pt>
                <c:pt idx="12">
                  <c:v>54.8</c:v>
                </c:pt>
                <c:pt idx="13">
                  <c:v>9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BE-4860-B2D7-6FDE29336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  <c:min val="0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593775753963336"/>
          <c:y val="2.0546647505874042E-2"/>
          <c:w val="0.51641109212886238"/>
          <c:h val="5.3728242120119181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78507191182152"/>
          <c:y val="0.13329213538786594"/>
          <c:w val="0.65522854138760855"/>
          <c:h val="0.8435122520901595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léčba v KOC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Ústecký kraj</c:v>
                </c:pt>
                <c:pt idx="4">
                  <c:v>Pardubický kraj</c:v>
                </c:pt>
                <c:pt idx="5">
                  <c:v>Královéhradecký kraj</c:v>
                </c:pt>
                <c:pt idx="6">
                  <c:v>Česká republika</c:v>
                </c:pt>
                <c:pt idx="7">
                  <c:v>Olomoucký kraj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Jihočes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Vysočina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0.93545216251638275</c:v>
                </c:pt>
                <c:pt idx="1">
                  <c:v>0.93033707865168547</c:v>
                </c:pt>
                <c:pt idx="2">
                  <c:v>0.89209164818920916</c:v>
                </c:pt>
                <c:pt idx="3">
                  <c:v>0.84785932721712531</c:v>
                </c:pt>
                <c:pt idx="4">
                  <c:v>0.84497444633730834</c:v>
                </c:pt>
                <c:pt idx="5">
                  <c:v>0.82255747126436785</c:v>
                </c:pt>
                <c:pt idx="6">
                  <c:v>0.79768700968656769</c:v>
                </c:pt>
                <c:pt idx="7">
                  <c:v>0.79478380233356216</c:v>
                </c:pt>
                <c:pt idx="8">
                  <c:v>0.77912132204756146</c:v>
                </c:pt>
                <c:pt idx="9">
                  <c:v>0.75337533753375341</c:v>
                </c:pt>
                <c:pt idx="10">
                  <c:v>0.74301675977653636</c:v>
                </c:pt>
                <c:pt idx="11">
                  <c:v>0.74239776301992311</c:v>
                </c:pt>
                <c:pt idx="12">
                  <c:v>0.74175663845929385</c:v>
                </c:pt>
                <c:pt idx="13">
                  <c:v>0.74174428450465701</c:v>
                </c:pt>
                <c:pt idx="14">
                  <c:v>0.42974238875878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F8-4F61-ACC2-1879E8EAC35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léčba pouze mimo KOC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List1!$A$2:$A$16</c:f>
              <c:strCache>
                <c:ptCount val="15"/>
                <c:pt idx="0">
                  <c:v>Hl. m.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Ústecký kraj</c:v>
                </c:pt>
                <c:pt idx="4">
                  <c:v>Pardubický kraj</c:v>
                </c:pt>
                <c:pt idx="5">
                  <c:v>Královéhradecký kraj</c:v>
                </c:pt>
                <c:pt idx="6">
                  <c:v>Česká republika</c:v>
                </c:pt>
                <c:pt idx="7">
                  <c:v>Olomoucký kraj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Jihočes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Vysočina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6.4547837483617296E-2</c:v>
                </c:pt>
                <c:pt idx="1">
                  <c:v>6.9662921348314616E-2</c:v>
                </c:pt>
                <c:pt idx="2">
                  <c:v>0.10790835181079082</c:v>
                </c:pt>
                <c:pt idx="3">
                  <c:v>0.1521406727828746</c:v>
                </c:pt>
                <c:pt idx="4">
                  <c:v>0.15502555366269163</c:v>
                </c:pt>
                <c:pt idx="5">
                  <c:v>0.17744252873563218</c:v>
                </c:pt>
                <c:pt idx="6">
                  <c:v>0.20231299031343225</c:v>
                </c:pt>
                <c:pt idx="7">
                  <c:v>0.20521619766643789</c:v>
                </c:pt>
                <c:pt idx="8">
                  <c:v>0.22087867795243851</c:v>
                </c:pt>
                <c:pt idx="9">
                  <c:v>0.24662466246624662</c:v>
                </c:pt>
                <c:pt idx="10">
                  <c:v>0.25698324022346369</c:v>
                </c:pt>
                <c:pt idx="11">
                  <c:v>0.25760223698007689</c:v>
                </c:pt>
                <c:pt idx="12">
                  <c:v>0.25824336154070615</c:v>
                </c:pt>
                <c:pt idx="13">
                  <c:v>0.25825571549534293</c:v>
                </c:pt>
                <c:pt idx="14">
                  <c:v>0.57025761124121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F8-4F61-ACC2-1879E8EAC3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2919520"/>
        <c:axId val="672897056"/>
      </c:barChart>
      <c:catAx>
        <c:axId val="6729195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897056"/>
        <c:crosses val="autoZero"/>
        <c:auto val="1"/>
        <c:lblAlgn val="ctr"/>
        <c:lblOffset val="100"/>
        <c:noMultiLvlLbl val="0"/>
      </c:catAx>
      <c:valAx>
        <c:axId val="672897056"/>
        <c:scaling>
          <c:orientation val="minMax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91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998560763986897"/>
          <c:y val="9.647896535196222E-3"/>
          <c:w val="0.52372979580969747"/>
          <c:h val="5.6577425868895158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cs-CZ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50361500761521"/>
          <c:y val="0.10741931645121987"/>
          <c:w val="0.86246143004170095"/>
          <c:h val="0.72390657392601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aj</c:v>
                </c:pt>
              </c:strCache>
            </c:strRef>
          </c:tx>
          <c:spPr>
            <a:solidFill>
              <a:srgbClr val="6598C7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0"/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2:$B$13</c:f>
              <c:numCache>
                <c:formatCode>0.0%</c:formatCode>
                <c:ptCount val="12"/>
                <c:pt idx="0">
                  <c:v>0</c:v>
                </c:pt>
                <c:pt idx="1">
                  <c:v>0.10552763819095477</c:v>
                </c:pt>
                <c:pt idx="2">
                  <c:v>0.12871287128712872</c:v>
                </c:pt>
                <c:pt idx="3">
                  <c:v>0.15485564304461943</c:v>
                </c:pt>
                <c:pt idx="4">
                  <c:v>0.20646766169154229</c:v>
                </c:pt>
                <c:pt idx="5">
                  <c:v>0.15862068965517243</c:v>
                </c:pt>
                <c:pt idx="6">
                  <c:v>0.16306954436450841</c:v>
                </c:pt>
                <c:pt idx="7">
                  <c:v>0.21464646464646464</c:v>
                </c:pt>
                <c:pt idx="8">
                  <c:v>0.28205128205128205</c:v>
                </c:pt>
                <c:pt idx="9">
                  <c:v>0.3611111111111111</c:v>
                </c:pt>
                <c:pt idx="10">
                  <c:v>0.36538461538461536</c:v>
                </c:pt>
                <c:pt idx="11">
                  <c:v>0.51575931232091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26-4FF8-9B74-4D4161884D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C$2:$C$13</c:f>
              <c:numCache>
                <c:formatCode>0.0%</c:formatCode>
                <c:ptCount val="12"/>
                <c:pt idx="0">
                  <c:v>8.056655498020103E-2</c:v>
                </c:pt>
                <c:pt idx="1">
                  <c:v>0.15048320294523701</c:v>
                </c:pt>
                <c:pt idx="2">
                  <c:v>0.21163939487496142</c:v>
                </c:pt>
                <c:pt idx="3">
                  <c:v>0.25712121212121214</c:v>
                </c:pt>
                <c:pt idx="4">
                  <c:v>0.30007251631617116</c:v>
                </c:pt>
                <c:pt idx="5">
                  <c:v>0.3163614708947447</c:v>
                </c:pt>
                <c:pt idx="6">
                  <c:v>0.32639210242171834</c:v>
                </c:pt>
                <c:pt idx="7">
                  <c:v>0.39089848308051339</c:v>
                </c:pt>
                <c:pt idx="8">
                  <c:v>0.40413354531001588</c:v>
                </c:pt>
                <c:pt idx="9">
                  <c:v>0.43252372526942257</c:v>
                </c:pt>
                <c:pt idx="10">
                  <c:v>0.44466343238326256</c:v>
                </c:pt>
                <c:pt idx="11">
                  <c:v>0.49300015053439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0F-4F58-A914-5187636E9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454197832"/>
        <c:axId val="573333936"/>
      </c:barChart>
      <c:catAx>
        <c:axId val="4541978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Rok diagnózy</a:t>
                </a:r>
                <a:r>
                  <a:rPr lang="cs-CZ" baseline="0" dirty="0"/>
                  <a:t> dle NOR</a:t>
                </a:r>
                <a:endParaRPr lang="cs-CZ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3333936"/>
        <c:crosses val="autoZero"/>
        <c:auto val="1"/>
        <c:lblAlgn val="ctr"/>
        <c:lblOffset val="100"/>
        <c:noMultiLvlLbl val="0"/>
      </c:catAx>
      <c:valAx>
        <c:axId val="573333936"/>
        <c:scaling>
          <c:orientation val="minMax"/>
          <c:min val="0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54197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832777777777778"/>
          <c:y val="0.10215963945420746"/>
          <c:w val="0.83483240740740727"/>
          <c:h val="0.568795588925129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ařazení pacienti podle věku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FC-4AC8-95C9-42F69E1EFCF2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FC-4AC8-95C9-42F69E1EFCF2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FC-4AC8-95C9-42F69E1EFCF2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0FC-4AC8-95C9-42F69E1EFCF2}"/>
              </c:ext>
            </c:extLst>
          </c:dPt>
          <c:dPt>
            <c:idx val="13"/>
            <c:invertIfNegative val="0"/>
            <c:bubble3D val="0"/>
            <c:spPr>
              <a:solidFill>
                <a:srgbClr val="DA2B47"/>
              </a:solidFill>
              <a:ln>
                <a:solidFill>
                  <a:srgbClr val="DA2B47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0FC-4AC8-95C9-42F69E1EFCF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A8EF078-BB24-42C9-8E94-CF21DF5A238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0FC-4AC8-95C9-42F69E1EFCF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493D94E-61B2-47E8-A1CE-54F1291CEB7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0FC-4AC8-95C9-42F69E1EFCF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AFC2084-53CA-46CB-88B8-7C7D6AAF282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0FC-4AC8-95C9-42F69E1EFCF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642577B-D696-4281-BEFA-AB524C91E5F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0FC-4AC8-95C9-42F69E1EFCF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B47FF8E-8EF9-4249-9ABC-4117147047C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0FC-4AC8-95C9-42F69E1EFCF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0DC5373-0E95-406F-AF61-7B543E53959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80FC-4AC8-95C9-42F69E1EFCF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87564D8-BF1D-4706-8A04-0A365CA7EA6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0FC-4AC8-95C9-42F69E1EFCF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D6E2F2B-195F-4F27-9826-801D0518AAE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0FC-4AC8-95C9-42F69E1EFCF2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A3BCE7C-AAD5-4A19-83C6-7F861EEF1F0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0FC-4AC8-95C9-42F69E1EFCF2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16B2193-6775-49E2-8EBC-C864ADA5A20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80FC-4AC8-95C9-42F69E1EFCF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97DFB8D-A75D-4A49-8E08-6932AA14D27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80FC-4AC8-95C9-42F69E1EFCF2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8D2AF4C-0DEE-45FD-AB8B-C189D41ECC64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80FC-4AC8-95C9-42F69E1EFCF2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5C1CAAEF-5820-473E-B86D-25D56821CF9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80FC-4AC8-95C9-42F69E1EFCF2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5FF5C523-9A01-47AA-905F-B4EC62D29F4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80FC-4AC8-95C9-42F69E1EFC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6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Hlavní město Praha</c:v>
                </c:pt>
                <c:pt idx="1">
                  <c:v>Královéhradecký kraj</c:v>
                </c:pt>
                <c:pt idx="2">
                  <c:v>Ústecký kraj</c:v>
                </c:pt>
                <c:pt idx="3">
                  <c:v>Vysočina</c:v>
                </c:pt>
                <c:pt idx="4">
                  <c:v>Karlovarský kraj</c:v>
                </c:pt>
                <c:pt idx="5">
                  <c:v>Středočeský kraj</c:v>
                </c:pt>
                <c:pt idx="6">
                  <c:v>Jihomoravs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Zlíns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Plzeňský kraj</c:v>
                </c:pt>
              </c:strCache>
            </c:strRef>
          </c:cat>
          <c:val>
            <c:numRef>
              <c:f>List1!$B$2:$B$15</c:f>
              <c:numCache>
                <c:formatCode>0.0%</c:formatCode>
                <c:ptCount val="14"/>
                <c:pt idx="0">
                  <c:v>0.56802721088435371</c:v>
                </c:pt>
                <c:pt idx="1">
                  <c:v>0.5061224489795918</c:v>
                </c:pt>
                <c:pt idx="2">
                  <c:v>0.50335570469798663</c:v>
                </c:pt>
                <c:pt idx="3">
                  <c:v>0.47004608294930877</c:v>
                </c:pt>
                <c:pt idx="4">
                  <c:v>0.46296296296296297</c:v>
                </c:pt>
                <c:pt idx="5">
                  <c:v>0.45070422535211269</c:v>
                </c:pt>
                <c:pt idx="6">
                  <c:v>0.44015444015444016</c:v>
                </c:pt>
                <c:pt idx="7">
                  <c:v>0.42857142857142855</c:v>
                </c:pt>
                <c:pt idx="8">
                  <c:v>0.41818181818181815</c:v>
                </c:pt>
                <c:pt idx="9">
                  <c:v>0.39350180505415161</c:v>
                </c:pt>
                <c:pt idx="10">
                  <c:v>0.38976377952755903</c:v>
                </c:pt>
                <c:pt idx="11">
                  <c:v>0.38174273858921159</c:v>
                </c:pt>
                <c:pt idx="12">
                  <c:v>0.37696335078534032</c:v>
                </c:pt>
                <c:pt idx="13">
                  <c:v>0.3662551440329218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C$2:$C$15</c15:f>
                <c15:dlblRangeCache>
                  <c:ptCount val="14"/>
                </c15:dlblRangeCache>
              </c15:datalabelsRange>
            </c:ext>
            <c:ext xmlns:c16="http://schemas.microsoft.com/office/drawing/2014/chart" uri="{C3380CC4-5D6E-409C-BE32-E72D297353CC}">
              <c16:uniqueId val="{00000012-80FC-4AC8-95C9-42F69E1EF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721060200"/>
        <c:axId val="721057848"/>
      </c:bar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  <c:max val="0.70000000000000007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1" dirty="0">
                    <a:solidFill>
                      <a:schemeClr val="bg2">
                        <a:lumMod val="10000"/>
                      </a:schemeClr>
                    </a:solidFill>
                    <a:latin typeface="Arial (Základní text)"/>
                  </a:rPr>
                  <a:t>Podíl</a:t>
                </a:r>
                <a:r>
                  <a:rPr lang="cs-CZ" sz="1100" b="1" baseline="0" dirty="0">
                    <a:solidFill>
                      <a:schemeClr val="bg2">
                        <a:lumMod val="10000"/>
                      </a:schemeClr>
                    </a:solidFill>
                    <a:latin typeface="Arial (Základní text)"/>
                  </a:rPr>
                  <a:t> zapojených IČZ v rámci kraje</a:t>
                </a:r>
                <a:endParaRPr lang="cs-CZ" sz="1100" b="1" dirty="0">
                  <a:solidFill>
                    <a:schemeClr val="bg2">
                      <a:lumMod val="10000"/>
                    </a:schemeClr>
                  </a:solidFill>
                  <a:latin typeface="Arial (Základní text)"/>
                </a:endParaRPr>
              </a:p>
            </c:rich>
          </c:tx>
          <c:layout>
            <c:manualLayout>
              <c:xMode val="edge"/>
              <c:yMode val="edge"/>
              <c:x val="3.7388546958492544E-2"/>
              <c:y val="6.206922508995629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  <c:majorUnit val="5.000000000000001E-2"/>
        <c:minorUnit val="1.0000000000000002E-3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inc 5 let</c:v>
                </c:pt>
              </c:strCache>
            </c:strRef>
          </c:tx>
          <c:spPr>
            <a:solidFill>
              <a:srgbClr val="CC9900">
                <a:alpha val="29804"/>
              </a:srgbClr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CC9900">
                  <a:alpha val="30000"/>
                </a:srgbClr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320E-4DB5-A083-7C86FE26AF51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lzeň-město</c:v>
                </c:pt>
                <c:pt idx="1">
                  <c:v>Rokycany</c:v>
                </c:pt>
                <c:pt idx="2">
                  <c:v>Tachov</c:v>
                </c:pt>
                <c:pt idx="3">
                  <c:v>Česká republika</c:v>
                </c:pt>
                <c:pt idx="4">
                  <c:v>Plzeňský kraj</c:v>
                </c:pt>
                <c:pt idx="5">
                  <c:v>Klatovy</c:v>
                </c:pt>
                <c:pt idx="6">
                  <c:v>Plzeň-sever</c:v>
                </c:pt>
                <c:pt idx="7">
                  <c:v>Plzeň-jih</c:v>
                </c:pt>
                <c:pt idx="8">
                  <c:v>Domažlice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49.2252</c:v>
                </c:pt>
                <c:pt idx="1">
                  <c:v>146.47649999999999</c:v>
                </c:pt>
                <c:pt idx="2">
                  <c:v>145.11580000000001</c:v>
                </c:pt>
                <c:pt idx="3">
                  <c:v>141.5523</c:v>
                </c:pt>
                <c:pt idx="4">
                  <c:v>141.40899999999999</c:v>
                </c:pt>
                <c:pt idx="5">
                  <c:v>141.4076</c:v>
                </c:pt>
                <c:pt idx="6">
                  <c:v>137.22909999999999</c:v>
                </c:pt>
                <c:pt idx="7">
                  <c:v>136.577</c:v>
                </c:pt>
                <c:pt idx="8">
                  <c:v>118.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0E-4DB5-A083-7C86FE26AF5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CC99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lzeň-město</c:v>
                </c:pt>
                <c:pt idx="1">
                  <c:v>Rokycany</c:v>
                </c:pt>
                <c:pt idx="2">
                  <c:v>Tachov</c:v>
                </c:pt>
                <c:pt idx="3">
                  <c:v>Česká republika</c:v>
                </c:pt>
                <c:pt idx="4">
                  <c:v>Plzeňský kraj</c:v>
                </c:pt>
                <c:pt idx="5">
                  <c:v>Klatovy</c:v>
                </c:pt>
                <c:pt idx="6">
                  <c:v>Plzeň-sever</c:v>
                </c:pt>
                <c:pt idx="7">
                  <c:v>Plzeň-jih</c:v>
                </c:pt>
                <c:pt idx="8">
                  <c:v>Domažlice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3">
                  <c:v>141.5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0E-4DB5-A083-7C86FE26AF5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Plzeň-město</c:v>
                </c:pt>
                <c:pt idx="1">
                  <c:v>Rokycany</c:v>
                </c:pt>
                <c:pt idx="2">
                  <c:v>Tachov</c:v>
                </c:pt>
                <c:pt idx="3">
                  <c:v>Česká republika</c:v>
                </c:pt>
                <c:pt idx="4">
                  <c:v>Plzeňský kraj</c:v>
                </c:pt>
                <c:pt idx="5">
                  <c:v>Klatovy</c:v>
                </c:pt>
                <c:pt idx="6">
                  <c:v>Plzeň-sever</c:v>
                </c:pt>
                <c:pt idx="7">
                  <c:v>Plzeň-jih</c:v>
                </c:pt>
                <c:pt idx="8">
                  <c:v>Domažlice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4">
                  <c:v>141.40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0E-4DB5-A083-7C86FE26A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5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chemeClr val="accent6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íl</a:t>
            </a:r>
            <a:r>
              <a:rPr lang="cs-CZ" sz="140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slovených osob v jednotlivých krajích</a:t>
            </a:r>
            <a:endParaRPr lang="en-US" sz="1400" dirty="0">
              <a:solidFill>
                <a:schemeClr val="accent6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4370324074074073"/>
          <c:y val="2.45042696501004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chemeClr val="accent6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4832777777777778"/>
          <c:y val="0.10215963945420746"/>
          <c:w val="0.83483240740740727"/>
          <c:h val="0.529239125264180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ařazení pacienti podle věku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F0-4FAA-9B77-2AFEEB415B5B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F0-4FAA-9B77-2AFEEB415B5B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F0-4FAA-9B77-2AFEEB415B5B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AF0-4FAA-9B77-2AFEEB415B5B}"/>
              </c:ext>
            </c:extLst>
          </c:dPt>
          <c:dPt>
            <c:idx val="12"/>
            <c:invertIfNegative val="0"/>
            <c:bubble3D val="0"/>
            <c:spPr>
              <a:solidFill>
                <a:srgbClr val="DA2B47"/>
              </a:solidFill>
              <a:ln>
                <a:solidFill>
                  <a:srgbClr val="DA2B47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EAF0-4FAA-9B77-2AFEEB415B5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C4555B49-2380-4DD9-963C-E30927EA587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EAF0-4FAA-9B77-2AFEEB415B5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B419890-3E1A-409D-8B08-0E9421119C2B}" type="CELLRANGE">
                      <a:rPr lang="en-GB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AF0-4FAA-9B77-2AFEEB415B5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FB17A8E-0330-4CA3-AF92-DCAEE2FF035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AF0-4FAA-9B77-2AFEEB415B5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E8499FD-0567-4EBD-A408-CC8F28BEF33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AF0-4FAA-9B77-2AFEEB415B5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579A13D-F8E6-4241-BFB2-CD1CC4F1D15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AF0-4FAA-9B77-2AFEEB415B5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1966FEB-FBBD-420C-8C6F-C5212DE4221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AF0-4FAA-9B77-2AFEEB415B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6C1AEC7-E77D-4DA8-BCBE-F2C2AE9B732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AF0-4FAA-9B77-2AFEEB415B5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FB65BFA-75B9-4396-9CCF-4F4A86CAFB8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AF0-4FAA-9B77-2AFEEB415B5B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24113F78-16FC-4CC8-8321-5B6AC5FFD846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AF0-4FAA-9B77-2AFEEB415B5B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06F3D37-74F9-44BD-8499-31C200185704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AF0-4FAA-9B77-2AFEEB415B5B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28AB65D-F2A5-41DA-B049-A8A81189453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AF0-4FAA-9B77-2AFEEB415B5B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52F09C2-8AA2-447C-BB31-A4F29AD8A2C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EAF0-4FAA-9B77-2AFEEB415B5B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33F0FE7-58EE-43A1-9F96-4793F64B3B5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AF0-4FAA-9B77-2AFEEB415B5B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7BD32F17-1988-4414-B112-501B099E730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EAF0-4FAA-9B77-2AFEEB415B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6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Úst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Královéhradecký kraj</c:v>
                </c:pt>
                <c:pt idx="4">
                  <c:v>Středočeský kraj</c:v>
                </c:pt>
                <c:pt idx="5">
                  <c:v>Moravskoslezský kraj</c:v>
                </c:pt>
                <c:pt idx="6">
                  <c:v>Karlovarský kraj</c:v>
                </c:pt>
                <c:pt idx="7">
                  <c:v>Kraj Vysočina</c:v>
                </c:pt>
                <c:pt idx="8">
                  <c:v>Jihomoravs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Zlínský kraj</c:v>
                </c:pt>
              </c:strCache>
            </c:strRef>
          </c:cat>
          <c:val>
            <c:numRef>
              <c:f>List1!$B$2:$B$15</c:f>
              <c:numCache>
                <c:formatCode>0.0%</c:formatCode>
                <c:ptCount val="14"/>
                <c:pt idx="0">
                  <c:v>1.8418059552075306E-2</c:v>
                </c:pt>
                <c:pt idx="1">
                  <c:v>1.6969536021852118E-2</c:v>
                </c:pt>
                <c:pt idx="2">
                  <c:v>1.530566482580116E-2</c:v>
                </c:pt>
                <c:pt idx="3">
                  <c:v>1.473566484297071E-2</c:v>
                </c:pt>
                <c:pt idx="4">
                  <c:v>1.3668954411257237E-2</c:v>
                </c:pt>
                <c:pt idx="5">
                  <c:v>1.2969193529899604E-2</c:v>
                </c:pt>
                <c:pt idx="6">
                  <c:v>1.2561261300104917E-2</c:v>
                </c:pt>
                <c:pt idx="7">
                  <c:v>1.1911423774882085E-2</c:v>
                </c:pt>
                <c:pt idx="8">
                  <c:v>1.1708641383840913E-2</c:v>
                </c:pt>
                <c:pt idx="9">
                  <c:v>1.0880252220335264E-2</c:v>
                </c:pt>
                <c:pt idx="10">
                  <c:v>1.0067405328781786E-2</c:v>
                </c:pt>
                <c:pt idx="11">
                  <c:v>7.9931805514573285E-3</c:v>
                </c:pt>
                <c:pt idx="12">
                  <c:v>7.7963520324908437E-3</c:v>
                </c:pt>
                <c:pt idx="13">
                  <c:v>6.5131265081483222E-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C$2:$C$16</c15:f>
                <c15:dlblRangeCache>
                  <c:ptCount val="15"/>
                </c15:dlblRangeCache>
              </c15:datalabelsRange>
            </c:ext>
            <c:ext xmlns:c16="http://schemas.microsoft.com/office/drawing/2014/chart" uri="{C3380CC4-5D6E-409C-BE32-E72D297353CC}">
              <c16:uniqueId val="{00000012-EAF0-4FAA-9B77-2AFEEB415B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721060200"/>
        <c:axId val="721057848"/>
      </c:bar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  <c:max val="2.0000000000000004E-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1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díl</a:t>
                </a:r>
                <a:r>
                  <a:rPr lang="cs-CZ" sz="1100" b="1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sob v rámci kraje bydliště</a:t>
                </a:r>
                <a:endParaRPr lang="cs-CZ" sz="1100" b="1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3.3960396361456986E-2"/>
              <c:y val="6.069419810220204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  <c:majorUnit val="2.0000000000000005E-3"/>
        <c:minorUnit val="1.0000000000000002E-3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chemeClr val="accent6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i="0" u="none" strike="noStrike" kern="1200" spc="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al mezi oslovením u praktického lékaře a návštěvou pneumologa</a:t>
            </a:r>
            <a:endParaRPr lang="en-US" sz="1400" b="1" i="0" u="none" strike="noStrike" kern="1200" spc="0" baseline="0" dirty="0">
              <a:solidFill>
                <a:schemeClr val="accent6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7.9149429636220583E-2"/>
          <c:y val="2.31436239543797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chemeClr val="accent6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8399661514189"/>
          <c:y val="0.1688928737228296"/>
          <c:w val="0.69548031709262337"/>
          <c:h val="0.440810637319822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edián čekací doby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941-4D28-912C-0B43AC76816E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941-4D28-912C-0B43AC76816E}"/>
              </c:ext>
            </c:extLst>
          </c:dPt>
          <c:dPt>
            <c:idx val="3"/>
            <c:invertIfNegative val="0"/>
            <c:bubble3D val="0"/>
            <c:spPr>
              <a:solidFill>
                <a:srgbClr val="DA2B47">
                  <a:lumMod val="60000"/>
                  <a:lumOff val="40000"/>
                </a:srgbClr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941-4D28-912C-0B43AC76816E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941-4D28-912C-0B43AC76816E}"/>
              </c:ext>
            </c:extLst>
          </c:dPt>
          <c:cat>
            <c:strRef>
              <c:f>List1!$A$2:$A$15</c:f>
              <c:strCache>
                <c:ptCount val="14"/>
                <c:pt idx="0">
                  <c:v>Olomoucký kraj</c:v>
                </c:pt>
                <c:pt idx="1">
                  <c:v>Ústecký kraj</c:v>
                </c:pt>
                <c:pt idx="2">
                  <c:v>Moravskoslezs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álovéhradecký kraj</c:v>
                </c:pt>
                <c:pt idx="6">
                  <c:v>Liberecký kraj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Středočeský kraj</c:v>
                </c:pt>
                <c:pt idx="13">
                  <c:v>Pardubický kraj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41</c:v>
                </c:pt>
                <c:pt idx="1">
                  <c:v>52</c:v>
                </c:pt>
                <c:pt idx="2">
                  <c:v>55</c:v>
                </c:pt>
                <c:pt idx="3">
                  <c:v>55</c:v>
                </c:pt>
                <c:pt idx="4">
                  <c:v>57</c:v>
                </c:pt>
                <c:pt idx="5">
                  <c:v>57</c:v>
                </c:pt>
                <c:pt idx="6">
                  <c:v>62</c:v>
                </c:pt>
                <c:pt idx="7">
                  <c:v>64</c:v>
                </c:pt>
                <c:pt idx="8">
                  <c:v>65</c:v>
                </c:pt>
                <c:pt idx="9">
                  <c:v>68</c:v>
                </c:pt>
                <c:pt idx="10">
                  <c:v>68</c:v>
                </c:pt>
                <c:pt idx="11">
                  <c:v>71</c:v>
                </c:pt>
                <c:pt idx="12">
                  <c:v>76</c:v>
                </c:pt>
                <c:pt idx="13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941-4D28-912C-0B43AC768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axId val="721060200"/>
        <c:axId val="721057848"/>
      </c:barChart>
      <c:lineChart>
        <c:grouping val="stack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Počet vyšetřených osob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A2B47"/>
              </a:solidFill>
              <a:ln w="9525">
                <a:solidFill>
                  <a:srgbClr val="DA2B47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2722429827959623E-2"/>
                  <c:y val="-2.66885958786226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33-4F47-A2B2-B959FF1AB47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01E-483F-957F-CA8FFB328052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E36-458C-B7C6-365B77325727}"/>
                </c:ext>
              </c:extLst>
            </c:dLbl>
            <c:dLbl>
              <c:idx val="10"/>
              <c:layout>
                <c:manualLayout>
                  <c:x val="-2.5139861219143852E-2"/>
                  <c:y val="-3.2552554933077057E-2"/>
                </c:manualLayout>
              </c:layout>
              <c:tx>
                <c:rich>
                  <a:bodyPr/>
                  <a:lstStyle/>
                  <a:p>
                    <a:fld id="{9772619A-78C2-4972-A045-9A551B3046BB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HODNOTA]</a:t>
                    </a:fld>
                    <a:endParaRPr lang="cs-CZ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658-46CE-AC94-DF6CFB3C9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Olomoucký kraj</c:v>
                </c:pt>
                <c:pt idx="1">
                  <c:v>Ústecký kraj</c:v>
                </c:pt>
                <c:pt idx="2">
                  <c:v>Moravskoslezs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álovéhradecký kraj</c:v>
                </c:pt>
                <c:pt idx="6">
                  <c:v>Liberecký kraj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Středočeský kraj</c:v>
                </c:pt>
                <c:pt idx="13">
                  <c:v>Pardubický kraj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200</c:v>
                </c:pt>
                <c:pt idx="1">
                  <c:v>507</c:v>
                </c:pt>
                <c:pt idx="2">
                  <c:v>602</c:v>
                </c:pt>
                <c:pt idx="3">
                  <c:v>144</c:v>
                </c:pt>
                <c:pt idx="4">
                  <c:v>130</c:v>
                </c:pt>
                <c:pt idx="5">
                  <c:v>244</c:v>
                </c:pt>
                <c:pt idx="6">
                  <c:v>193</c:v>
                </c:pt>
                <c:pt idx="7">
                  <c:v>1127</c:v>
                </c:pt>
                <c:pt idx="8">
                  <c:v>530</c:v>
                </c:pt>
                <c:pt idx="9">
                  <c:v>171</c:v>
                </c:pt>
                <c:pt idx="10">
                  <c:v>263</c:v>
                </c:pt>
                <c:pt idx="11">
                  <c:v>186</c:v>
                </c:pt>
                <c:pt idx="12">
                  <c:v>536</c:v>
                </c:pt>
                <c:pt idx="13">
                  <c:v>1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658-46CE-AC94-DF6CFB3C99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0883023"/>
        <c:axId val="1776381167"/>
      </c:line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i="0" u="none" strike="noStrike" kern="120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dián rozdílu doby mezi vyšetřeními (dny)</a:t>
                </a:r>
              </a:p>
            </c:rich>
          </c:tx>
          <c:layout>
            <c:manualLayout>
              <c:xMode val="edge"/>
              <c:yMode val="edge"/>
              <c:x val="3.4545615461729982E-2"/>
              <c:y val="7.065411261742085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</c:valAx>
      <c:valAx>
        <c:axId val="1776381167"/>
        <c:scaling>
          <c:orientation val="minMax"/>
        </c:scaling>
        <c:delete val="0"/>
        <c:axPos val="r"/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čet</a:t>
                </a:r>
                <a:r>
                  <a:rPr lang="cs-CZ" sz="1100" b="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vyšetřených osob</a:t>
                </a:r>
                <a:endParaRPr lang="cs-CZ" sz="1100" b="0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85755372260299989"/>
              <c:y val="0.216242313742802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760883023"/>
        <c:crosses val="max"/>
        <c:crossBetween val="between"/>
      </c:valAx>
      <c:catAx>
        <c:axId val="176088302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7638116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chemeClr val="accent6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i="0" u="none" strike="noStrike" kern="1200" spc="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al mezi vyšetřením u pneumologa a následným LDCT</a:t>
            </a:r>
            <a:endParaRPr lang="en-US" sz="1400" b="1" i="0" u="none" strike="noStrike" kern="1200" spc="0" baseline="0" dirty="0">
              <a:solidFill>
                <a:schemeClr val="accent6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2632165153752881"/>
          <c:y val="2.31436239543797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chemeClr val="accent6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8399661514189"/>
          <c:y val="0.1688928737228296"/>
          <c:w val="0.69548031709262337"/>
          <c:h val="0.440810637319822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edián čekací doby</c:v>
                </c:pt>
              </c:strCache>
            </c:strRef>
          </c:tx>
          <c:spPr>
            <a:solidFill>
              <a:srgbClr val="2C2F7A"/>
            </a:solidFill>
            <a:ln>
              <a:solidFill>
                <a:srgbClr val="2C2F7A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941-4D28-912C-0B43AC76816E}"/>
              </c:ext>
            </c:extLst>
          </c:dPt>
          <c:dPt>
            <c:idx val="2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941-4D28-912C-0B43AC76816E}"/>
              </c:ext>
            </c:extLst>
          </c:dPt>
          <c:dPt>
            <c:idx val="3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941-4D28-912C-0B43AC76816E}"/>
              </c:ext>
            </c:extLst>
          </c:dPt>
          <c:dPt>
            <c:idx val="8"/>
            <c:invertIfNegative val="0"/>
            <c:bubble3D val="0"/>
            <c:spPr>
              <a:solidFill>
                <a:srgbClr val="2C2F7A"/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941-4D28-912C-0B43AC76816E}"/>
              </c:ext>
            </c:extLst>
          </c:dPt>
          <c:dPt>
            <c:idx val="9"/>
            <c:invertIfNegative val="0"/>
            <c:bubble3D val="0"/>
            <c:spPr>
              <a:solidFill>
                <a:srgbClr val="DA2B47">
                  <a:lumMod val="60000"/>
                  <a:lumOff val="40000"/>
                </a:srgbClr>
              </a:solidFill>
              <a:ln>
                <a:solidFill>
                  <a:srgbClr val="2C2F7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223-404C-A81A-AF1545DF4C95}"/>
              </c:ext>
            </c:extLst>
          </c:dPt>
          <c:cat>
            <c:strRef>
              <c:f>List1!$A$2:$A$15</c:f>
              <c:strCache>
                <c:ptCount val="14"/>
                <c:pt idx="0">
                  <c:v>Kraj Vysočina</c:v>
                </c:pt>
                <c:pt idx="1">
                  <c:v>Jihomoravský kraj</c:v>
                </c:pt>
                <c:pt idx="2">
                  <c:v>Královéhradecký kraj</c:v>
                </c:pt>
                <c:pt idx="3">
                  <c:v>Jihočeský kraj</c:v>
                </c:pt>
                <c:pt idx="4">
                  <c:v>Hlavní město Praha</c:v>
                </c:pt>
                <c:pt idx="5">
                  <c:v>Olomoucký kraj</c:v>
                </c:pt>
                <c:pt idx="6">
                  <c:v>Středoče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*</c:v>
                </c:pt>
              </c:strCache>
            </c:strRef>
          </c:cat>
          <c:val>
            <c:numRef>
              <c:f>List1!$B$2:$B$15</c:f>
              <c:numCache>
                <c:formatCode>General</c:formatCode>
                <c:ptCount val="14"/>
                <c:pt idx="0">
                  <c:v>38</c:v>
                </c:pt>
                <c:pt idx="1">
                  <c:v>39</c:v>
                </c:pt>
                <c:pt idx="2">
                  <c:v>42</c:v>
                </c:pt>
                <c:pt idx="3">
                  <c:v>49</c:v>
                </c:pt>
                <c:pt idx="4">
                  <c:v>49</c:v>
                </c:pt>
                <c:pt idx="5">
                  <c:v>58</c:v>
                </c:pt>
                <c:pt idx="6">
                  <c:v>78</c:v>
                </c:pt>
                <c:pt idx="7">
                  <c:v>83</c:v>
                </c:pt>
                <c:pt idx="8">
                  <c:v>99</c:v>
                </c:pt>
                <c:pt idx="9">
                  <c:v>100</c:v>
                </c:pt>
                <c:pt idx="10">
                  <c:v>111</c:v>
                </c:pt>
                <c:pt idx="11">
                  <c:v>205</c:v>
                </c:pt>
                <c:pt idx="12">
                  <c:v>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941-4D28-912C-0B43AC768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axId val="721060200"/>
        <c:axId val="721057848"/>
      </c:barChart>
      <c:lineChart>
        <c:grouping val="stack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Počet vyšetřených osob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A2B47"/>
              </a:solidFill>
              <a:ln w="9525">
                <a:solidFill>
                  <a:srgbClr val="DA2B47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570285137701774E-2"/>
                  <c:y val="-2.0547255589891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13B-4082-B9D8-65F1C767CB71}"/>
                </c:ext>
              </c:extLst>
            </c:dLbl>
            <c:dLbl>
              <c:idx val="1"/>
              <c:layout>
                <c:manualLayout>
                  <c:x val="-2.2722429827959623E-2"/>
                  <c:y val="-2.66885958786226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33-4F47-A2B2-B959FF1AB47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13B-4082-B9D8-65F1C767CB71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13B-4082-B9D8-65F1C767CB71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13B-4082-B9D8-65F1C767CB71}"/>
                </c:ext>
              </c:extLst>
            </c:dLbl>
            <c:dLbl>
              <c:idx val="5"/>
              <c:layout>
                <c:manualLayout>
                  <c:x val="-2.4570285137701833E-2"/>
                  <c:y val="-2.92261145727837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3B-4082-B9D8-65F1C767CB71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13B-4082-B9D8-65F1C767CB71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0223-404C-A81A-AF1545DF4C95}"/>
                </c:ext>
              </c:extLst>
            </c:dLbl>
            <c:dLbl>
              <c:idx val="10"/>
              <c:layout>
                <c:manualLayout>
                  <c:x val="-2.1886651768382909E-2"/>
                  <c:y val="-3.2552597671991285E-2"/>
                </c:manualLayout>
              </c:layout>
              <c:tx>
                <c:rich>
                  <a:bodyPr/>
                  <a:lstStyle/>
                  <a:p>
                    <a:fld id="{9772619A-78C2-4972-A045-9A551B3046BB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HODNOTA]</a:t>
                    </a:fld>
                    <a:endParaRPr lang="cs-CZ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658-46CE-AC94-DF6CFB3C9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5</c:f>
              <c:strCache>
                <c:ptCount val="14"/>
                <c:pt idx="0">
                  <c:v>Kraj Vysočina</c:v>
                </c:pt>
                <c:pt idx="1">
                  <c:v>Jihomoravský kraj</c:v>
                </c:pt>
                <c:pt idx="2">
                  <c:v>Královéhradecký kraj</c:v>
                </c:pt>
                <c:pt idx="3">
                  <c:v>Jihočeský kraj</c:v>
                </c:pt>
                <c:pt idx="4">
                  <c:v>Hlavní město Praha</c:v>
                </c:pt>
                <c:pt idx="5">
                  <c:v>Olomoucký kraj</c:v>
                </c:pt>
                <c:pt idx="6">
                  <c:v>Středoče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*</c:v>
                </c:pt>
              </c:strCache>
            </c:strRef>
          </c:cat>
          <c:val>
            <c:numRef>
              <c:f>List1!$C$2:$C$15</c:f>
              <c:numCache>
                <c:formatCode>General</c:formatCode>
                <c:ptCount val="14"/>
                <c:pt idx="0">
                  <c:v>168</c:v>
                </c:pt>
                <c:pt idx="1">
                  <c:v>611</c:v>
                </c:pt>
                <c:pt idx="2">
                  <c:v>377</c:v>
                </c:pt>
                <c:pt idx="3">
                  <c:v>337</c:v>
                </c:pt>
                <c:pt idx="4">
                  <c:v>1893</c:v>
                </c:pt>
                <c:pt idx="5">
                  <c:v>259</c:v>
                </c:pt>
                <c:pt idx="6">
                  <c:v>621</c:v>
                </c:pt>
                <c:pt idx="7">
                  <c:v>172</c:v>
                </c:pt>
                <c:pt idx="8">
                  <c:v>214</c:v>
                </c:pt>
                <c:pt idx="9">
                  <c:v>210</c:v>
                </c:pt>
                <c:pt idx="10">
                  <c:v>400</c:v>
                </c:pt>
                <c:pt idx="11">
                  <c:v>418</c:v>
                </c:pt>
                <c:pt idx="12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658-46CE-AC94-DF6CFB3C99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0883023"/>
        <c:axId val="1776381167"/>
      </c:lineChart>
      <c:catAx>
        <c:axId val="721060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57848"/>
        <c:crosses val="autoZero"/>
        <c:auto val="1"/>
        <c:lblAlgn val="ctr"/>
        <c:lblOffset val="100"/>
        <c:noMultiLvlLbl val="0"/>
      </c:catAx>
      <c:valAx>
        <c:axId val="721057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i="0" u="none" strike="noStrike" kern="120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dián rozdílu doby mezi vyšetřeními (dny)</a:t>
                </a:r>
              </a:p>
            </c:rich>
          </c:tx>
          <c:layout>
            <c:manualLayout>
              <c:xMode val="edge"/>
              <c:yMode val="edge"/>
              <c:x val="3.4545615461729982E-2"/>
              <c:y val="7.065411261742085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accent6">
                <a:lumMod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1060200"/>
        <c:crosses val="autoZero"/>
        <c:crossBetween val="between"/>
      </c:valAx>
      <c:valAx>
        <c:axId val="1776381167"/>
        <c:scaling>
          <c:orientation val="minMax"/>
        </c:scaling>
        <c:delete val="0"/>
        <c:axPos val="r"/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čet</a:t>
                </a:r>
                <a:r>
                  <a:rPr lang="cs-CZ" sz="1100" b="0" baseline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vyšetřených osob</a:t>
                </a:r>
                <a:endParaRPr lang="cs-CZ" sz="1100" b="0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85755372260299989"/>
              <c:y val="0.216242313742802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760883023"/>
        <c:crosses val="max"/>
        <c:crossBetween val="between"/>
      </c:valAx>
      <c:catAx>
        <c:axId val="176088302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7638116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Výsledek LDCT </a:t>
            </a:r>
            <a:r>
              <a:rPr lang="cs-CZ" sz="1400" b="1" dirty="0">
                <a:solidFill>
                  <a:srgbClr val="C00000"/>
                </a:solidFill>
                <a:latin typeface="Arial (Základní text)"/>
              </a:rPr>
              <a:t>v</a:t>
            </a:r>
            <a:r>
              <a:rPr lang="cs-CZ" sz="1400" b="1" baseline="0" dirty="0">
                <a:solidFill>
                  <a:srgbClr val="C00000"/>
                </a:solidFill>
                <a:latin typeface="Arial (Základní text)"/>
              </a:rPr>
              <a:t> Plzeňském kraji </a:t>
            </a:r>
            <a:r>
              <a:rPr lang="cs-CZ" sz="1400" b="1" baseline="0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(N = 326)</a:t>
            </a:r>
            <a:endParaRPr lang="cs-CZ" sz="1400" b="1" dirty="0">
              <a:solidFill>
                <a:schemeClr val="bg2">
                  <a:lumMod val="10000"/>
                </a:schemeClr>
              </a:solidFill>
              <a:latin typeface="Arial (Základní text)"/>
            </a:endParaRPr>
          </a:p>
        </c:rich>
      </c:tx>
      <c:layout>
        <c:manualLayout>
          <c:xMode val="edge"/>
          <c:yMode val="edge"/>
          <c:x val="0.13376908013016486"/>
          <c:y val="2.520212254815010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accent6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7687871741167863"/>
          <c:y val="0.20171268153388522"/>
          <c:w val="0.45735501577170767"/>
          <c:h val="0.65833161381636307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Výsledek CT vstupního vyšetření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9B-4377-BB78-D4A3B2A87822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9B-4377-BB78-D4A3B2A87822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9B-4377-BB78-D4A3B2A87822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E9B-4377-BB78-D4A3B2A87822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E9B-4377-BB78-D4A3B2A87822}"/>
              </c:ext>
            </c:extLst>
          </c:dPt>
          <c:dLbls>
            <c:dLbl>
              <c:idx val="0"/>
              <c:layout>
                <c:manualLayout>
                  <c:x val="0.1509430423633201"/>
                  <c:y val="-2.2739232575194918E-2"/>
                </c:manualLayout>
              </c:layout>
              <c:tx>
                <c:rich>
                  <a:bodyPr/>
                  <a:lstStyle/>
                  <a:p>
                    <a:fld id="{D5841C55-CB2C-4B3E-8412-7917087E23DF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E9B-4377-BB78-D4A3B2A8782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2A49D2D-B4E7-4065-B37A-B612B017C45D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E9B-4377-BB78-D4A3B2A87822}"/>
                </c:ext>
              </c:extLst>
            </c:dLbl>
            <c:dLbl>
              <c:idx val="2"/>
              <c:layout>
                <c:manualLayout>
                  <c:x val="-9.1483383904574472E-2"/>
                  <c:y val="-3.5997424087504783E-3"/>
                </c:manualLayout>
              </c:layout>
              <c:tx>
                <c:rich>
                  <a:bodyPr/>
                  <a:lstStyle/>
                  <a:p>
                    <a:fld id="{F78D6D12-C656-410C-BE7E-DE3897CC3F55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E9B-4377-BB78-D4A3B2A8782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accent6">
                      <a:lumMod val="2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Neurčitý (N = 34)</c:v>
                </c:pt>
                <c:pt idx="1">
                  <c:v>Negativní (N = 282)</c:v>
                </c:pt>
                <c:pt idx="2">
                  <c:v>Pozitivní (N = 10)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34</c:v>
                </c:pt>
                <c:pt idx="1">
                  <c:v>282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E9B-4377-BB78-D4A3B2A878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350346259461811"/>
          <c:y val="0.89010580512343107"/>
          <c:w val="0.76764417666065876"/>
          <c:h val="7.64979542170412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31750">
      <a:solidFill>
        <a:srgbClr val="DA2B47"/>
      </a:solidFill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Výsledek LDCT</a:t>
            </a:r>
            <a:r>
              <a:rPr lang="cs-CZ" sz="1400" b="1" baseline="0" dirty="0">
                <a:solidFill>
                  <a:schemeClr val="bg2">
                    <a:lumMod val="10000"/>
                  </a:schemeClr>
                </a:solidFill>
                <a:latin typeface="Arial (Základní text)"/>
              </a:rPr>
              <a:t>  (N = 13 274)</a:t>
            </a:r>
            <a:endParaRPr lang="cs-CZ" sz="1400" b="1" dirty="0">
              <a:solidFill>
                <a:schemeClr val="bg2">
                  <a:lumMod val="10000"/>
                </a:schemeClr>
              </a:solidFill>
              <a:latin typeface="Arial (Základní text)"/>
            </a:endParaRPr>
          </a:p>
        </c:rich>
      </c:tx>
      <c:layout>
        <c:manualLayout>
          <c:xMode val="edge"/>
          <c:yMode val="edge"/>
          <c:x val="0.2484508668251674"/>
          <c:y val="2.520212254815010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accent6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2394861500705379"/>
          <c:y val="0.19247871450800788"/>
          <c:w val="0.45735501577170767"/>
          <c:h val="0.65833161381636307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Výsledek CT vstupního vyšetření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rgbClr val="E7E6E6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14-430C-B907-09654765C665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14-430C-B907-09654765C665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14-430C-B907-09654765C665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114-430C-B907-09654765C665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114-430C-B907-09654765C665}"/>
              </c:ext>
            </c:extLst>
          </c:dPt>
          <c:dLbls>
            <c:dLbl>
              <c:idx val="0"/>
              <c:layout>
                <c:manualLayout>
                  <c:x val="0.1509430423633201"/>
                  <c:y val="-2.2739232575194918E-2"/>
                </c:manualLayout>
              </c:layout>
              <c:tx>
                <c:rich>
                  <a:bodyPr/>
                  <a:lstStyle/>
                  <a:p>
                    <a:fld id="{D5841C55-CB2C-4B3E-8412-7917087E23DF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14-430C-B907-09654765C66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2A49D2D-B4E7-4065-B37A-B612B017C45D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114-430C-B907-09654765C665}"/>
                </c:ext>
              </c:extLst>
            </c:dLbl>
            <c:dLbl>
              <c:idx val="2"/>
              <c:layout>
                <c:manualLayout>
                  <c:x val="-9.1483383904574472E-2"/>
                  <c:y val="-3.5997424087504783E-3"/>
                </c:manualLayout>
              </c:layout>
              <c:tx>
                <c:rich>
                  <a:bodyPr/>
                  <a:lstStyle/>
                  <a:p>
                    <a:fld id="{F78D6D12-C656-410C-BE7E-DE3897CC3F55}" type="PERCENTAGE">
                      <a:rPr lang="en-US" sz="1100"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/>
                      <a:t>[PROCENTO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114-430C-B907-09654765C66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accent6">
                      <a:lumMod val="2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Neurčitý (N = 949)</c:v>
                </c:pt>
                <c:pt idx="1">
                  <c:v>Negativní (N = 11 839)</c:v>
                </c:pt>
                <c:pt idx="2">
                  <c:v>Pozitivní (N = 486)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949</c:v>
                </c:pt>
                <c:pt idx="1">
                  <c:v>11839</c:v>
                </c:pt>
                <c:pt idx="2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114-430C-B907-09654765C6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2627596945963592E-2"/>
          <c:y val="0.8776080715677298"/>
          <c:w val="0.76764417666065876"/>
          <c:h val="7.64979542170412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>
              <a:lumMod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614564831261103E-2"/>
          <c:y val="5.4888507718696397E-2"/>
          <c:w val="0.88987566607460034"/>
          <c:h val="0.93825042881646659"/>
        </c:manualLayout>
      </c:layout>
      <c:barChart>
        <c:barDir val="bar"/>
        <c:grouping val="cluster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32</c:v>
                </c:pt>
              </c:strCache>
            </c:strRef>
          </c:tx>
          <c:spPr>
            <a:solidFill>
              <a:srgbClr val="C00000"/>
            </a:solidFill>
            <a:ln w="24393"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>
                    <a:latin typeface="+mn-lt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ZN močového měchýře (C67)</c:v>
                </c:pt>
                <c:pt idx="7">
                  <c:v>ZN jater a intrahepatálních žlučových cest (C22)</c:v>
                </c:pt>
                <c:pt idx="8">
                  <c:v>leukémie (C91–C95)</c:v>
                </c:pt>
                <c:pt idx="9">
                  <c:v>ZN žaludku (C16)</c:v>
                </c:pt>
                <c:pt idx="10">
                  <c:v>ZN hlavy a krku (C00–C14, C30–C31)</c:v>
                </c:pt>
                <c:pt idx="11">
                  <c:v>ZN mozku, míchy a jiných částí CNS (C70–C72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houbný melanom kůže (C43)</c:v>
                </c:pt>
                <c:pt idx="17">
                  <c:v>mnohočetný myelom (C90)</c:v>
                </c:pt>
                <c:pt idx="18">
                  <c:v>ZN dělohy (C54, C55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B$2:$B$28</c:f>
              <c:numCache>
                <c:formatCode>General</c:formatCode>
                <c:ptCount val="27"/>
                <c:pt idx="0">
                  <c:v>51.113079999999997</c:v>
                </c:pt>
                <c:pt idx="1">
                  <c:v>31.74747</c:v>
                </c:pt>
                <c:pt idx="2">
                  <c:v>22.46951</c:v>
                </c:pt>
                <c:pt idx="3">
                  <c:v>15.654439999999999</c:v>
                </c:pt>
                <c:pt idx="4">
                  <c:v>15.08089</c:v>
                </c:pt>
                <c:pt idx="5">
                  <c:v>11.538399999999999</c:v>
                </c:pt>
                <c:pt idx="6">
                  <c:v>9.4803809999999995</c:v>
                </c:pt>
                <c:pt idx="7">
                  <c:v>9.3791670000000007</c:v>
                </c:pt>
                <c:pt idx="8">
                  <c:v>8.2320740000000008</c:v>
                </c:pt>
                <c:pt idx="9">
                  <c:v>7.9621700000000004</c:v>
                </c:pt>
                <c:pt idx="10">
                  <c:v>7.2199340000000003</c:v>
                </c:pt>
                <c:pt idx="11">
                  <c:v>7.1524580000000002</c:v>
                </c:pt>
                <c:pt idx="12">
                  <c:v>6.342746</c:v>
                </c:pt>
                <c:pt idx="13">
                  <c:v>6.0728419999999996</c:v>
                </c:pt>
                <c:pt idx="14">
                  <c:v>5.7691999999999997</c:v>
                </c:pt>
                <c:pt idx="15">
                  <c:v>5.1956530000000001</c:v>
                </c:pt>
                <c:pt idx="16">
                  <c:v>4.0822989999999999</c:v>
                </c:pt>
                <c:pt idx="17">
                  <c:v>3.9810850000000002</c:v>
                </c:pt>
                <c:pt idx="18">
                  <c:v>3.7449189999999999</c:v>
                </c:pt>
                <c:pt idx="19">
                  <c:v>2.5978270000000001</c:v>
                </c:pt>
                <c:pt idx="20">
                  <c:v>2.4291369999999999</c:v>
                </c:pt>
                <c:pt idx="21">
                  <c:v>1.6869000000000001</c:v>
                </c:pt>
                <c:pt idx="22">
                  <c:v>1.5182100000000001</c:v>
                </c:pt>
                <c:pt idx="23">
                  <c:v>1.0796159999999999</c:v>
                </c:pt>
                <c:pt idx="24">
                  <c:v>0.70849799999999996</c:v>
                </c:pt>
                <c:pt idx="25">
                  <c:v>0.43859399999999998</c:v>
                </c:pt>
                <c:pt idx="26">
                  <c:v>24.96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B9-4BEA-80DF-8FBBD1F488BE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ČR</c:v>
                </c:pt>
              </c:strCache>
            </c:strRef>
          </c:tx>
          <c:spPr>
            <a:solidFill>
              <a:srgbClr val="858585"/>
            </a:solidFill>
            <a:ln w="24393">
              <a:noFill/>
            </a:ln>
          </c:spPr>
          <c:invertIfNegative val="0"/>
          <c:dLbls>
            <c:delete val="1"/>
          </c:dLbls>
          <c:cat>
            <c:strRef>
              <c:f>Sheet1!$A$2:$A$28</c:f>
              <c:strCache>
                <c:ptCount val="27"/>
                <c:pt idx="0">
                  <c:v>ZN průdušnice, průdušky a plíce (C33, C34)</c:v>
                </c:pt>
                <c:pt idx="1">
                  <c:v>ZN tlustého střeva a konečníku (C18–C20)</c:v>
                </c:pt>
                <c:pt idx="2">
                  <c:v>ZN slinivky břišní (C25)</c:v>
                </c:pt>
                <c:pt idx="3">
                  <c:v>ZN prsu (C50) u žen</c:v>
                </c:pt>
                <c:pt idx="4">
                  <c:v>ZN prostaty (C61)</c:v>
                </c:pt>
                <c:pt idx="5">
                  <c:v>ZN ledviny (C64)</c:v>
                </c:pt>
                <c:pt idx="6">
                  <c:v>ZN močového měchýře (C67)</c:v>
                </c:pt>
                <c:pt idx="7">
                  <c:v>ZN jater a intrahepatálních žlučových cest (C22)</c:v>
                </c:pt>
                <c:pt idx="8">
                  <c:v>leukémie (C91–C95)</c:v>
                </c:pt>
                <c:pt idx="9">
                  <c:v>ZN žaludku (C16)</c:v>
                </c:pt>
                <c:pt idx="10">
                  <c:v>ZN hlavy a krku (C00–C14, C30–C31)</c:v>
                </c:pt>
                <c:pt idx="11">
                  <c:v>ZN mozku, míchy a jiných částí CNS (C70–C72)</c:v>
                </c:pt>
                <c:pt idx="12">
                  <c:v>ZN žlučníku a žlučových cest (C23, C24)</c:v>
                </c:pt>
                <c:pt idx="13">
                  <c:v>ZN vaječníku (C56)</c:v>
                </c:pt>
                <c:pt idx="14">
                  <c:v>non-Hodgkinův lymfom (C82–C86)</c:v>
                </c:pt>
                <c:pt idx="15">
                  <c:v>ZN jícnu (C15)</c:v>
                </c:pt>
                <c:pt idx="16">
                  <c:v>zhoubný melanom kůže (C43)</c:v>
                </c:pt>
                <c:pt idx="17">
                  <c:v>mnohočetný myelom (C90)</c:v>
                </c:pt>
                <c:pt idx="18">
                  <c:v>ZN dělohy (C54, C55)</c:v>
                </c:pt>
                <c:pt idx="19">
                  <c:v>ZN hrdla děložního (C53)</c:v>
                </c:pt>
                <c:pt idx="20">
                  <c:v>nemelanomový kožní ZN (C44)</c:v>
                </c:pt>
                <c:pt idx="21">
                  <c:v>ZN hrtanu (C32)</c:v>
                </c:pt>
                <c:pt idx="22">
                  <c:v>ZN poj. a měk. tkání a perif. nervů (C47, C49)</c:v>
                </c:pt>
                <c:pt idx="23">
                  <c:v>ZN štítné žlázy (C73)</c:v>
                </c:pt>
                <c:pt idx="24">
                  <c:v>Hodgkinův lymfom (C81)</c:v>
                </c:pt>
                <c:pt idx="25">
                  <c:v>ZN varlete (C62)</c:v>
                </c:pt>
                <c:pt idx="26">
                  <c:v>ostatní zhoubné novotvary</c:v>
                </c:pt>
              </c:strCache>
            </c:strRef>
          </c:cat>
          <c:val>
            <c:numRef>
              <c:f>Sheet1!$C$2:$C$28</c:f>
              <c:numCache>
                <c:formatCode>General</c:formatCode>
                <c:ptCount val="27"/>
                <c:pt idx="0">
                  <c:v>47.518219999999999</c:v>
                </c:pt>
                <c:pt idx="1">
                  <c:v>30.502040000000001</c:v>
                </c:pt>
                <c:pt idx="2">
                  <c:v>21.821079999999998</c:v>
                </c:pt>
                <c:pt idx="3">
                  <c:v>16.100429999999999</c:v>
                </c:pt>
                <c:pt idx="4">
                  <c:v>13.8316</c:v>
                </c:pt>
                <c:pt idx="5">
                  <c:v>8.6959129999999991</c:v>
                </c:pt>
                <c:pt idx="6">
                  <c:v>8.5221070000000001</c:v>
                </c:pt>
                <c:pt idx="7">
                  <c:v>8.2791519999999998</c:v>
                </c:pt>
                <c:pt idx="8">
                  <c:v>8.6454529999999998</c:v>
                </c:pt>
                <c:pt idx="9">
                  <c:v>8.9612940000000005</c:v>
                </c:pt>
                <c:pt idx="10">
                  <c:v>8.1109519999999993</c:v>
                </c:pt>
                <c:pt idx="11">
                  <c:v>7.2026750000000002</c:v>
                </c:pt>
                <c:pt idx="12">
                  <c:v>6.1430189999999998</c:v>
                </c:pt>
                <c:pt idx="13">
                  <c:v>5.8253079999999997</c:v>
                </c:pt>
                <c:pt idx="14">
                  <c:v>5.5804850000000004</c:v>
                </c:pt>
                <c:pt idx="15">
                  <c:v>5.3730390000000003</c:v>
                </c:pt>
                <c:pt idx="16">
                  <c:v>3.9545569999999999</c:v>
                </c:pt>
                <c:pt idx="17">
                  <c:v>3.7415039999999999</c:v>
                </c:pt>
                <c:pt idx="18">
                  <c:v>3.9097029999999999</c:v>
                </c:pt>
                <c:pt idx="19">
                  <c:v>2.5585010000000001</c:v>
                </c:pt>
                <c:pt idx="20">
                  <c:v>1.867014</c:v>
                </c:pt>
                <c:pt idx="21">
                  <c:v>1.986623</c:v>
                </c:pt>
                <c:pt idx="22">
                  <c:v>1.302611</c:v>
                </c:pt>
                <c:pt idx="23">
                  <c:v>0.70830700000000002</c:v>
                </c:pt>
                <c:pt idx="24">
                  <c:v>0.50459799999999999</c:v>
                </c:pt>
                <c:pt idx="25">
                  <c:v>0.29154600000000003</c:v>
                </c:pt>
                <c:pt idx="26">
                  <c:v>26.1774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B9-4BEA-80DF-8FBBD1F488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01892000"/>
        <c:axId val="1"/>
      </c:barChart>
      <c:catAx>
        <c:axId val="2018920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3049">
            <a:solidFill>
              <a:schemeClr val="tx1"/>
            </a:solidFill>
            <a:prstDash val="solid"/>
          </a:ln>
        </c:spPr>
        <c:crossAx val="1"/>
        <c:crosses val="autoZero"/>
        <c:auto val="1"/>
        <c:lblAlgn val="ctr"/>
        <c:lblOffset val="100"/>
        <c:tickMarkSkip val="1"/>
        <c:noMultiLvlLbl val="0"/>
      </c:catAx>
      <c:valAx>
        <c:axId val="1"/>
        <c:scaling>
          <c:orientation val="minMax"/>
          <c:max val="60"/>
        </c:scaling>
        <c:delete val="0"/>
        <c:axPos val="t"/>
        <c:numFmt formatCode="#,##0" sourceLinked="0"/>
        <c:majorTickMark val="out"/>
        <c:minorTickMark val="none"/>
        <c:tickLblPos val="nextTo"/>
        <c:spPr>
          <a:ln w="30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201892000"/>
        <c:crosses val="autoZero"/>
        <c:crossBetween val="between"/>
      </c:valAx>
      <c:spPr>
        <a:noFill/>
        <a:ln w="2439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7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93321616871705"/>
          <c:y val="6.4837905236907731E-2"/>
          <c:w val="0.87873462214411246"/>
          <c:h val="0.80049875311720697"/>
        </c:manualLayout>
      </c:layout>
      <c:areaChart>
        <c:grouping val="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2:$AS$2</c:f>
              <c:numCache>
                <c:formatCode>General</c:formatCode>
                <c:ptCount val="44"/>
                <c:pt idx="0">
                  <c:v>16.05988</c:v>
                </c:pt>
                <c:pt idx="1">
                  <c:v>13.31085</c:v>
                </c:pt>
                <c:pt idx="2">
                  <c:v>19.404820000000001</c:v>
                </c:pt>
                <c:pt idx="3">
                  <c:v>20.611820000000002</c:v>
                </c:pt>
                <c:pt idx="4">
                  <c:v>23.036999999999999</c:v>
                </c:pt>
                <c:pt idx="5">
                  <c:v>22.718710000000002</c:v>
                </c:pt>
                <c:pt idx="6">
                  <c:v>19.227429999999998</c:v>
                </c:pt>
                <c:pt idx="7">
                  <c:v>20.50638</c:v>
                </c:pt>
                <c:pt idx="8">
                  <c:v>23.674620000000001</c:v>
                </c:pt>
                <c:pt idx="9">
                  <c:v>25.455860000000001</c:v>
                </c:pt>
                <c:pt idx="10">
                  <c:v>23.619720000000001</c:v>
                </c:pt>
                <c:pt idx="11">
                  <c:v>28.915990000000001</c:v>
                </c:pt>
                <c:pt idx="12">
                  <c:v>27.680800000000001</c:v>
                </c:pt>
                <c:pt idx="13">
                  <c:v>27.678080000000001</c:v>
                </c:pt>
                <c:pt idx="14">
                  <c:v>27.253699999999998</c:v>
                </c:pt>
                <c:pt idx="15">
                  <c:v>31.009499999999999</c:v>
                </c:pt>
                <c:pt idx="16">
                  <c:v>31.015429999999999</c:v>
                </c:pt>
                <c:pt idx="17">
                  <c:v>28.916779999999999</c:v>
                </c:pt>
                <c:pt idx="18">
                  <c:v>25.71472</c:v>
                </c:pt>
                <c:pt idx="19">
                  <c:v>29.158380000000001</c:v>
                </c:pt>
                <c:pt idx="20">
                  <c:v>28.044910000000002</c:v>
                </c:pt>
                <c:pt idx="21">
                  <c:v>29.329529999999998</c:v>
                </c:pt>
                <c:pt idx="22">
                  <c:v>26.603259999999999</c:v>
                </c:pt>
                <c:pt idx="23">
                  <c:v>29.91001</c:v>
                </c:pt>
                <c:pt idx="24">
                  <c:v>28.842759999999998</c:v>
                </c:pt>
                <c:pt idx="25">
                  <c:v>29.866150000000001</c:v>
                </c:pt>
                <c:pt idx="26">
                  <c:v>25.952390000000001</c:v>
                </c:pt>
                <c:pt idx="27">
                  <c:v>24.29345</c:v>
                </c:pt>
                <c:pt idx="28">
                  <c:v>25.58098</c:v>
                </c:pt>
                <c:pt idx="29">
                  <c:v>24.855650000000001</c:v>
                </c:pt>
                <c:pt idx="30">
                  <c:v>23.476739999999999</c:v>
                </c:pt>
                <c:pt idx="31">
                  <c:v>25.633369999999999</c:v>
                </c:pt>
                <c:pt idx="32">
                  <c:v>24.602450000000001</c:v>
                </c:pt>
                <c:pt idx="33">
                  <c:v>26.832070000000002</c:v>
                </c:pt>
                <c:pt idx="34">
                  <c:v>20.052070000000001</c:v>
                </c:pt>
                <c:pt idx="35">
                  <c:v>25.682839999999999</c:v>
                </c:pt>
                <c:pt idx="36">
                  <c:v>24.556750000000001</c:v>
                </c:pt>
                <c:pt idx="37">
                  <c:v>25.666080000000001</c:v>
                </c:pt>
                <c:pt idx="38">
                  <c:v>23.031130000000001</c:v>
                </c:pt>
                <c:pt idx="39">
                  <c:v>26.5486</c:v>
                </c:pt>
                <c:pt idx="40">
                  <c:v>28.110510000000001</c:v>
                </c:pt>
                <c:pt idx="41">
                  <c:v>29.579650000000001</c:v>
                </c:pt>
                <c:pt idx="42">
                  <c:v>23.317830000000001</c:v>
                </c:pt>
                <c:pt idx="43">
                  <c:v>25.3453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E1-4AE8-A1BD-69513B5D8FA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hranice max</c:v>
                </c:pt>
              </c:strCache>
            </c:strRef>
          </c:tx>
          <c:spPr>
            <a:solidFill>
              <a:srgbClr val="C8C8C8"/>
            </a:solidFill>
            <a:ln w="25401">
              <a:noFill/>
            </a:ln>
          </c:spP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3:$AS$3</c:f>
              <c:numCache>
                <c:formatCode>General</c:formatCode>
                <c:ptCount val="44"/>
                <c:pt idx="0">
                  <c:v>16.670500000000001</c:v>
                </c:pt>
                <c:pt idx="1">
                  <c:v>25.991219999999998</c:v>
                </c:pt>
                <c:pt idx="2">
                  <c:v>19.494800000000001</c:v>
                </c:pt>
                <c:pt idx="3">
                  <c:v>25.262419999999999</c:v>
                </c:pt>
                <c:pt idx="4">
                  <c:v>16.745709999999999</c:v>
                </c:pt>
                <c:pt idx="5">
                  <c:v>19.493919999999999</c:v>
                </c:pt>
                <c:pt idx="6">
                  <c:v>26.073779999999999</c:v>
                </c:pt>
                <c:pt idx="7">
                  <c:v>29.710129999999999</c:v>
                </c:pt>
                <c:pt idx="8">
                  <c:v>23.08043</c:v>
                </c:pt>
                <c:pt idx="9">
                  <c:v>27.062049999999999</c:v>
                </c:pt>
                <c:pt idx="10">
                  <c:v>34.769359999999999</c:v>
                </c:pt>
                <c:pt idx="11">
                  <c:v>19.361470000000001</c:v>
                </c:pt>
                <c:pt idx="12">
                  <c:v>25.981079999999999</c:v>
                </c:pt>
                <c:pt idx="13">
                  <c:v>29.10502</c:v>
                </c:pt>
                <c:pt idx="14">
                  <c:v>18.590129999999998</c:v>
                </c:pt>
                <c:pt idx="15">
                  <c:v>26.419070000000001</c:v>
                </c:pt>
                <c:pt idx="16">
                  <c:v>15.740970000000001</c:v>
                </c:pt>
                <c:pt idx="17">
                  <c:v>19.158709999999999</c:v>
                </c:pt>
                <c:pt idx="18">
                  <c:v>22.621870000000001</c:v>
                </c:pt>
                <c:pt idx="19">
                  <c:v>18.53632</c:v>
                </c:pt>
                <c:pt idx="20">
                  <c:v>17.688410000000001</c:v>
                </c:pt>
                <c:pt idx="21">
                  <c:v>15.54322</c:v>
                </c:pt>
                <c:pt idx="22">
                  <c:v>21.150120000000001</c:v>
                </c:pt>
                <c:pt idx="23">
                  <c:v>15.23199</c:v>
                </c:pt>
                <c:pt idx="24">
                  <c:v>22.15597</c:v>
                </c:pt>
                <c:pt idx="25">
                  <c:v>16.465720000000001</c:v>
                </c:pt>
                <c:pt idx="26">
                  <c:v>23.103200000000001</c:v>
                </c:pt>
                <c:pt idx="27">
                  <c:v>15.206300000000001</c:v>
                </c:pt>
                <c:pt idx="28">
                  <c:v>10.36275</c:v>
                </c:pt>
                <c:pt idx="29">
                  <c:v>8.4103469999999998</c:v>
                </c:pt>
                <c:pt idx="30">
                  <c:v>13.104889999999999</c:v>
                </c:pt>
                <c:pt idx="31">
                  <c:v>13.132580000000001</c:v>
                </c:pt>
                <c:pt idx="32">
                  <c:v>13.219530000000001</c:v>
                </c:pt>
                <c:pt idx="33">
                  <c:v>10.46358</c:v>
                </c:pt>
                <c:pt idx="34">
                  <c:v>17.022950000000002</c:v>
                </c:pt>
                <c:pt idx="35">
                  <c:v>13.22067</c:v>
                </c:pt>
                <c:pt idx="36">
                  <c:v>10.441280000000001</c:v>
                </c:pt>
                <c:pt idx="37">
                  <c:v>10.161799999999999</c:v>
                </c:pt>
                <c:pt idx="38">
                  <c:v>10.691549999999999</c:v>
                </c:pt>
                <c:pt idx="39">
                  <c:v>10.995480000000001</c:v>
                </c:pt>
                <c:pt idx="40">
                  <c:v>10.580410000000001</c:v>
                </c:pt>
                <c:pt idx="41">
                  <c:v>11.10383</c:v>
                </c:pt>
                <c:pt idx="42">
                  <c:v>14.325939999999999</c:v>
                </c:pt>
                <c:pt idx="43">
                  <c:v>9.29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724760"/>
        <c:axId val="1"/>
      </c:area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ČR</c:v>
                </c:pt>
              </c:strCache>
            </c:strRef>
          </c:tx>
          <c:spPr>
            <a:ln w="25401">
              <a:solidFill>
                <a:srgbClr val="7F7F7F"/>
              </a:solidFill>
              <a:prstDash val="solid"/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4:$AS$4</c:f>
              <c:numCache>
                <c:formatCode>General</c:formatCode>
                <c:ptCount val="44"/>
                <c:pt idx="0">
                  <c:v>20.979700000000001</c:v>
                </c:pt>
                <c:pt idx="1">
                  <c:v>23.91311</c:v>
                </c:pt>
                <c:pt idx="2">
                  <c:v>26.97344</c:v>
                </c:pt>
                <c:pt idx="3">
                  <c:v>30.522500000000001</c:v>
                </c:pt>
                <c:pt idx="4">
                  <c:v>30.47195</c:v>
                </c:pt>
                <c:pt idx="5">
                  <c:v>29.42794</c:v>
                </c:pt>
                <c:pt idx="6">
                  <c:v>32.227730000000001</c:v>
                </c:pt>
                <c:pt idx="7">
                  <c:v>33.347119999999997</c:v>
                </c:pt>
                <c:pt idx="8">
                  <c:v>32.523319999999998</c:v>
                </c:pt>
                <c:pt idx="9">
                  <c:v>33.921559999999999</c:v>
                </c:pt>
                <c:pt idx="10">
                  <c:v>34.264229999999998</c:v>
                </c:pt>
                <c:pt idx="11">
                  <c:v>36.32367</c:v>
                </c:pt>
                <c:pt idx="12">
                  <c:v>37.015560000000001</c:v>
                </c:pt>
                <c:pt idx="13">
                  <c:v>38.353999999999999</c:v>
                </c:pt>
                <c:pt idx="14">
                  <c:v>37.348860000000002</c:v>
                </c:pt>
                <c:pt idx="15">
                  <c:v>38.620899999999999</c:v>
                </c:pt>
                <c:pt idx="16">
                  <c:v>35.693489999999997</c:v>
                </c:pt>
                <c:pt idx="17">
                  <c:v>36.708089999999999</c:v>
                </c:pt>
                <c:pt idx="18">
                  <c:v>36.179920000000003</c:v>
                </c:pt>
                <c:pt idx="19">
                  <c:v>35.890419999999999</c:v>
                </c:pt>
                <c:pt idx="20">
                  <c:v>36.771000000000001</c:v>
                </c:pt>
                <c:pt idx="21">
                  <c:v>36.089860000000002</c:v>
                </c:pt>
                <c:pt idx="22">
                  <c:v>37.527389999999997</c:v>
                </c:pt>
                <c:pt idx="23">
                  <c:v>37.050040000000003</c:v>
                </c:pt>
                <c:pt idx="24">
                  <c:v>38.16478</c:v>
                </c:pt>
                <c:pt idx="25">
                  <c:v>36.546379999999999</c:v>
                </c:pt>
                <c:pt idx="26">
                  <c:v>36.336950000000002</c:v>
                </c:pt>
                <c:pt idx="27">
                  <c:v>31.850169999999999</c:v>
                </c:pt>
                <c:pt idx="28">
                  <c:v>31.22437</c:v>
                </c:pt>
                <c:pt idx="29">
                  <c:v>30.088090000000001</c:v>
                </c:pt>
                <c:pt idx="30">
                  <c:v>30.89724</c:v>
                </c:pt>
                <c:pt idx="31">
                  <c:v>32.281230000000001</c:v>
                </c:pt>
                <c:pt idx="32">
                  <c:v>31.374030000000001</c:v>
                </c:pt>
                <c:pt idx="33">
                  <c:v>31.63148</c:v>
                </c:pt>
                <c:pt idx="34">
                  <c:v>29.520299999999999</c:v>
                </c:pt>
                <c:pt idx="35">
                  <c:v>30.003540000000001</c:v>
                </c:pt>
                <c:pt idx="36">
                  <c:v>31.36476</c:v>
                </c:pt>
                <c:pt idx="37">
                  <c:v>30.10061</c:v>
                </c:pt>
                <c:pt idx="38">
                  <c:v>30.04045</c:v>
                </c:pt>
                <c:pt idx="39">
                  <c:v>32.148040000000002</c:v>
                </c:pt>
                <c:pt idx="40">
                  <c:v>31.514959999999999</c:v>
                </c:pt>
                <c:pt idx="41">
                  <c:v>33.527979999999999</c:v>
                </c:pt>
                <c:pt idx="42">
                  <c:v>30.907060000000001</c:v>
                </c:pt>
                <c:pt idx="43">
                  <c:v>30.37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E1-4AE8-A1BD-69513B5D8FA3}"/>
            </c:ext>
          </c:extLst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32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AS$1</c:f>
              <c:numCache>
                <c:formatCode>General</c:formatCode>
                <c:ptCount val="4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</c:numCache>
            </c:numRef>
          </c:cat>
          <c:val>
            <c:numRef>
              <c:f>Sheet1!$B$5:$AS$5</c:f>
              <c:numCache>
                <c:formatCode>General</c:formatCode>
                <c:ptCount val="44"/>
                <c:pt idx="0">
                  <c:v>20.837319999999998</c:v>
                </c:pt>
                <c:pt idx="1">
                  <c:v>25.040649999999999</c:v>
                </c:pt>
                <c:pt idx="2">
                  <c:v>23.3673</c:v>
                </c:pt>
                <c:pt idx="3">
                  <c:v>35.78839</c:v>
                </c:pt>
                <c:pt idx="4">
                  <c:v>34.827590000000001</c:v>
                </c:pt>
                <c:pt idx="5">
                  <c:v>33.174140000000001</c:v>
                </c:pt>
                <c:pt idx="6">
                  <c:v>37.403889999999997</c:v>
                </c:pt>
                <c:pt idx="7">
                  <c:v>28.76033</c:v>
                </c:pt>
                <c:pt idx="8">
                  <c:v>29.835519999999999</c:v>
                </c:pt>
                <c:pt idx="9">
                  <c:v>29.164439999999999</c:v>
                </c:pt>
                <c:pt idx="10">
                  <c:v>33.385849999999998</c:v>
                </c:pt>
                <c:pt idx="11">
                  <c:v>38.472969999999997</c:v>
                </c:pt>
                <c:pt idx="12">
                  <c:v>34.373179999999998</c:v>
                </c:pt>
                <c:pt idx="13">
                  <c:v>43.16789</c:v>
                </c:pt>
                <c:pt idx="14">
                  <c:v>39.318800000000003</c:v>
                </c:pt>
                <c:pt idx="15">
                  <c:v>47.494239999999998</c:v>
                </c:pt>
                <c:pt idx="16">
                  <c:v>35.970970000000001</c:v>
                </c:pt>
                <c:pt idx="17">
                  <c:v>41.360590000000002</c:v>
                </c:pt>
                <c:pt idx="18">
                  <c:v>44.637479999999996</c:v>
                </c:pt>
                <c:pt idx="19">
                  <c:v>41.528089999999999</c:v>
                </c:pt>
                <c:pt idx="20">
                  <c:v>39.086790000000001</c:v>
                </c:pt>
                <c:pt idx="21">
                  <c:v>44.872750000000003</c:v>
                </c:pt>
                <c:pt idx="22">
                  <c:v>42.803640000000001</c:v>
                </c:pt>
                <c:pt idx="23">
                  <c:v>40.661140000000003</c:v>
                </c:pt>
                <c:pt idx="24">
                  <c:v>37.451050000000002</c:v>
                </c:pt>
                <c:pt idx="25">
                  <c:v>32.067270000000001</c:v>
                </c:pt>
                <c:pt idx="26">
                  <c:v>45.458100000000002</c:v>
                </c:pt>
                <c:pt idx="27">
                  <c:v>35.6539</c:v>
                </c:pt>
                <c:pt idx="28">
                  <c:v>35.943730000000002</c:v>
                </c:pt>
                <c:pt idx="29">
                  <c:v>33.265990000000002</c:v>
                </c:pt>
                <c:pt idx="30">
                  <c:v>30.78126</c:v>
                </c:pt>
                <c:pt idx="31">
                  <c:v>35.674950000000003</c:v>
                </c:pt>
                <c:pt idx="32">
                  <c:v>31.476130000000001</c:v>
                </c:pt>
                <c:pt idx="33">
                  <c:v>37.295650000000002</c:v>
                </c:pt>
                <c:pt idx="34">
                  <c:v>28.623950000000001</c:v>
                </c:pt>
                <c:pt idx="35">
                  <c:v>29.250530000000001</c:v>
                </c:pt>
                <c:pt idx="36">
                  <c:v>34.99803</c:v>
                </c:pt>
                <c:pt idx="37">
                  <c:v>26.685459999999999</c:v>
                </c:pt>
                <c:pt idx="38">
                  <c:v>33.722679999999997</c:v>
                </c:pt>
                <c:pt idx="39">
                  <c:v>32.473790000000001</c:v>
                </c:pt>
                <c:pt idx="40">
                  <c:v>30.641279999999998</c:v>
                </c:pt>
                <c:pt idx="41">
                  <c:v>38.09825</c:v>
                </c:pt>
                <c:pt idx="42">
                  <c:v>26.000779999999999</c:v>
                </c:pt>
                <c:pt idx="43">
                  <c:v>28.00191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E1-4AE8-A1BD-69513B5D8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24760"/>
        <c:axId val="1"/>
      </c:lineChart>
      <c:catAx>
        <c:axId val="167724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12700">
              <a:solidFill>
                <a:srgbClr val="EAEAEA"/>
              </a:solidFill>
              <a:prstDash val="solid"/>
            </a:ln>
          </c:spPr>
        </c:majorGridlines>
        <c:numFmt formatCode="General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cs-CZ"/>
          </a:p>
        </c:txPr>
        <c:crossAx val="167724760"/>
        <c:crosses val="autoZero"/>
        <c:crossBetween val="midCat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ort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A-4D4E-B649-14F742768D6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A-4D4E-B649-14F742768D6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A-4D4E-B649-14F742768D6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D7A-4D4E-B649-14F742768D60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Karlovarský kraj</c:v>
                </c:pt>
                <c:pt idx="3">
                  <c:v>Ústecký kraj</c:v>
                </c:pt>
                <c:pt idx="4">
                  <c:v>Liberecký kraj</c:v>
                </c:pt>
                <c:pt idx="5">
                  <c:v>Česká republika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Plzeňs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.049590000000002</c:v>
                </c:pt>
                <c:pt idx="1">
                  <c:v>33.421779999999998</c:v>
                </c:pt>
                <c:pt idx="2">
                  <c:v>33.303040000000003</c:v>
                </c:pt>
                <c:pt idx="3">
                  <c:v>32.37218</c:v>
                </c:pt>
                <c:pt idx="4">
                  <c:v>32.265439999999998</c:v>
                </c:pt>
                <c:pt idx="5">
                  <c:v>31.68038</c:v>
                </c:pt>
                <c:pt idx="6">
                  <c:v>31.652509999999999</c:v>
                </c:pt>
                <c:pt idx="7">
                  <c:v>31.582550000000001</c:v>
                </c:pt>
                <c:pt idx="8">
                  <c:v>31.348240000000001</c:v>
                </c:pt>
                <c:pt idx="9">
                  <c:v>31.319929999999999</c:v>
                </c:pt>
                <c:pt idx="10">
                  <c:v>30.964500000000001</c:v>
                </c:pt>
                <c:pt idx="11">
                  <c:v>30.669280000000001</c:v>
                </c:pt>
                <c:pt idx="12">
                  <c:v>29.6434</c:v>
                </c:pt>
                <c:pt idx="13">
                  <c:v>29.253070000000001</c:v>
                </c:pt>
                <c:pt idx="14">
                  <c:v>27.1105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A-4D4E-B649-14F742768D60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Karlovarský kraj</c:v>
                </c:pt>
                <c:pt idx="3">
                  <c:v>Ústecký kraj</c:v>
                </c:pt>
                <c:pt idx="4">
                  <c:v>Liberecký kraj</c:v>
                </c:pt>
                <c:pt idx="5">
                  <c:v>Česká republika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Plzeňs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5">
                  <c:v>31.68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A-4D4E-B649-14F742768D60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6</c:f>
              <c:strCache>
                <c:ptCount val="15"/>
                <c:pt idx="0">
                  <c:v>Hl. m. Praha</c:v>
                </c:pt>
                <c:pt idx="1">
                  <c:v>Jihočeský kraj</c:v>
                </c:pt>
                <c:pt idx="2">
                  <c:v>Karlovarský kraj</c:v>
                </c:pt>
                <c:pt idx="3">
                  <c:v>Ústecký kraj</c:v>
                </c:pt>
                <c:pt idx="4">
                  <c:v>Liberecký kraj</c:v>
                </c:pt>
                <c:pt idx="5">
                  <c:v>Česká republika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Plzeňský kraj</c:v>
                </c:pt>
                <c:pt idx="11">
                  <c:v>Moravskoslez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raj Vysočina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10">
                  <c:v>30.964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7A-4D4E-B649-14F742768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4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1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349693251533742E-2"/>
          <c:y val="0.10052910052910052"/>
          <c:w val="0.81288343558282206"/>
          <c:h val="0.8783068783068782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 5 let</c:v>
                </c:pt>
              </c:strCache>
            </c:strRef>
          </c:tx>
          <c:spPr>
            <a:solidFill>
              <a:srgbClr val="C8C8C8"/>
            </a:solidFill>
            <a:ln w="25399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563-4A13-8AD2-45FA7C2BC4A2}"/>
              </c:ext>
            </c:extLst>
          </c:dPt>
          <c:dLbls>
            <c:numFmt formatCode="0.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Klatovy</c:v>
                </c:pt>
                <c:pt idx="1">
                  <c:v>Domažlice</c:v>
                </c:pt>
                <c:pt idx="2">
                  <c:v>Česká republika</c:v>
                </c:pt>
                <c:pt idx="3">
                  <c:v>Plzeň-město</c:v>
                </c:pt>
                <c:pt idx="4">
                  <c:v>Plzeňský kraj</c:v>
                </c:pt>
                <c:pt idx="5">
                  <c:v>Rokycany</c:v>
                </c:pt>
                <c:pt idx="6">
                  <c:v>Plzeň-sever</c:v>
                </c:pt>
                <c:pt idx="7">
                  <c:v>Tachov</c:v>
                </c:pt>
                <c:pt idx="8">
                  <c:v>Plzeň-jih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4.433680000000003</c:v>
                </c:pt>
                <c:pt idx="1">
                  <c:v>34.303199999999997</c:v>
                </c:pt>
                <c:pt idx="2">
                  <c:v>31.68038</c:v>
                </c:pt>
                <c:pt idx="3">
                  <c:v>31.436779999999999</c:v>
                </c:pt>
                <c:pt idx="4">
                  <c:v>30.964500000000001</c:v>
                </c:pt>
                <c:pt idx="5">
                  <c:v>30.583010000000002</c:v>
                </c:pt>
                <c:pt idx="6">
                  <c:v>29.12415</c:v>
                </c:pt>
                <c:pt idx="7">
                  <c:v>28.29757</c:v>
                </c:pt>
                <c:pt idx="8">
                  <c:v>26.8382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63-4A13-8AD2-45FA7C2BC4A2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7F7F7F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Klatovy</c:v>
                </c:pt>
                <c:pt idx="1">
                  <c:v>Domažlice</c:v>
                </c:pt>
                <c:pt idx="2">
                  <c:v>Česká republika</c:v>
                </c:pt>
                <c:pt idx="3">
                  <c:v>Plzeň-město</c:v>
                </c:pt>
                <c:pt idx="4">
                  <c:v>Plzeňský kraj</c:v>
                </c:pt>
                <c:pt idx="5">
                  <c:v>Rokycany</c:v>
                </c:pt>
                <c:pt idx="6">
                  <c:v>Plzeň-sever</c:v>
                </c:pt>
                <c:pt idx="7">
                  <c:v>Tachov</c:v>
                </c:pt>
                <c:pt idx="8">
                  <c:v>Plzeň-jih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2">
                  <c:v>31.68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63-4A13-8AD2-45FA7C2BC4A2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25399">
              <a:noFill/>
            </a:ln>
          </c:spPr>
          <c:invertIfNegative val="0"/>
          <c:cat>
            <c:strRef>
              <c:f>Sheet1!$A$2:$A$10</c:f>
              <c:strCache>
                <c:ptCount val="9"/>
                <c:pt idx="0">
                  <c:v>Klatovy</c:v>
                </c:pt>
                <c:pt idx="1">
                  <c:v>Domažlice</c:v>
                </c:pt>
                <c:pt idx="2">
                  <c:v>Česká republika</c:v>
                </c:pt>
                <c:pt idx="3">
                  <c:v>Plzeň-město</c:v>
                </c:pt>
                <c:pt idx="4">
                  <c:v>Plzeňský kraj</c:v>
                </c:pt>
                <c:pt idx="5">
                  <c:v>Rokycany</c:v>
                </c:pt>
                <c:pt idx="6">
                  <c:v>Plzeň-sever</c:v>
                </c:pt>
                <c:pt idx="7">
                  <c:v>Tachov</c:v>
                </c:pt>
                <c:pt idx="8">
                  <c:v>Plzeň-jih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4">
                  <c:v>30.964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563-4A13-8AD2-45FA7C2BC4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2645200"/>
        <c:axId val="402644808"/>
      </c:barChart>
      <c:catAx>
        <c:axId val="4026452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crossAx val="4026448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02644808"/>
        <c:scaling>
          <c:orientation val="minMax"/>
          <c:max val="4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402645200"/>
        <c:crosses val="autoZero"/>
        <c:crossBetween val="between"/>
        <c:majorUnit val="1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52.996699999999997</c:v>
                </c:pt>
                <c:pt idx="1">
                  <c:v>52.025489999999998</c:v>
                </c:pt>
                <c:pt idx="2">
                  <c:v>50.541519999999998</c:v>
                </c:pt>
                <c:pt idx="3">
                  <c:v>50.639850000000003</c:v>
                </c:pt>
                <c:pt idx="4">
                  <c:v>50.898200000000003</c:v>
                </c:pt>
                <c:pt idx="5">
                  <c:v>50.79627</c:v>
                </c:pt>
                <c:pt idx="6">
                  <c:v>51.257689999999997</c:v>
                </c:pt>
                <c:pt idx="7">
                  <c:v>44.168259999999997</c:v>
                </c:pt>
                <c:pt idx="8">
                  <c:v>48.579419999999999</c:v>
                </c:pt>
                <c:pt idx="9">
                  <c:v>48.76211</c:v>
                </c:pt>
                <c:pt idx="10">
                  <c:v>46.54824</c:v>
                </c:pt>
                <c:pt idx="11">
                  <c:v>52.32432</c:v>
                </c:pt>
                <c:pt idx="12">
                  <c:v>44.026470000000003</c:v>
                </c:pt>
                <c:pt idx="13">
                  <c:v>47.365169999999999</c:v>
                </c:pt>
                <c:pt idx="14">
                  <c:v>48.54881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65-4E09-8A10-3E5001B4B4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0.438890000000001</c:v>
                </c:pt>
                <c:pt idx="1">
                  <c:v>30.177510000000002</c:v>
                </c:pt>
                <c:pt idx="2">
                  <c:v>31.317689999999999</c:v>
                </c:pt>
                <c:pt idx="3">
                  <c:v>31.215720000000001</c:v>
                </c:pt>
                <c:pt idx="4">
                  <c:v>30.308610000000002</c:v>
                </c:pt>
                <c:pt idx="5">
                  <c:v>30.313009999999998</c:v>
                </c:pt>
                <c:pt idx="6">
                  <c:v>29.68139</c:v>
                </c:pt>
                <c:pt idx="7">
                  <c:v>36.711280000000002</c:v>
                </c:pt>
                <c:pt idx="8">
                  <c:v>31.855360000000001</c:v>
                </c:pt>
                <c:pt idx="9">
                  <c:v>31.231649999999998</c:v>
                </c:pt>
                <c:pt idx="10">
                  <c:v>32.983449999999998</c:v>
                </c:pt>
                <c:pt idx="11">
                  <c:v>26.59459</c:v>
                </c:pt>
                <c:pt idx="12">
                  <c:v>34.517589999999998</c:v>
                </c:pt>
                <c:pt idx="13">
                  <c:v>30.177029999999998</c:v>
                </c:pt>
                <c:pt idx="14">
                  <c:v>28.8558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65-4E09-8A10-3E5001B4B41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0.004720000000001</c:v>
                </c:pt>
                <c:pt idx="1">
                  <c:v>10.19572</c:v>
                </c:pt>
                <c:pt idx="2">
                  <c:v>8.5288810000000002</c:v>
                </c:pt>
                <c:pt idx="3">
                  <c:v>11.06033</c:v>
                </c:pt>
                <c:pt idx="4">
                  <c:v>7.8304929999999997</c:v>
                </c:pt>
                <c:pt idx="5">
                  <c:v>9.3355300000000003</c:v>
                </c:pt>
                <c:pt idx="6">
                  <c:v>8.6640580000000007</c:v>
                </c:pt>
                <c:pt idx="7">
                  <c:v>6.8833650000000004</c:v>
                </c:pt>
                <c:pt idx="8">
                  <c:v>9.5566080000000007</c:v>
                </c:pt>
                <c:pt idx="9">
                  <c:v>9.3185769999999994</c:v>
                </c:pt>
                <c:pt idx="10">
                  <c:v>8.8615259999999996</c:v>
                </c:pt>
                <c:pt idx="11">
                  <c:v>9.2972970000000004</c:v>
                </c:pt>
                <c:pt idx="12">
                  <c:v>12.469519999999999</c:v>
                </c:pt>
                <c:pt idx="13">
                  <c:v>8.1720869999999994</c:v>
                </c:pt>
                <c:pt idx="14">
                  <c:v>9.426721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65-4E09-8A10-3E5001B4B41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5.7574329999999998</c:v>
                </c:pt>
                <c:pt idx="1">
                  <c:v>6.2357760000000004</c:v>
                </c:pt>
                <c:pt idx="2">
                  <c:v>8.0324910000000003</c:v>
                </c:pt>
                <c:pt idx="3">
                  <c:v>5.3473490000000004</c:v>
                </c:pt>
                <c:pt idx="4">
                  <c:v>8.1068630000000006</c:v>
                </c:pt>
                <c:pt idx="5">
                  <c:v>5.7660629999999999</c:v>
                </c:pt>
                <c:pt idx="6">
                  <c:v>6.428172</c:v>
                </c:pt>
                <c:pt idx="7">
                  <c:v>5.6086679999999998</c:v>
                </c:pt>
                <c:pt idx="8">
                  <c:v>7.6194579999999998</c:v>
                </c:pt>
                <c:pt idx="9">
                  <c:v>6.6193850000000003</c:v>
                </c:pt>
                <c:pt idx="10">
                  <c:v>7.630198</c:v>
                </c:pt>
                <c:pt idx="11">
                  <c:v>5.1891889999999998</c:v>
                </c:pt>
                <c:pt idx="12">
                  <c:v>6.8965519999999998</c:v>
                </c:pt>
                <c:pt idx="13">
                  <c:v>5.990119</c:v>
                </c:pt>
                <c:pt idx="14">
                  <c:v>5.780763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65-4E09-8A10-3E5001B4B41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0.330345</c:v>
                </c:pt>
                <c:pt idx="1">
                  <c:v>0.18206600000000001</c:v>
                </c:pt>
                <c:pt idx="2">
                  <c:v>0.180505</c:v>
                </c:pt>
                <c:pt idx="3">
                  <c:v>0.228519</c:v>
                </c:pt>
                <c:pt idx="4">
                  <c:v>0.50667899999999999</c:v>
                </c:pt>
                <c:pt idx="5">
                  <c:v>0.43931900000000002</c:v>
                </c:pt>
                <c:pt idx="6">
                  <c:v>0.614869</c:v>
                </c:pt>
                <c:pt idx="7">
                  <c:v>1.0197579999999999</c:v>
                </c:pt>
                <c:pt idx="8">
                  <c:v>0.49504999999999999</c:v>
                </c:pt>
                <c:pt idx="9">
                  <c:v>0.56633699999999998</c:v>
                </c:pt>
                <c:pt idx="10">
                  <c:v>0.70650000000000002</c:v>
                </c:pt>
                <c:pt idx="11">
                  <c:v>0.54054100000000005</c:v>
                </c:pt>
                <c:pt idx="12">
                  <c:v>0.48763499999999999</c:v>
                </c:pt>
                <c:pt idx="13">
                  <c:v>0.67929200000000001</c:v>
                </c:pt>
                <c:pt idx="14">
                  <c:v>1.007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65-4E09-8A10-3E5001B4B41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Liberec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Hl. m. Praha</c:v>
                </c:pt>
                <c:pt idx="11">
                  <c:v>Karlovarský kraj</c:v>
                </c:pt>
                <c:pt idx="12">
                  <c:v>Ústecký kraj</c:v>
                </c:pt>
                <c:pt idx="13">
                  <c:v>Středoče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0.47192099999999998</c:v>
                </c:pt>
                <c:pt idx="1">
                  <c:v>1.183432</c:v>
                </c:pt>
                <c:pt idx="2">
                  <c:v>1.398917</c:v>
                </c:pt>
                <c:pt idx="3">
                  <c:v>1.508227</c:v>
                </c:pt>
                <c:pt idx="4">
                  <c:v>2.349148</c:v>
                </c:pt>
                <c:pt idx="5">
                  <c:v>3.3498079999999999</c:v>
                </c:pt>
                <c:pt idx="6">
                  <c:v>3.3538290000000002</c:v>
                </c:pt>
                <c:pt idx="7">
                  <c:v>5.6086679999999998</c:v>
                </c:pt>
                <c:pt idx="8">
                  <c:v>1.894102</c:v>
                </c:pt>
                <c:pt idx="9">
                  <c:v>3.501935</c:v>
                </c:pt>
                <c:pt idx="10">
                  <c:v>3.2700849999999999</c:v>
                </c:pt>
                <c:pt idx="11">
                  <c:v>6.0540539999999998</c:v>
                </c:pt>
                <c:pt idx="12">
                  <c:v>1.6022289999999999</c:v>
                </c:pt>
                <c:pt idx="13">
                  <c:v>7.6163030000000003</c:v>
                </c:pt>
                <c:pt idx="14">
                  <c:v>6.38042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B65-4E09-8A10-3E5001B4B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72726336"/>
        <c:axId val="372726728"/>
      </c:barChart>
      <c:catAx>
        <c:axId val="3727263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728"/>
        <c:crosses val="autoZero"/>
        <c:auto val="1"/>
        <c:lblAlgn val="ctr"/>
        <c:lblOffset val="100"/>
        <c:noMultiLvlLbl val="0"/>
      </c:catAx>
      <c:valAx>
        <c:axId val="372726728"/>
        <c:scaling>
          <c:orientation val="minMax"/>
          <c:max val="1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7272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886</cdr:x>
      <cdr:y>0.7204</cdr:y>
    </cdr:from>
    <cdr:to>
      <cdr:x>1</cdr:x>
      <cdr:y>0.80549</cdr:y>
    </cdr:to>
    <cdr:sp macro="" textlink="">
      <cdr:nvSpPr>
        <cdr:cNvPr id="2" name="TextovéPole 74">
          <a:extLst xmlns:a="http://schemas.openxmlformats.org/drawingml/2006/main">
            <a:ext uri="{FF2B5EF4-FFF2-40B4-BE49-F238E27FC236}">
              <a16:creationId xmlns:a16="http://schemas.microsoft.com/office/drawing/2014/main" id="{D8D01026-3757-14E4-E449-D7475AE8419C}"/>
            </a:ext>
          </a:extLst>
        </cdr:cNvPr>
        <cdr:cNvSpPr txBox="1"/>
      </cdr:nvSpPr>
      <cdr:spPr>
        <a:xfrm xmlns:a="http://schemas.openxmlformats.org/drawingml/2006/main">
          <a:off x="8679305" y="2084479"/>
          <a:ext cx="1919949" cy="24620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cs-CZ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08000" lvl="1">
            <a:defRPr/>
          </a:pPr>
          <a:r>
            <a:rPr kumimoji="0" lang="cs-CZ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rPr>
            <a:t>Domažlická nemocnice, a.s.</a:t>
          </a:r>
          <a:endParaRPr lang="cs-CZ" sz="1000" dirty="0">
            <a:latin typeface="Calibri" panose="020F0502020204030204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CC9A5-5438-441F-BF1D-E82C0D67BAC3}" type="datetimeFigureOut">
              <a:rPr lang="cs-CZ" smtClean="0"/>
              <a:t>14.05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73063" y="1233488"/>
            <a:ext cx="5922962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66909" y="4751219"/>
            <a:ext cx="533527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777607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73D133-0F03-4048-B977-122E57A7AC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0396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271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456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85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0616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18-2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52091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2486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74314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80995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2274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5477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67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79396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440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65691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209210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3D133-0F03-4048-B977-122E57A7AC05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9129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9238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499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1186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7291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555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106</a:t>
            </a:r>
          </a:p>
          <a:p>
            <a:r>
              <a:rPr lang="cs-CZ" dirty="0"/>
              <a:t>V rámci ČR se postupně přežití zlepšuje, ale patří k nejnižš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494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9238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228</a:t>
            </a:r>
          </a:p>
          <a:p>
            <a:r>
              <a:rPr lang="cs-CZ" dirty="0"/>
              <a:t>Odpovídá průměru ČR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8010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7930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MC1-</a:t>
            </a:r>
            <a:r>
              <a:rPr lang="cs-CZ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ZIS/002608/2025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99900-E466-46CB-AE73-C74111AA0FA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909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527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3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109700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56902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980895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046694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91946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8694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499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LDCT vyšetření bylo provedeno celkem u 13 134 osob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8082449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032FB2-C134-1A40-AEFF-BA4E7FB1B3E0}" type="slidenum">
              <a:rPr lang="cs-CZ" smtClean="0"/>
              <a:t>4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754029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D572A-E227-E7F0-0AE4-4E6228573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E5AED382-54D7-F71D-372C-3A5EBA6A11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99CF465-DA9E-2047-531D-615FC8275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KO120241014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DAEB613-8B98-3314-3E2B-B50BABBE97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07046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D572A-E227-E7F0-0AE4-4E6228573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E5AED382-54D7-F71D-372C-3A5EBA6A11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99CF465-DA9E-2047-531D-615FC8275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KO120241014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DAEB613-8B98-3314-3E2B-B50BABBE97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4196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955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118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729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Z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0DC179-AD8F-41E7-B142-EA1416109C2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55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106</a:t>
            </a:r>
          </a:p>
          <a:p>
            <a:r>
              <a:rPr lang="cs-CZ" dirty="0"/>
              <a:t>Nádor s dobrým přežitím, v čase se zvyšu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289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K1250228</a:t>
            </a:r>
          </a:p>
          <a:p>
            <a:r>
              <a:rPr lang="cs-CZ" dirty="0"/>
              <a:t>Mírně lepší než celá ČR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71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4.xml"/><Relationship Id="rId21" Type="http://schemas.openxmlformats.org/officeDocument/2006/relationships/image" Target="../media/image12.jpeg"/><Relationship Id="rId7" Type="http://schemas.openxmlformats.org/officeDocument/2006/relationships/tags" Target="../tags/tag8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3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2.emf"/><Relationship Id="rId5" Type="http://schemas.openxmlformats.org/officeDocument/2006/relationships/tags" Target="../tags/tag6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12.xml"/><Relationship Id="rId21" Type="http://schemas.openxmlformats.org/officeDocument/2006/relationships/image" Target="../media/image12.jpeg"/><Relationship Id="rId7" Type="http://schemas.openxmlformats.org/officeDocument/2006/relationships/tags" Target="../tags/tag16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11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emf"/><Relationship Id="rId5" Type="http://schemas.openxmlformats.org/officeDocument/2006/relationships/tags" Target="../tags/tag14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3.jpg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3.jpg"/><Relationship Id="rId4" Type="http://schemas.openxmlformats.org/officeDocument/2006/relationships/image" Target="../media/image2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20.xml"/><Relationship Id="rId21" Type="http://schemas.openxmlformats.org/officeDocument/2006/relationships/image" Target="../media/image12.jpeg"/><Relationship Id="rId7" Type="http://schemas.openxmlformats.org/officeDocument/2006/relationships/tags" Target="../tags/tag24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19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2.emf"/><Relationship Id="rId5" Type="http://schemas.openxmlformats.org/officeDocument/2006/relationships/tags" Target="../tags/tag22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5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4.emf"/><Relationship Id="rId18" Type="http://schemas.openxmlformats.org/officeDocument/2006/relationships/image" Target="../media/image9.emf"/><Relationship Id="rId3" Type="http://schemas.openxmlformats.org/officeDocument/2006/relationships/tags" Target="../tags/tag28.xml"/><Relationship Id="rId21" Type="http://schemas.openxmlformats.org/officeDocument/2006/relationships/image" Target="../media/image12.jpeg"/><Relationship Id="rId7" Type="http://schemas.openxmlformats.org/officeDocument/2006/relationships/tags" Target="../tags/tag32.xml"/><Relationship Id="rId12" Type="http://schemas.openxmlformats.org/officeDocument/2006/relationships/image" Target="../media/image3.png"/><Relationship Id="rId17" Type="http://schemas.openxmlformats.org/officeDocument/2006/relationships/image" Target="../media/image8.emf"/><Relationship Id="rId2" Type="http://schemas.openxmlformats.org/officeDocument/2006/relationships/tags" Target="../tags/tag27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2.emf"/><Relationship Id="rId5" Type="http://schemas.openxmlformats.org/officeDocument/2006/relationships/tags" Target="../tags/tag30.xml"/><Relationship Id="rId15" Type="http://schemas.openxmlformats.org/officeDocument/2006/relationships/image" Target="../media/image6.emf"/><Relationship Id="rId10" Type="http://schemas.openxmlformats.org/officeDocument/2006/relationships/image" Target="../media/image1.emf"/><Relationship Id="rId19" Type="http://schemas.openxmlformats.org/officeDocument/2006/relationships/image" Target="../media/image10.emf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79A67F-5DE8-F2B4-3423-2F232835C5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D2F943EE-94F2-FEAE-751F-68C16F8C70E6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7432A541-4ECE-B9BA-D289-5EA65630F5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93082A9C-BB53-3AF7-4878-4160FF2E5D63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B535F71C-1701-6A94-B8BF-016E74F392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A6E92542-F8EC-D18B-A503-67876A64BF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07BC0644-A972-EAFF-AE26-66E2C69366FE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B579A35E-4B4C-FF39-71FD-5B55CEAFF2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6023EBE9-9C75-C316-CD8F-FC5634A25149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4" name="Volný tvar: obrazec 33">
              <a:extLst>
                <a:ext uri="{FF2B5EF4-FFF2-40B4-BE49-F238E27FC236}">
                  <a16:creationId xmlns:a16="http://schemas.microsoft.com/office/drawing/2014/main" id="{76DDDEC6-4717-3386-B44F-052148E5632E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5" name="Volný tvar: obrazec 34">
              <a:extLst>
                <a:ext uri="{FF2B5EF4-FFF2-40B4-BE49-F238E27FC236}">
                  <a16:creationId xmlns:a16="http://schemas.microsoft.com/office/drawing/2014/main" id="{7A1C3BBC-A7B8-7383-F39C-ABAC8308B8A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6" name="Volný tvar: obrazec 35">
              <a:extLst>
                <a:ext uri="{FF2B5EF4-FFF2-40B4-BE49-F238E27FC236}">
                  <a16:creationId xmlns:a16="http://schemas.microsoft.com/office/drawing/2014/main" id="{564403E3-AA92-CE9C-EB8E-AAF2CDED94C9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7" name="Volný tvar: obrazec 36">
              <a:extLst>
                <a:ext uri="{FF2B5EF4-FFF2-40B4-BE49-F238E27FC236}">
                  <a16:creationId xmlns:a16="http://schemas.microsoft.com/office/drawing/2014/main" id="{0659051C-D7EF-9CA4-575F-8528903006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8" name="Volný tvar: obrazec 37">
              <a:extLst>
                <a:ext uri="{FF2B5EF4-FFF2-40B4-BE49-F238E27FC236}">
                  <a16:creationId xmlns:a16="http://schemas.microsoft.com/office/drawing/2014/main" id="{3F32326D-2E96-13FE-D6D5-C38611B3667D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9" name="Volný tvar: obrazec 38">
              <a:extLst>
                <a:ext uri="{FF2B5EF4-FFF2-40B4-BE49-F238E27FC236}">
                  <a16:creationId xmlns:a16="http://schemas.microsoft.com/office/drawing/2014/main" id="{C794D5CC-4D6D-5A7F-1BE0-FF055D2354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696976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4653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42746301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B568BAED-9959-EA2E-29EC-1A0B33CE9746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731838" y="1663700"/>
            <a:ext cx="5364162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1" name="Zástupný obsah 10">
            <a:extLst>
              <a:ext uri="{FF2B5EF4-FFF2-40B4-BE49-F238E27FC236}">
                <a16:creationId xmlns:a16="http://schemas.microsoft.com/office/drawing/2014/main" id="{163C6B4F-771B-F4FA-C177-55BA3C6FDAD6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6096000" y="1663700"/>
            <a:ext cx="5364163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659305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0340697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endParaRPr lang="cs-CZ"/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2840672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14829447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endParaRPr lang="cs-CZ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4466167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8320084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endParaRPr lang="cs-CZ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80360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40021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C16814E-93D7-8660-9E4B-EF5C17EF945B}"/>
              </a:ext>
            </a:extLst>
          </p:cNvPr>
          <p:cNvGrpSpPr/>
          <p:nvPr userDrawn="1"/>
        </p:nvGrpSpPr>
        <p:grpSpPr>
          <a:xfrm>
            <a:off x="9561600" y="3873600"/>
            <a:ext cx="1270751" cy="2016807"/>
            <a:chOff x="9573906" y="3839890"/>
            <a:chExt cx="1270751" cy="2016807"/>
          </a:xfrm>
        </p:grpSpPr>
        <p:sp>
          <p:nvSpPr>
            <p:cNvPr id="47" name="Rovnoramenný trojúhelník 4">
              <a:extLst>
                <a:ext uri="{FF2B5EF4-FFF2-40B4-BE49-F238E27FC236}">
                  <a16:creationId xmlns:a16="http://schemas.microsoft.com/office/drawing/2014/main" id="{C5474CA9-DC43-C5C2-60B4-16339D814A8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8CEA53F-7430-B159-526A-7A9F3A1D7EDB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9" name="Ovál 22">
                <a:extLst>
                  <a:ext uri="{FF2B5EF4-FFF2-40B4-BE49-F238E27FC236}">
                    <a16:creationId xmlns:a16="http://schemas.microsoft.com/office/drawing/2014/main" id="{4BA847E0-413E-514E-A6AF-56E616FAF048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0" name="Ovál 23">
                <a:extLst>
                  <a:ext uri="{FF2B5EF4-FFF2-40B4-BE49-F238E27FC236}">
                    <a16:creationId xmlns:a16="http://schemas.microsoft.com/office/drawing/2014/main" id="{88A794EE-DDBB-9DBE-6259-495A40034396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2761CC6B-FCC7-2CB0-2A51-DAA5FD05F14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72786" y="5069654"/>
            <a:ext cx="793563" cy="648000"/>
            <a:chOff x="7560944" y="3726465"/>
            <a:chExt cx="1160049" cy="947261"/>
          </a:xfrm>
          <a:noFill/>
        </p:grpSpPr>
        <p:sp>
          <p:nvSpPr>
            <p:cNvPr id="59" name="Volný tvar: obrazec 58">
              <a:extLst>
                <a:ext uri="{FF2B5EF4-FFF2-40B4-BE49-F238E27FC236}">
                  <a16:creationId xmlns:a16="http://schemas.microsoft.com/office/drawing/2014/main" id="{7B53F884-512F-FFEC-D588-1EEE1F96827C}"/>
                </a:ext>
              </a:extLst>
            </p:cNvPr>
            <p:cNvSpPr/>
            <p:nvPr userDrawn="1"/>
          </p:nvSpPr>
          <p:spPr>
            <a:xfrm>
              <a:off x="8141588" y="3726465"/>
              <a:ext cx="579405" cy="546544"/>
            </a:xfrm>
            <a:custGeom>
              <a:avLst/>
              <a:gdLst>
                <a:gd name="connsiteX0" fmla="*/ 567309 w 579405"/>
                <a:gd name="connsiteY0" fmla="*/ 177927 h 546544"/>
                <a:gd name="connsiteX1" fmla="*/ 570071 w 579405"/>
                <a:gd name="connsiteY1" fmla="*/ 184785 h 546544"/>
                <a:gd name="connsiteX2" fmla="*/ 570738 w 579405"/>
                <a:gd name="connsiteY2" fmla="*/ 190119 h 546544"/>
                <a:gd name="connsiteX3" fmla="*/ 579406 w 579405"/>
                <a:gd name="connsiteY3" fmla="*/ 214408 h 546544"/>
                <a:gd name="connsiteX4" fmla="*/ 573691 w 579405"/>
                <a:gd name="connsiteY4" fmla="*/ 226028 h 546544"/>
                <a:gd name="connsiteX5" fmla="*/ 565595 w 579405"/>
                <a:gd name="connsiteY5" fmla="*/ 234315 h 546544"/>
                <a:gd name="connsiteX6" fmla="*/ 570452 w 579405"/>
                <a:gd name="connsiteY6" fmla="*/ 242792 h 546544"/>
                <a:gd name="connsiteX7" fmla="*/ 563213 w 579405"/>
                <a:gd name="connsiteY7" fmla="*/ 243745 h 546544"/>
                <a:gd name="connsiteX8" fmla="*/ 558546 w 579405"/>
                <a:gd name="connsiteY8" fmla="*/ 249746 h 546544"/>
                <a:gd name="connsiteX9" fmla="*/ 546735 w 579405"/>
                <a:gd name="connsiteY9" fmla="*/ 271272 h 546544"/>
                <a:gd name="connsiteX10" fmla="*/ 535114 w 579405"/>
                <a:gd name="connsiteY10" fmla="*/ 280035 h 546544"/>
                <a:gd name="connsiteX11" fmla="*/ 508635 w 579405"/>
                <a:gd name="connsiteY11" fmla="*/ 287179 h 546544"/>
                <a:gd name="connsiteX12" fmla="*/ 505016 w 579405"/>
                <a:gd name="connsiteY12" fmla="*/ 287655 h 546544"/>
                <a:gd name="connsiteX13" fmla="*/ 495014 w 579405"/>
                <a:gd name="connsiteY13" fmla="*/ 294418 h 546544"/>
                <a:gd name="connsiteX14" fmla="*/ 479298 w 579405"/>
                <a:gd name="connsiteY14" fmla="*/ 300133 h 546544"/>
                <a:gd name="connsiteX15" fmla="*/ 479965 w 579405"/>
                <a:gd name="connsiteY15" fmla="*/ 305467 h 546544"/>
                <a:gd name="connsiteX16" fmla="*/ 478441 w 579405"/>
                <a:gd name="connsiteY16" fmla="*/ 307467 h 546544"/>
                <a:gd name="connsiteX17" fmla="*/ 462248 w 579405"/>
                <a:gd name="connsiteY17" fmla="*/ 309658 h 546544"/>
                <a:gd name="connsiteX18" fmla="*/ 453580 w 579405"/>
                <a:gd name="connsiteY18" fmla="*/ 312611 h 546544"/>
                <a:gd name="connsiteX19" fmla="*/ 446818 w 579405"/>
                <a:gd name="connsiteY19" fmla="*/ 317087 h 546544"/>
                <a:gd name="connsiteX20" fmla="*/ 434530 w 579405"/>
                <a:gd name="connsiteY20" fmla="*/ 320612 h 546544"/>
                <a:gd name="connsiteX21" fmla="*/ 431102 w 579405"/>
                <a:gd name="connsiteY21" fmla="*/ 322802 h 546544"/>
                <a:gd name="connsiteX22" fmla="*/ 409099 w 579405"/>
                <a:gd name="connsiteY22" fmla="*/ 322136 h 546544"/>
                <a:gd name="connsiteX23" fmla="*/ 405955 w 579405"/>
                <a:gd name="connsiteY23" fmla="*/ 326136 h 546544"/>
                <a:gd name="connsiteX24" fmla="*/ 402145 w 579405"/>
                <a:gd name="connsiteY24" fmla="*/ 324898 h 546544"/>
                <a:gd name="connsiteX25" fmla="*/ 397002 w 579405"/>
                <a:gd name="connsiteY25" fmla="*/ 327374 h 546544"/>
                <a:gd name="connsiteX26" fmla="*/ 391382 w 579405"/>
                <a:gd name="connsiteY26" fmla="*/ 326327 h 546544"/>
                <a:gd name="connsiteX27" fmla="*/ 386715 w 579405"/>
                <a:gd name="connsiteY27" fmla="*/ 332327 h 546544"/>
                <a:gd name="connsiteX28" fmla="*/ 382905 w 579405"/>
                <a:gd name="connsiteY28" fmla="*/ 331089 h 546544"/>
                <a:gd name="connsiteX29" fmla="*/ 376142 w 579405"/>
                <a:gd name="connsiteY29" fmla="*/ 335566 h 546544"/>
                <a:gd name="connsiteX30" fmla="*/ 376428 w 579405"/>
                <a:gd name="connsiteY30" fmla="*/ 337375 h 546544"/>
                <a:gd name="connsiteX31" fmla="*/ 379095 w 579405"/>
                <a:gd name="connsiteY31" fmla="*/ 344234 h 546544"/>
                <a:gd name="connsiteX32" fmla="*/ 377380 w 579405"/>
                <a:gd name="connsiteY32" fmla="*/ 358997 h 546544"/>
                <a:gd name="connsiteX33" fmla="*/ 359093 w 579405"/>
                <a:gd name="connsiteY33" fmla="*/ 372237 h 546544"/>
                <a:gd name="connsiteX34" fmla="*/ 356616 w 579405"/>
                <a:gd name="connsiteY34" fmla="*/ 381667 h 546544"/>
                <a:gd name="connsiteX35" fmla="*/ 344995 w 579405"/>
                <a:gd name="connsiteY35" fmla="*/ 390430 h 546544"/>
                <a:gd name="connsiteX36" fmla="*/ 346900 w 579405"/>
                <a:gd name="connsiteY36" fmla="*/ 404717 h 546544"/>
                <a:gd name="connsiteX37" fmla="*/ 344995 w 579405"/>
                <a:gd name="connsiteY37" fmla="*/ 417671 h 546544"/>
                <a:gd name="connsiteX38" fmla="*/ 353949 w 579405"/>
                <a:gd name="connsiteY38" fmla="*/ 416433 h 546544"/>
                <a:gd name="connsiteX39" fmla="*/ 351758 w 579405"/>
                <a:gd name="connsiteY39" fmla="*/ 427577 h 546544"/>
                <a:gd name="connsiteX40" fmla="*/ 354235 w 579405"/>
                <a:gd name="connsiteY40" fmla="*/ 432721 h 546544"/>
                <a:gd name="connsiteX41" fmla="*/ 347376 w 579405"/>
                <a:gd name="connsiteY41" fmla="*/ 435483 h 546544"/>
                <a:gd name="connsiteX42" fmla="*/ 349186 w 579405"/>
                <a:gd name="connsiteY42" fmla="*/ 449675 h 546544"/>
                <a:gd name="connsiteX43" fmla="*/ 347472 w 579405"/>
                <a:gd name="connsiteY43" fmla="*/ 449961 h 546544"/>
                <a:gd name="connsiteX44" fmla="*/ 341852 w 579405"/>
                <a:gd name="connsiteY44" fmla="*/ 463391 h 546544"/>
                <a:gd name="connsiteX45" fmla="*/ 333851 w 579405"/>
                <a:gd name="connsiteY45" fmla="*/ 471678 h 546544"/>
                <a:gd name="connsiteX46" fmla="*/ 334042 w 579405"/>
                <a:gd name="connsiteY46" fmla="*/ 500634 h 546544"/>
                <a:gd name="connsiteX47" fmla="*/ 340804 w 579405"/>
                <a:gd name="connsiteY47" fmla="*/ 510635 h 546544"/>
                <a:gd name="connsiteX48" fmla="*/ 325850 w 579405"/>
                <a:gd name="connsiteY48" fmla="*/ 521684 h 546544"/>
                <a:gd name="connsiteX49" fmla="*/ 324326 w 579405"/>
                <a:gd name="connsiteY49" fmla="*/ 523684 h 546544"/>
                <a:gd name="connsiteX50" fmla="*/ 325660 w 579405"/>
                <a:gd name="connsiteY50" fmla="*/ 534448 h 546544"/>
                <a:gd name="connsiteX51" fmla="*/ 320802 w 579405"/>
                <a:gd name="connsiteY51" fmla="*/ 538734 h 546544"/>
                <a:gd name="connsiteX52" fmla="*/ 316325 w 579405"/>
                <a:gd name="connsiteY52" fmla="*/ 546544 h 546544"/>
                <a:gd name="connsiteX53" fmla="*/ 304800 w 579405"/>
                <a:gd name="connsiteY53" fmla="*/ 542639 h 546544"/>
                <a:gd name="connsiteX54" fmla="*/ 303086 w 579405"/>
                <a:gd name="connsiteY54" fmla="*/ 542830 h 546544"/>
                <a:gd name="connsiteX55" fmla="*/ 300323 w 579405"/>
                <a:gd name="connsiteY55" fmla="*/ 535972 h 546544"/>
                <a:gd name="connsiteX56" fmla="*/ 298323 w 579405"/>
                <a:gd name="connsiteY56" fmla="*/ 534448 h 546544"/>
                <a:gd name="connsiteX57" fmla="*/ 290893 w 579405"/>
                <a:gd name="connsiteY57" fmla="*/ 533591 h 546544"/>
                <a:gd name="connsiteX58" fmla="*/ 294227 w 579405"/>
                <a:gd name="connsiteY58" fmla="*/ 531305 h 546544"/>
                <a:gd name="connsiteX59" fmla="*/ 288607 w 579405"/>
                <a:gd name="connsiteY59" fmla="*/ 530257 h 546544"/>
                <a:gd name="connsiteX60" fmla="*/ 284512 w 579405"/>
                <a:gd name="connsiteY60" fmla="*/ 527209 h 546544"/>
                <a:gd name="connsiteX61" fmla="*/ 280701 w 579405"/>
                <a:gd name="connsiteY61" fmla="*/ 525875 h 546544"/>
                <a:gd name="connsiteX62" fmla="*/ 276130 w 579405"/>
                <a:gd name="connsiteY62" fmla="*/ 519208 h 546544"/>
                <a:gd name="connsiteX63" fmla="*/ 265747 w 579405"/>
                <a:gd name="connsiteY63" fmla="*/ 509683 h 546544"/>
                <a:gd name="connsiteX64" fmla="*/ 260985 w 579405"/>
                <a:gd name="connsiteY64" fmla="*/ 501301 h 546544"/>
                <a:gd name="connsiteX65" fmla="*/ 258699 w 579405"/>
                <a:gd name="connsiteY65" fmla="*/ 497967 h 546544"/>
                <a:gd name="connsiteX66" fmla="*/ 237839 w 579405"/>
                <a:gd name="connsiteY66" fmla="*/ 506159 h 546544"/>
                <a:gd name="connsiteX67" fmla="*/ 238316 w 579405"/>
                <a:gd name="connsiteY67" fmla="*/ 509683 h 546544"/>
                <a:gd name="connsiteX68" fmla="*/ 232981 w 579405"/>
                <a:gd name="connsiteY68" fmla="*/ 510445 h 546544"/>
                <a:gd name="connsiteX69" fmla="*/ 224885 w 579405"/>
                <a:gd name="connsiteY69" fmla="*/ 504254 h 546544"/>
                <a:gd name="connsiteX70" fmla="*/ 223456 w 579405"/>
                <a:gd name="connsiteY70" fmla="*/ 493585 h 546544"/>
                <a:gd name="connsiteX71" fmla="*/ 219360 w 579405"/>
                <a:gd name="connsiteY71" fmla="*/ 490442 h 546544"/>
                <a:gd name="connsiteX72" fmla="*/ 215836 w 579405"/>
                <a:gd name="connsiteY72" fmla="*/ 490918 h 546544"/>
                <a:gd name="connsiteX73" fmla="*/ 213265 w 579405"/>
                <a:gd name="connsiteY73" fmla="*/ 485870 h 546544"/>
                <a:gd name="connsiteX74" fmla="*/ 214598 w 579405"/>
                <a:gd name="connsiteY74" fmla="*/ 482060 h 546544"/>
                <a:gd name="connsiteX75" fmla="*/ 208693 w 579405"/>
                <a:gd name="connsiteY75" fmla="*/ 479203 h 546544"/>
                <a:gd name="connsiteX76" fmla="*/ 201930 w 579405"/>
                <a:gd name="connsiteY76" fmla="*/ 469201 h 546544"/>
                <a:gd name="connsiteX77" fmla="*/ 200977 w 579405"/>
                <a:gd name="connsiteY77" fmla="*/ 462058 h 546544"/>
                <a:gd name="connsiteX78" fmla="*/ 196977 w 579405"/>
                <a:gd name="connsiteY78" fmla="*/ 459010 h 546544"/>
                <a:gd name="connsiteX79" fmla="*/ 193929 w 579405"/>
                <a:gd name="connsiteY79" fmla="*/ 450342 h 546544"/>
                <a:gd name="connsiteX80" fmla="*/ 193262 w 579405"/>
                <a:gd name="connsiteY80" fmla="*/ 444913 h 546544"/>
                <a:gd name="connsiteX81" fmla="*/ 182023 w 579405"/>
                <a:gd name="connsiteY81" fmla="*/ 442817 h 546544"/>
                <a:gd name="connsiteX82" fmla="*/ 173260 w 579405"/>
                <a:gd name="connsiteY82" fmla="*/ 445770 h 546544"/>
                <a:gd name="connsiteX83" fmla="*/ 167735 w 579405"/>
                <a:gd name="connsiteY83" fmla="*/ 432054 h 546544"/>
                <a:gd name="connsiteX84" fmla="*/ 162116 w 579405"/>
                <a:gd name="connsiteY84" fmla="*/ 430911 h 546544"/>
                <a:gd name="connsiteX85" fmla="*/ 158115 w 579405"/>
                <a:gd name="connsiteY85" fmla="*/ 427863 h 546544"/>
                <a:gd name="connsiteX86" fmla="*/ 154495 w 579405"/>
                <a:gd name="connsiteY86" fmla="*/ 428339 h 546544"/>
                <a:gd name="connsiteX87" fmla="*/ 151543 w 579405"/>
                <a:gd name="connsiteY87" fmla="*/ 419671 h 546544"/>
                <a:gd name="connsiteX88" fmla="*/ 152876 w 579405"/>
                <a:gd name="connsiteY88" fmla="*/ 415862 h 546544"/>
                <a:gd name="connsiteX89" fmla="*/ 148018 w 579405"/>
                <a:gd name="connsiteY89" fmla="*/ 407480 h 546544"/>
                <a:gd name="connsiteX90" fmla="*/ 147828 w 579405"/>
                <a:gd name="connsiteY90" fmla="*/ 405670 h 546544"/>
                <a:gd name="connsiteX91" fmla="*/ 154305 w 579405"/>
                <a:gd name="connsiteY91" fmla="*/ 399383 h 546544"/>
                <a:gd name="connsiteX92" fmla="*/ 157925 w 579405"/>
                <a:gd name="connsiteY92" fmla="*/ 398907 h 546544"/>
                <a:gd name="connsiteX93" fmla="*/ 157448 w 579405"/>
                <a:gd name="connsiteY93" fmla="*/ 395288 h 546544"/>
                <a:gd name="connsiteX94" fmla="*/ 153828 w 579405"/>
                <a:gd name="connsiteY94" fmla="*/ 395764 h 546544"/>
                <a:gd name="connsiteX95" fmla="*/ 153352 w 579405"/>
                <a:gd name="connsiteY95" fmla="*/ 392240 h 546544"/>
                <a:gd name="connsiteX96" fmla="*/ 158972 w 579405"/>
                <a:gd name="connsiteY96" fmla="*/ 393287 h 546544"/>
                <a:gd name="connsiteX97" fmla="*/ 161830 w 579405"/>
                <a:gd name="connsiteY97" fmla="*/ 387477 h 546544"/>
                <a:gd name="connsiteX98" fmla="*/ 156305 w 579405"/>
                <a:gd name="connsiteY98" fmla="*/ 386429 h 546544"/>
                <a:gd name="connsiteX99" fmla="*/ 161163 w 579405"/>
                <a:gd name="connsiteY99" fmla="*/ 382143 h 546544"/>
                <a:gd name="connsiteX100" fmla="*/ 155638 w 579405"/>
                <a:gd name="connsiteY100" fmla="*/ 368332 h 546544"/>
                <a:gd name="connsiteX101" fmla="*/ 136398 w 579405"/>
                <a:gd name="connsiteY101" fmla="*/ 374523 h 546544"/>
                <a:gd name="connsiteX102" fmla="*/ 131826 w 579405"/>
                <a:gd name="connsiteY102" fmla="*/ 367856 h 546544"/>
                <a:gd name="connsiteX103" fmla="*/ 126016 w 579405"/>
                <a:gd name="connsiteY103" fmla="*/ 364998 h 546544"/>
                <a:gd name="connsiteX104" fmla="*/ 123539 w 579405"/>
                <a:gd name="connsiteY104" fmla="*/ 359950 h 546544"/>
                <a:gd name="connsiteX105" fmla="*/ 126587 w 579405"/>
                <a:gd name="connsiteY105" fmla="*/ 355854 h 546544"/>
                <a:gd name="connsiteX106" fmla="*/ 115062 w 579405"/>
                <a:gd name="connsiteY106" fmla="*/ 337471 h 546544"/>
                <a:gd name="connsiteX107" fmla="*/ 107156 w 579405"/>
                <a:gd name="connsiteY107" fmla="*/ 333089 h 546544"/>
                <a:gd name="connsiteX108" fmla="*/ 108013 w 579405"/>
                <a:gd name="connsiteY108" fmla="*/ 325755 h 546544"/>
                <a:gd name="connsiteX109" fmla="*/ 114871 w 579405"/>
                <a:gd name="connsiteY109" fmla="*/ 308515 h 546544"/>
                <a:gd name="connsiteX110" fmla="*/ 114681 w 579405"/>
                <a:gd name="connsiteY110" fmla="*/ 306705 h 546544"/>
                <a:gd name="connsiteX111" fmla="*/ 96202 w 579405"/>
                <a:gd name="connsiteY111" fmla="*/ 305467 h 546544"/>
                <a:gd name="connsiteX112" fmla="*/ 90583 w 579405"/>
                <a:gd name="connsiteY112" fmla="*/ 304419 h 546544"/>
                <a:gd name="connsiteX113" fmla="*/ 91630 w 579405"/>
                <a:gd name="connsiteY113" fmla="*/ 298799 h 546544"/>
                <a:gd name="connsiteX114" fmla="*/ 89345 w 579405"/>
                <a:gd name="connsiteY114" fmla="*/ 295561 h 546544"/>
                <a:gd name="connsiteX115" fmla="*/ 73437 w 579405"/>
                <a:gd name="connsiteY115" fmla="*/ 299466 h 546544"/>
                <a:gd name="connsiteX116" fmla="*/ 68103 w 579405"/>
                <a:gd name="connsiteY116" fmla="*/ 300133 h 546544"/>
                <a:gd name="connsiteX117" fmla="*/ 64008 w 579405"/>
                <a:gd name="connsiteY117" fmla="*/ 297085 h 546544"/>
                <a:gd name="connsiteX118" fmla="*/ 62389 w 579405"/>
                <a:gd name="connsiteY118" fmla="*/ 284607 h 546544"/>
                <a:gd name="connsiteX119" fmla="*/ 55436 w 579405"/>
                <a:gd name="connsiteY119" fmla="*/ 287369 h 546544"/>
                <a:gd name="connsiteX120" fmla="*/ 44577 w 579405"/>
                <a:gd name="connsiteY120" fmla="*/ 274225 h 546544"/>
                <a:gd name="connsiteX121" fmla="*/ 35052 w 579405"/>
                <a:gd name="connsiteY121" fmla="*/ 271844 h 546544"/>
                <a:gd name="connsiteX122" fmla="*/ 33909 w 579405"/>
                <a:gd name="connsiteY122" fmla="*/ 262985 h 546544"/>
                <a:gd name="connsiteX123" fmla="*/ 47339 w 579405"/>
                <a:gd name="connsiteY123" fmla="*/ 253937 h 546544"/>
                <a:gd name="connsiteX124" fmla="*/ 51054 w 579405"/>
                <a:gd name="connsiteY124" fmla="*/ 240792 h 546544"/>
                <a:gd name="connsiteX125" fmla="*/ 59627 w 579405"/>
                <a:gd name="connsiteY125" fmla="*/ 236029 h 546544"/>
                <a:gd name="connsiteX126" fmla="*/ 62198 w 579405"/>
                <a:gd name="connsiteY126" fmla="*/ 228410 h 546544"/>
                <a:gd name="connsiteX127" fmla="*/ 68199 w 579405"/>
                <a:gd name="connsiteY127" fmla="*/ 218599 h 546544"/>
                <a:gd name="connsiteX128" fmla="*/ 71628 w 579405"/>
                <a:gd name="connsiteY128" fmla="*/ 216313 h 546544"/>
                <a:gd name="connsiteX129" fmla="*/ 67913 w 579405"/>
                <a:gd name="connsiteY129" fmla="*/ 202311 h 546544"/>
                <a:gd name="connsiteX130" fmla="*/ 76009 w 579405"/>
                <a:gd name="connsiteY130" fmla="*/ 193929 h 546544"/>
                <a:gd name="connsiteX131" fmla="*/ 77248 w 579405"/>
                <a:gd name="connsiteY131" fmla="*/ 190119 h 546544"/>
                <a:gd name="connsiteX132" fmla="*/ 74771 w 579405"/>
                <a:gd name="connsiteY132" fmla="*/ 185071 h 546544"/>
                <a:gd name="connsiteX133" fmla="*/ 68675 w 579405"/>
                <a:gd name="connsiteY133" fmla="*/ 180404 h 546544"/>
                <a:gd name="connsiteX134" fmla="*/ 65722 w 579405"/>
                <a:gd name="connsiteY134" fmla="*/ 171736 h 546544"/>
                <a:gd name="connsiteX135" fmla="*/ 59341 w 579405"/>
                <a:gd name="connsiteY135" fmla="*/ 165354 h 546544"/>
                <a:gd name="connsiteX136" fmla="*/ 54007 w 579405"/>
                <a:gd name="connsiteY136" fmla="*/ 166021 h 546544"/>
                <a:gd name="connsiteX137" fmla="*/ 47530 w 579405"/>
                <a:gd name="connsiteY137" fmla="*/ 172307 h 546544"/>
                <a:gd name="connsiteX138" fmla="*/ 43434 w 579405"/>
                <a:gd name="connsiteY138" fmla="*/ 169259 h 546544"/>
                <a:gd name="connsiteX139" fmla="*/ 36481 w 579405"/>
                <a:gd name="connsiteY139" fmla="*/ 172021 h 546544"/>
                <a:gd name="connsiteX140" fmla="*/ 29337 w 579405"/>
                <a:gd name="connsiteY140" fmla="*/ 172974 h 546544"/>
                <a:gd name="connsiteX141" fmla="*/ 23241 w 579405"/>
                <a:gd name="connsiteY141" fmla="*/ 168307 h 546544"/>
                <a:gd name="connsiteX142" fmla="*/ 30194 w 579405"/>
                <a:gd name="connsiteY142" fmla="*/ 165545 h 546544"/>
                <a:gd name="connsiteX143" fmla="*/ 31242 w 579405"/>
                <a:gd name="connsiteY143" fmla="*/ 160020 h 546544"/>
                <a:gd name="connsiteX144" fmla="*/ 29432 w 579405"/>
                <a:gd name="connsiteY144" fmla="*/ 160211 h 546544"/>
                <a:gd name="connsiteX145" fmla="*/ 22670 w 579405"/>
                <a:gd name="connsiteY145" fmla="*/ 150304 h 546544"/>
                <a:gd name="connsiteX146" fmla="*/ 17240 w 579405"/>
                <a:gd name="connsiteY146" fmla="*/ 150971 h 546544"/>
                <a:gd name="connsiteX147" fmla="*/ 9620 w 579405"/>
                <a:gd name="connsiteY147" fmla="*/ 148400 h 546544"/>
                <a:gd name="connsiteX148" fmla="*/ 8001 w 579405"/>
                <a:gd name="connsiteY148" fmla="*/ 135922 h 546544"/>
                <a:gd name="connsiteX149" fmla="*/ 2762 w 579405"/>
                <a:gd name="connsiteY149" fmla="*/ 138398 h 546544"/>
                <a:gd name="connsiteX150" fmla="*/ 2095 w 579405"/>
                <a:gd name="connsiteY150" fmla="*/ 133064 h 546544"/>
                <a:gd name="connsiteX151" fmla="*/ 6286 w 579405"/>
                <a:gd name="connsiteY151" fmla="*/ 123444 h 546544"/>
                <a:gd name="connsiteX152" fmla="*/ 2000 w 579405"/>
                <a:gd name="connsiteY152" fmla="*/ 118586 h 546544"/>
                <a:gd name="connsiteX153" fmla="*/ 0 w 579405"/>
                <a:gd name="connsiteY153" fmla="*/ 116967 h 546544"/>
                <a:gd name="connsiteX154" fmla="*/ 10287 w 579405"/>
                <a:gd name="connsiteY154" fmla="*/ 112014 h 546544"/>
                <a:gd name="connsiteX155" fmla="*/ 13430 w 579405"/>
                <a:gd name="connsiteY155" fmla="*/ 107918 h 546544"/>
                <a:gd name="connsiteX156" fmla="*/ 16764 w 579405"/>
                <a:gd name="connsiteY156" fmla="*/ 105728 h 546544"/>
                <a:gd name="connsiteX157" fmla="*/ 14764 w 579405"/>
                <a:gd name="connsiteY157" fmla="*/ 104204 h 546544"/>
                <a:gd name="connsiteX158" fmla="*/ 21431 w 579405"/>
                <a:gd name="connsiteY158" fmla="*/ 99632 h 546544"/>
                <a:gd name="connsiteX159" fmla="*/ 16383 w 579405"/>
                <a:gd name="connsiteY159" fmla="*/ 89440 h 546544"/>
                <a:gd name="connsiteX160" fmla="*/ 7811 w 579405"/>
                <a:gd name="connsiteY160" fmla="*/ 79724 h 546544"/>
                <a:gd name="connsiteX161" fmla="*/ 9144 w 579405"/>
                <a:gd name="connsiteY161" fmla="*/ 75914 h 546544"/>
                <a:gd name="connsiteX162" fmla="*/ 13240 w 579405"/>
                <a:gd name="connsiteY162" fmla="*/ 78962 h 546544"/>
                <a:gd name="connsiteX163" fmla="*/ 16573 w 579405"/>
                <a:gd name="connsiteY163" fmla="*/ 76676 h 546544"/>
                <a:gd name="connsiteX164" fmla="*/ 27146 w 579405"/>
                <a:gd name="connsiteY164" fmla="*/ 73533 h 546544"/>
                <a:gd name="connsiteX165" fmla="*/ 29813 w 579405"/>
                <a:gd name="connsiteY165" fmla="*/ 65913 h 546544"/>
                <a:gd name="connsiteX166" fmla="*/ 29051 w 579405"/>
                <a:gd name="connsiteY166" fmla="*/ 60579 h 546544"/>
                <a:gd name="connsiteX167" fmla="*/ 32195 w 579405"/>
                <a:gd name="connsiteY167" fmla="*/ 56483 h 546544"/>
                <a:gd name="connsiteX168" fmla="*/ 36290 w 579405"/>
                <a:gd name="connsiteY168" fmla="*/ 59627 h 546544"/>
                <a:gd name="connsiteX169" fmla="*/ 53721 w 579405"/>
                <a:gd name="connsiteY169" fmla="*/ 53626 h 546544"/>
                <a:gd name="connsiteX170" fmla="*/ 54387 w 579405"/>
                <a:gd name="connsiteY170" fmla="*/ 44577 h 546544"/>
                <a:gd name="connsiteX171" fmla="*/ 56102 w 579405"/>
                <a:gd name="connsiteY171" fmla="*/ 44291 h 546544"/>
                <a:gd name="connsiteX172" fmla="*/ 55626 w 579405"/>
                <a:gd name="connsiteY172" fmla="*/ 40767 h 546544"/>
                <a:gd name="connsiteX173" fmla="*/ 58578 w 579405"/>
                <a:gd name="connsiteY173" fmla="*/ 34862 h 546544"/>
                <a:gd name="connsiteX174" fmla="*/ 56292 w 579405"/>
                <a:gd name="connsiteY174" fmla="*/ 31623 h 546544"/>
                <a:gd name="connsiteX175" fmla="*/ 54007 w 579405"/>
                <a:gd name="connsiteY175" fmla="*/ 28289 h 546544"/>
                <a:gd name="connsiteX176" fmla="*/ 57626 w 579405"/>
                <a:gd name="connsiteY176" fmla="*/ 27813 h 546544"/>
                <a:gd name="connsiteX177" fmla="*/ 61722 w 579405"/>
                <a:gd name="connsiteY177" fmla="*/ 30861 h 546544"/>
                <a:gd name="connsiteX178" fmla="*/ 65722 w 579405"/>
                <a:gd name="connsiteY178" fmla="*/ 34004 h 546544"/>
                <a:gd name="connsiteX179" fmla="*/ 74962 w 579405"/>
                <a:gd name="connsiteY179" fmla="*/ 34576 h 546544"/>
                <a:gd name="connsiteX180" fmla="*/ 77248 w 579405"/>
                <a:gd name="connsiteY180" fmla="*/ 37910 h 546544"/>
                <a:gd name="connsiteX181" fmla="*/ 80867 w 579405"/>
                <a:gd name="connsiteY181" fmla="*/ 37433 h 546544"/>
                <a:gd name="connsiteX182" fmla="*/ 85154 w 579405"/>
                <a:gd name="connsiteY182" fmla="*/ 42291 h 546544"/>
                <a:gd name="connsiteX183" fmla="*/ 90297 w 579405"/>
                <a:gd name="connsiteY183" fmla="*/ 39815 h 546544"/>
                <a:gd name="connsiteX184" fmla="*/ 98393 w 579405"/>
                <a:gd name="connsiteY184" fmla="*/ 45911 h 546544"/>
                <a:gd name="connsiteX185" fmla="*/ 108680 w 579405"/>
                <a:gd name="connsiteY185" fmla="*/ 40958 h 546544"/>
                <a:gd name="connsiteX186" fmla="*/ 108299 w 579405"/>
                <a:gd name="connsiteY186" fmla="*/ 37433 h 546544"/>
                <a:gd name="connsiteX187" fmla="*/ 107728 w 579405"/>
                <a:gd name="connsiteY187" fmla="*/ 33814 h 546544"/>
                <a:gd name="connsiteX188" fmla="*/ 118967 w 579405"/>
                <a:gd name="connsiteY188" fmla="*/ 21527 h 546544"/>
                <a:gd name="connsiteX189" fmla="*/ 122206 w 579405"/>
                <a:gd name="connsiteY189" fmla="*/ 4763 h 546544"/>
                <a:gd name="connsiteX190" fmla="*/ 150971 w 579405"/>
                <a:gd name="connsiteY190" fmla="*/ 953 h 546544"/>
                <a:gd name="connsiteX191" fmla="*/ 158115 w 579405"/>
                <a:gd name="connsiteY191" fmla="*/ 0 h 546544"/>
                <a:gd name="connsiteX192" fmla="*/ 166211 w 579405"/>
                <a:gd name="connsiteY192" fmla="*/ 6191 h 546544"/>
                <a:gd name="connsiteX193" fmla="*/ 167830 w 579405"/>
                <a:gd name="connsiteY193" fmla="*/ 4096 h 546544"/>
                <a:gd name="connsiteX194" fmla="*/ 173164 w 579405"/>
                <a:gd name="connsiteY194" fmla="*/ 3429 h 546544"/>
                <a:gd name="connsiteX195" fmla="*/ 180022 w 579405"/>
                <a:gd name="connsiteY195" fmla="*/ 13430 h 546544"/>
                <a:gd name="connsiteX196" fmla="*/ 190214 w 579405"/>
                <a:gd name="connsiteY196" fmla="*/ 21146 h 546544"/>
                <a:gd name="connsiteX197" fmla="*/ 192024 w 579405"/>
                <a:gd name="connsiteY197" fmla="*/ 35338 h 546544"/>
                <a:gd name="connsiteX198" fmla="*/ 191643 w 579405"/>
                <a:gd name="connsiteY198" fmla="*/ 46292 h 546544"/>
                <a:gd name="connsiteX199" fmla="*/ 199358 w 579405"/>
                <a:gd name="connsiteY199" fmla="*/ 48958 h 546544"/>
                <a:gd name="connsiteX200" fmla="*/ 200882 w 579405"/>
                <a:gd name="connsiteY200" fmla="*/ 46958 h 546544"/>
                <a:gd name="connsiteX201" fmla="*/ 210121 w 579405"/>
                <a:gd name="connsiteY201" fmla="*/ 47530 h 546544"/>
                <a:gd name="connsiteX202" fmla="*/ 228695 w 579405"/>
                <a:gd name="connsiteY202" fmla="*/ 36004 h 546544"/>
                <a:gd name="connsiteX203" fmla="*/ 246412 w 579405"/>
                <a:gd name="connsiteY203" fmla="*/ 31814 h 546544"/>
                <a:gd name="connsiteX204" fmla="*/ 256984 w 579405"/>
                <a:gd name="connsiteY204" fmla="*/ 28575 h 546544"/>
                <a:gd name="connsiteX205" fmla="*/ 266129 w 579405"/>
                <a:gd name="connsiteY205" fmla="*/ 29242 h 546544"/>
                <a:gd name="connsiteX206" fmla="*/ 269557 w 579405"/>
                <a:gd name="connsiteY206" fmla="*/ 26956 h 546544"/>
                <a:gd name="connsiteX207" fmla="*/ 272891 w 579405"/>
                <a:gd name="connsiteY207" fmla="*/ 24670 h 546544"/>
                <a:gd name="connsiteX208" fmla="*/ 284131 w 579405"/>
                <a:gd name="connsiteY208" fmla="*/ 26861 h 546544"/>
                <a:gd name="connsiteX209" fmla="*/ 287464 w 579405"/>
                <a:gd name="connsiteY209" fmla="*/ 24575 h 546544"/>
                <a:gd name="connsiteX210" fmla="*/ 296703 w 579405"/>
                <a:gd name="connsiteY210" fmla="*/ 25146 h 546544"/>
                <a:gd name="connsiteX211" fmla="*/ 308800 w 579405"/>
                <a:gd name="connsiteY211" fmla="*/ 19907 h 546544"/>
                <a:gd name="connsiteX212" fmla="*/ 319850 w 579405"/>
                <a:gd name="connsiteY212" fmla="*/ 34766 h 546544"/>
                <a:gd name="connsiteX213" fmla="*/ 339185 w 579405"/>
                <a:gd name="connsiteY213" fmla="*/ 28575 h 546544"/>
                <a:gd name="connsiteX214" fmla="*/ 344138 w 579405"/>
                <a:gd name="connsiteY214" fmla="*/ 24289 h 546544"/>
                <a:gd name="connsiteX215" fmla="*/ 349948 w 579405"/>
                <a:gd name="connsiteY215" fmla="*/ 27146 h 546544"/>
                <a:gd name="connsiteX216" fmla="*/ 355187 w 579405"/>
                <a:gd name="connsiteY216" fmla="*/ 39148 h 546544"/>
                <a:gd name="connsiteX217" fmla="*/ 369856 w 579405"/>
                <a:gd name="connsiteY217" fmla="*/ 53531 h 546544"/>
                <a:gd name="connsiteX218" fmla="*/ 381667 w 579405"/>
                <a:gd name="connsiteY218" fmla="*/ 59246 h 546544"/>
                <a:gd name="connsiteX219" fmla="*/ 391953 w 579405"/>
                <a:gd name="connsiteY219" fmla="*/ 54292 h 546544"/>
                <a:gd name="connsiteX220" fmla="*/ 397573 w 579405"/>
                <a:gd name="connsiteY220" fmla="*/ 55340 h 546544"/>
                <a:gd name="connsiteX221" fmla="*/ 401860 w 579405"/>
                <a:gd name="connsiteY221" fmla="*/ 60198 h 546544"/>
                <a:gd name="connsiteX222" fmla="*/ 426625 w 579405"/>
                <a:gd name="connsiteY222" fmla="*/ 67818 h 546544"/>
                <a:gd name="connsiteX223" fmla="*/ 433578 w 579405"/>
                <a:gd name="connsiteY223" fmla="*/ 65056 h 546544"/>
                <a:gd name="connsiteX224" fmla="*/ 439102 w 579405"/>
                <a:gd name="connsiteY224" fmla="*/ 51625 h 546544"/>
                <a:gd name="connsiteX225" fmla="*/ 446246 w 579405"/>
                <a:gd name="connsiteY225" fmla="*/ 50673 h 546544"/>
                <a:gd name="connsiteX226" fmla="*/ 461105 w 579405"/>
                <a:gd name="connsiteY226" fmla="*/ 52388 h 546544"/>
                <a:gd name="connsiteX227" fmla="*/ 468820 w 579405"/>
                <a:gd name="connsiteY227" fmla="*/ 54959 h 546544"/>
                <a:gd name="connsiteX228" fmla="*/ 471297 w 579405"/>
                <a:gd name="connsiteY228" fmla="*/ 60103 h 546544"/>
                <a:gd name="connsiteX229" fmla="*/ 476821 w 579405"/>
                <a:gd name="connsiteY229" fmla="*/ 88392 h 546544"/>
                <a:gd name="connsiteX230" fmla="*/ 483203 w 579405"/>
                <a:gd name="connsiteY230" fmla="*/ 94774 h 546544"/>
                <a:gd name="connsiteX231" fmla="*/ 490251 w 579405"/>
                <a:gd name="connsiteY231" fmla="*/ 106490 h 546544"/>
                <a:gd name="connsiteX232" fmla="*/ 497395 w 579405"/>
                <a:gd name="connsiteY232" fmla="*/ 105537 h 546544"/>
                <a:gd name="connsiteX233" fmla="*/ 509397 w 579405"/>
                <a:gd name="connsiteY233" fmla="*/ 113062 h 546544"/>
                <a:gd name="connsiteX234" fmla="*/ 514731 w 579405"/>
                <a:gd name="connsiteY234" fmla="*/ 112300 h 546544"/>
                <a:gd name="connsiteX235" fmla="*/ 523399 w 579405"/>
                <a:gd name="connsiteY235" fmla="*/ 122111 h 546544"/>
                <a:gd name="connsiteX236" fmla="*/ 523875 w 579405"/>
                <a:gd name="connsiteY236" fmla="*/ 125635 h 546544"/>
                <a:gd name="connsiteX237" fmla="*/ 522256 w 579405"/>
                <a:gd name="connsiteY237" fmla="*/ 127635 h 546544"/>
                <a:gd name="connsiteX238" fmla="*/ 524542 w 579405"/>
                <a:gd name="connsiteY238" fmla="*/ 130969 h 546544"/>
                <a:gd name="connsiteX239" fmla="*/ 531686 w 579405"/>
                <a:gd name="connsiteY239" fmla="*/ 130016 h 546544"/>
                <a:gd name="connsiteX240" fmla="*/ 537210 w 579405"/>
                <a:gd name="connsiteY240" fmla="*/ 143828 h 546544"/>
                <a:gd name="connsiteX241" fmla="*/ 531304 w 579405"/>
                <a:gd name="connsiteY241" fmla="*/ 168212 h 546544"/>
                <a:gd name="connsiteX242" fmla="*/ 540258 w 579405"/>
                <a:gd name="connsiteY242" fmla="*/ 166973 h 546544"/>
                <a:gd name="connsiteX243" fmla="*/ 547973 w 579405"/>
                <a:gd name="connsiteY243" fmla="*/ 169545 h 546544"/>
                <a:gd name="connsiteX244" fmla="*/ 556070 w 579405"/>
                <a:gd name="connsiteY244" fmla="*/ 175736 h 546544"/>
                <a:gd name="connsiteX245" fmla="*/ 561404 w 579405"/>
                <a:gd name="connsiteY245" fmla="*/ 175070 h 546544"/>
                <a:gd name="connsiteX246" fmla="*/ 567309 w 579405"/>
                <a:gd name="connsiteY246" fmla="*/ 177927 h 54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</a:cxnLst>
              <a:rect l="l" t="t" r="r" b="b"/>
              <a:pathLst>
                <a:path w="579405" h="546544">
                  <a:moveTo>
                    <a:pt x="567309" y="177927"/>
                  </a:moveTo>
                  <a:lnTo>
                    <a:pt x="570071" y="184785"/>
                  </a:lnTo>
                  <a:lnTo>
                    <a:pt x="570738" y="190119"/>
                  </a:lnTo>
                  <a:lnTo>
                    <a:pt x="579406" y="214408"/>
                  </a:lnTo>
                  <a:lnTo>
                    <a:pt x="573691" y="226028"/>
                  </a:lnTo>
                  <a:lnTo>
                    <a:pt x="565595" y="234315"/>
                  </a:lnTo>
                  <a:lnTo>
                    <a:pt x="570452" y="242792"/>
                  </a:lnTo>
                  <a:lnTo>
                    <a:pt x="563213" y="243745"/>
                  </a:lnTo>
                  <a:lnTo>
                    <a:pt x="558546" y="249746"/>
                  </a:lnTo>
                  <a:lnTo>
                    <a:pt x="546735" y="271272"/>
                  </a:lnTo>
                  <a:lnTo>
                    <a:pt x="535114" y="280035"/>
                  </a:lnTo>
                  <a:lnTo>
                    <a:pt x="508635" y="287179"/>
                  </a:lnTo>
                  <a:lnTo>
                    <a:pt x="505016" y="287655"/>
                  </a:lnTo>
                  <a:lnTo>
                    <a:pt x="495014" y="294418"/>
                  </a:lnTo>
                  <a:lnTo>
                    <a:pt x="479298" y="300133"/>
                  </a:lnTo>
                  <a:lnTo>
                    <a:pt x="479965" y="305467"/>
                  </a:lnTo>
                  <a:lnTo>
                    <a:pt x="478441" y="307467"/>
                  </a:lnTo>
                  <a:lnTo>
                    <a:pt x="462248" y="309658"/>
                  </a:lnTo>
                  <a:lnTo>
                    <a:pt x="453580" y="312611"/>
                  </a:lnTo>
                  <a:lnTo>
                    <a:pt x="446818" y="317087"/>
                  </a:lnTo>
                  <a:lnTo>
                    <a:pt x="434530" y="320612"/>
                  </a:lnTo>
                  <a:lnTo>
                    <a:pt x="431102" y="322802"/>
                  </a:lnTo>
                  <a:lnTo>
                    <a:pt x="409099" y="322136"/>
                  </a:lnTo>
                  <a:lnTo>
                    <a:pt x="405955" y="326136"/>
                  </a:lnTo>
                  <a:lnTo>
                    <a:pt x="402145" y="324898"/>
                  </a:lnTo>
                  <a:lnTo>
                    <a:pt x="397002" y="327374"/>
                  </a:lnTo>
                  <a:lnTo>
                    <a:pt x="391382" y="326327"/>
                  </a:lnTo>
                  <a:lnTo>
                    <a:pt x="386715" y="332327"/>
                  </a:lnTo>
                  <a:lnTo>
                    <a:pt x="382905" y="331089"/>
                  </a:lnTo>
                  <a:lnTo>
                    <a:pt x="376142" y="335566"/>
                  </a:lnTo>
                  <a:lnTo>
                    <a:pt x="376428" y="337375"/>
                  </a:lnTo>
                  <a:lnTo>
                    <a:pt x="379095" y="344234"/>
                  </a:lnTo>
                  <a:lnTo>
                    <a:pt x="377380" y="358997"/>
                  </a:lnTo>
                  <a:lnTo>
                    <a:pt x="359093" y="372237"/>
                  </a:lnTo>
                  <a:lnTo>
                    <a:pt x="356616" y="381667"/>
                  </a:lnTo>
                  <a:lnTo>
                    <a:pt x="344995" y="390430"/>
                  </a:lnTo>
                  <a:lnTo>
                    <a:pt x="346900" y="404717"/>
                  </a:lnTo>
                  <a:lnTo>
                    <a:pt x="344995" y="417671"/>
                  </a:lnTo>
                  <a:lnTo>
                    <a:pt x="353949" y="416433"/>
                  </a:lnTo>
                  <a:lnTo>
                    <a:pt x="351758" y="427577"/>
                  </a:lnTo>
                  <a:lnTo>
                    <a:pt x="354235" y="432721"/>
                  </a:lnTo>
                  <a:lnTo>
                    <a:pt x="347376" y="435483"/>
                  </a:lnTo>
                  <a:lnTo>
                    <a:pt x="349186" y="449675"/>
                  </a:lnTo>
                  <a:lnTo>
                    <a:pt x="347472" y="449961"/>
                  </a:lnTo>
                  <a:lnTo>
                    <a:pt x="341852" y="463391"/>
                  </a:lnTo>
                  <a:lnTo>
                    <a:pt x="333851" y="471678"/>
                  </a:lnTo>
                  <a:lnTo>
                    <a:pt x="334042" y="500634"/>
                  </a:lnTo>
                  <a:lnTo>
                    <a:pt x="340804" y="510635"/>
                  </a:lnTo>
                  <a:lnTo>
                    <a:pt x="325850" y="521684"/>
                  </a:lnTo>
                  <a:lnTo>
                    <a:pt x="324326" y="523684"/>
                  </a:lnTo>
                  <a:lnTo>
                    <a:pt x="325660" y="534448"/>
                  </a:lnTo>
                  <a:lnTo>
                    <a:pt x="320802" y="538734"/>
                  </a:lnTo>
                  <a:lnTo>
                    <a:pt x="316325" y="546544"/>
                  </a:lnTo>
                  <a:lnTo>
                    <a:pt x="304800" y="542639"/>
                  </a:lnTo>
                  <a:lnTo>
                    <a:pt x="303086" y="542830"/>
                  </a:lnTo>
                  <a:lnTo>
                    <a:pt x="300323" y="535972"/>
                  </a:lnTo>
                  <a:lnTo>
                    <a:pt x="298323" y="534448"/>
                  </a:lnTo>
                  <a:lnTo>
                    <a:pt x="290893" y="533591"/>
                  </a:lnTo>
                  <a:lnTo>
                    <a:pt x="294227" y="531305"/>
                  </a:lnTo>
                  <a:lnTo>
                    <a:pt x="288607" y="530257"/>
                  </a:lnTo>
                  <a:lnTo>
                    <a:pt x="284512" y="527209"/>
                  </a:lnTo>
                  <a:lnTo>
                    <a:pt x="280701" y="525875"/>
                  </a:lnTo>
                  <a:lnTo>
                    <a:pt x="276130" y="519208"/>
                  </a:lnTo>
                  <a:lnTo>
                    <a:pt x="265747" y="509683"/>
                  </a:lnTo>
                  <a:lnTo>
                    <a:pt x="260985" y="501301"/>
                  </a:lnTo>
                  <a:lnTo>
                    <a:pt x="258699" y="497967"/>
                  </a:lnTo>
                  <a:lnTo>
                    <a:pt x="237839" y="506159"/>
                  </a:lnTo>
                  <a:lnTo>
                    <a:pt x="238316" y="509683"/>
                  </a:lnTo>
                  <a:lnTo>
                    <a:pt x="232981" y="510445"/>
                  </a:lnTo>
                  <a:lnTo>
                    <a:pt x="224885" y="504254"/>
                  </a:lnTo>
                  <a:lnTo>
                    <a:pt x="223456" y="493585"/>
                  </a:lnTo>
                  <a:lnTo>
                    <a:pt x="219360" y="490442"/>
                  </a:lnTo>
                  <a:lnTo>
                    <a:pt x="215836" y="490918"/>
                  </a:lnTo>
                  <a:lnTo>
                    <a:pt x="213265" y="485870"/>
                  </a:lnTo>
                  <a:lnTo>
                    <a:pt x="214598" y="482060"/>
                  </a:lnTo>
                  <a:lnTo>
                    <a:pt x="208693" y="479203"/>
                  </a:lnTo>
                  <a:lnTo>
                    <a:pt x="201930" y="469201"/>
                  </a:lnTo>
                  <a:lnTo>
                    <a:pt x="200977" y="462058"/>
                  </a:lnTo>
                  <a:lnTo>
                    <a:pt x="196977" y="459010"/>
                  </a:lnTo>
                  <a:lnTo>
                    <a:pt x="193929" y="450342"/>
                  </a:lnTo>
                  <a:lnTo>
                    <a:pt x="193262" y="444913"/>
                  </a:lnTo>
                  <a:lnTo>
                    <a:pt x="182023" y="442817"/>
                  </a:lnTo>
                  <a:lnTo>
                    <a:pt x="173260" y="445770"/>
                  </a:lnTo>
                  <a:lnTo>
                    <a:pt x="167735" y="432054"/>
                  </a:lnTo>
                  <a:lnTo>
                    <a:pt x="162116" y="430911"/>
                  </a:lnTo>
                  <a:lnTo>
                    <a:pt x="158115" y="427863"/>
                  </a:lnTo>
                  <a:lnTo>
                    <a:pt x="154495" y="428339"/>
                  </a:lnTo>
                  <a:lnTo>
                    <a:pt x="151543" y="419671"/>
                  </a:lnTo>
                  <a:lnTo>
                    <a:pt x="152876" y="415862"/>
                  </a:lnTo>
                  <a:lnTo>
                    <a:pt x="148018" y="407480"/>
                  </a:lnTo>
                  <a:lnTo>
                    <a:pt x="147828" y="405670"/>
                  </a:lnTo>
                  <a:lnTo>
                    <a:pt x="154305" y="399383"/>
                  </a:lnTo>
                  <a:lnTo>
                    <a:pt x="157925" y="398907"/>
                  </a:lnTo>
                  <a:lnTo>
                    <a:pt x="157448" y="395288"/>
                  </a:lnTo>
                  <a:lnTo>
                    <a:pt x="153828" y="395764"/>
                  </a:lnTo>
                  <a:lnTo>
                    <a:pt x="153352" y="392240"/>
                  </a:lnTo>
                  <a:lnTo>
                    <a:pt x="158972" y="393287"/>
                  </a:lnTo>
                  <a:lnTo>
                    <a:pt x="161830" y="387477"/>
                  </a:lnTo>
                  <a:lnTo>
                    <a:pt x="156305" y="386429"/>
                  </a:lnTo>
                  <a:lnTo>
                    <a:pt x="161163" y="382143"/>
                  </a:lnTo>
                  <a:lnTo>
                    <a:pt x="155638" y="368332"/>
                  </a:lnTo>
                  <a:lnTo>
                    <a:pt x="136398" y="374523"/>
                  </a:lnTo>
                  <a:lnTo>
                    <a:pt x="131826" y="367856"/>
                  </a:lnTo>
                  <a:lnTo>
                    <a:pt x="126016" y="364998"/>
                  </a:lnTo>
                  <a:lnTo>
                    <a:pt x="123539" y="359950"/>
                  </a:lnTo>
                  <a:lnTo>
                    <a:pt x="126587" y="355854"/>
                  </a:lnTo>
                  <a:lnTo>
                    <a:pt x="115062" y="337471"/>
                  </a:lnTo>
                  <a:lnTo>
                    <a:pt x="107156" y="333089"/>
                  </a:lnTo>
                  <a:lnTo>
                    <a:pt x="108013" y="325755"/>
                  </a:lnTo>
                  <a:lnTo>
                    <a:pt x="114871" y="308515"/>
                  </a:lnTo>
                  <a:lnTo>
                    <a:pt x="114681" y="306705"/>
                  </a:lnTo>
                  <a:lnTo>
                    <a:pt x="96202" y="305467"/>
                  </a:lnTo>
                  <a:lnTo>
                    <a:pt x="90583" y="304419"/>
                  </a:lnTo>
                  <a:lnTo>
                    <a:pt x="91630" y="298799"/>
                  </a:lnTo>
                  <a:lnTo>
                    <a:pt x="89345" y="295561"/>
                  </a:lnTo>
                  <a:lnTo>
                    <a:pt x="73437" y="299466"/>
                  </a:lnTo>
                  <a:lnTo>
                    <a:pt x="68103" y="300133"/>
                  </a:lnTo>
                  <a:lnTo>
                    <a:pt x="64008" y="297085"/>
                  </a:lnTo>
                  <a:lnTo>
                    <a:pt x="62389" y="284607"/>
                  </a:lnTo>
                  <a:lnTo>
                    <a:pt x="55436" y="287369"/>
                  </a:lnTo>
                  <a:lnTo>
                    <a:pt x="44577" y="274225"/>
                  </a:lnTo>
                  <a:lnTo>
                    <a:pt x="35052" y="271844"/>
                  </a:lnTo>
                  <a:lnTo>
                    <a:pt x="33909" y="262985"/>
                  </a:lnTo>
                  <a:lnTo>
                    <a:pt x="47339" y="253937"/>
                  </a:lnTo>
                  <a:lnTo>
                    <a:pt x="51054" y="240792"/>
                  </a:lnTo>
                  <a:lnTo>
                    <a:pt x="59627" y="236029"/>
                  </a:lnTo>
                  <a:lnTo>
                    <a:pt x="62198" y="228410"/>
                  </a:lnTo>
                  <a:lnTo>
                    <a:pt x="68199" y="218599"/>
                  </a:lnTo>
                  <a:lnTo>
                    <a:pt x="71628" y="216313"/>
                  </a:lnTo>
                  <a:lnTo>
                    <a:pt x="67913" y="202311"/>
                  </a:lnTo>
                  <a:lnTo>
                    <a:pt x="76009" y="193929"/>
                  </a:lnTo>
                  <a:lnTo>
                    <a:pt x="77248" y="190119"/>
                  </a:lnTo>
                  <a:lnTo>
                    <a:pt x="74771" y="185071"/>
                  </a:lnTo>
                  <a:lnTo>
                    <a:pt x="68675" y="180404"/>
                  </a:lnTo>
                  <a:lnTo>
                    <a:pt x="65722" y="171736"/>
                  </a:lnTo>
                  <a:lnTo>
                    <a:pt x="59341" y="165354"/>
                  </a:lnTo>
                  <a:lnTo>
                    <a:pt x="54007" y="166021"/>
                  </a:lnTo>
                  <a:lnTo>
                    <a:pt x="47530" y="172307"/>
                  </a:lnTo>
                  <a:lnTo>
                    <a:pt x="43434" y="169259"/>
                  </a:lnTo>
                  <a:lnTo>
                    <a:pt x="36481" y="172021"/>
                  </a:lnTo>
                  <a:lnTo>
                    <a:pt x="29337" y="172974"/>
                  </a:lnTo>
                  <a:lnTo>
                    <a:pt x="23241" y="168307"/>
                  </a:lnTo>
                  <a:lnTo>
                    <a:pt x="30194" y="165545"/>
                  </a:lnTo>
                  <a:lnTo>
                    <a:pt x="31242" y="160020"/>
                  </a:lnTo>
                  <a:lnTo>
                    <a:pt x="29432" y="160211"/>
                  </a:lnTo>
                  <a:lnTo>
                    <a:pt x="22670" y="150304"/>
                  </a:lnTo>
                  <a:lnTo>
                    <a:pt x="17240" y="150971"/>
                  </a:lnTo>
                  <a:lnTo>
                    <a:pt x="9620" y="148400"/>
                  </a:lnTo>
                  <a:lnTo>
                    <a:pt x="8001" y="135922"/>
                  </a:lnTo>
                  <a:lnTo>
                    <a:pt x="2762" y="138398"/>
                  </a:lnTo>
                  <a:lnTo>
                    <a:pt x="2095" y="133064"/>
                  </a:lnTo>
                  <a:lnTo>
                    <a:pt x="6286" y="123444"/>
                  </a:lnTo>
                  <a:lnTo>
                    <a:pt x="2000" y="118586"/>
                  </a:lnTo>
                  <a:lnTo>
                    <a:pt x="0" y="116967"/>
                  </a:lnTo>
                  <a:lnTo>
                    <a:pt x="10287" y="112014"/>
                  </a:lnTo>
                  <a:lnTo>
                    <a:pt x="13430" y="107918"/>
                  </a:lnTo>
                  <a:lnTo>
                    <a:pt x="16764" y="105728"/>
                  </a:lnTo>
                  <a:lnTo>
                    <a:pt x="14764" y="104204"/>
                  </a:lnTo>
                  <a:lnTo>
                    <a:pt x="21431" y="99632"/>
                  </a:lnTo>
                  <a:lnTo>
                    <a:pt x="16383" y="89440"/>
                  </a:lnTo>
                  <a:lnTo>
                    <a:pt x="7811" y="79724"/>
                  </a:lnTo>
                  <a:lnTo>
                    <a:pt x="9144" y="75914"/>
                  </a:lnTo>
                  <a:lnTo>
                    <a:pt x="13240" y="78962"/>
                  </a:lnTo>
                  <a:lnTo>
                    <a:pt x="16573" y="76676"/>
                  </a:lnTo>
                  <a:lnTo>
                    <a:pt x="27146" y="73533"/>
                  </a:lnTo>
                  <a:lnTo>
                    <a:pt x="29813" y="65913"/>
                  </a:lnTo>
                  <a:lnTo>
                    <a:pt x="29051" y="60579"/>
                  </a:lnTo>
                  <a:lnTo>
                    <a:pt x="32195" y="56483"/>
                  </a:lnTo>
                  <a:lnTo>
                    <a:pt x="36290" y="59627"/>
                  </a:lnTo>
                  <a:lnTo>
                    <a:pt x="53721" y="53626"/>
                  </a:lnTo>
                  <a:lnTo>
                    <a:pt x="54387" y="44577"/>
                  </a:lnTo>
                  <a:lnTo>
                    <a:pt x="56102" y="44291"/>
                  </a:lnTo>
                  <a:lnTo>
                    <a:pt x="55626" y="40767"/>
                  </a:lnTo>
                  <a:lnTo>
                    <a:pt x="58578" y="34862"/>
                  </a:lnTo>
                  <a:lnTo>
                    <a:pt x="56292" y="31623"/>
                  </a:lnTo>
                  <a:lnTo>
                    <a:pt x="54007" y="28289"/>
                  </a:lnTo>
                  <a:lnTo>
                    <a:pt x="57626" y="27813"/>
                  </a:lnTo>
                  <a:lnTo>
                    <a:pt x="61722" y="30861"/>
                  </a:lnTo>
                  <a:lnTo>
                    <a:pt x="65722" y="34004"/>
                  </a:lnTo>
                  <a:lnTo>
                    <a:pt x="74962" y="34576"/>
                  </a:lnTo>
                  <a:lnTo>
                    <a:pt x="77248" y="37910"/>
                  </a:lnTo>
                  <a:lnTo>
                    <a:pt x="80867" y="37433"/>
                  </a:lnTo>
                  <a:lnTo>
                    <a:pt x="85154" y="42291"/>
                  </a:lnTo>
                  <a:lnTo>
                    <a:pt x="90297" y="39815"/>
                  </a:lnTo>
                  <a:lnTo>
                    <a:pt x="98393" y="45911"/>
                  </a:lnTo>
                  <a:lnTo>
                    <a:pt x="108680" y="40958"/>
                  </a:lnTo>
                  <a:lnTo>
                    <a:pt x="108299" y="37433"/>
                  </a:lnTo>
                  <a:lnTo>
                    <a:pt x="107728" y="33814"/>
                  </a:lnTo>
                  <a:lnTo>
                    <a:pt x="118967" y="21527"/>
                  </a:lnTo>
                  <a:lnTo>
                    <a:pt x="122206" y="4763"/>
                  </a:lnTo>
                  <a:lnTo>
                    <a:pt x="150971" y="953"/>
                  </a:lnTo>
                  <a:lnTo>
                    <a:pt x="158115" y="0"/>
                  </a:lnTo>
                  <a:lnTo>
                    <a:pt x="166211" y="6191"/>
                  </a:lnTo>
                  <a:lnTo>
                    <a:pt x="167830" y="4096"/>
                  </a:lnTo>
                  <a:lnTo>
                    <a:pt x="173164" y="3429"/>
                  </a:lnTo>
                  <a:lnTo>
                    <a:pt x="180022" y="13430"/>
                  </a:lnTo>
                  <a:lnTo>
                    <a:pt x="190214" y="21146"/>
                  </a:lnTo>
                  <a:lnTo>
                    <a:pt x="192024" y="35338"/>
                  </a:lnTo>
                  <a:lnTo>
                    <a:pt x="191643" y="46292"/>
                  </a:lnTo>
                  <a:lnTo>
                    <a:pt x="199358" y="48958"/>
                  </a:lnTo>
                  <a:lnTo>
                    <a:pt x="200882" y="46958"/>
                  </a:lnTo>
                  <a:lnTo>
                    <a:pt x="210121" y="47530"/>
                  </a:lnTo>
                  <a:lnTo>
                    <a:pt x="228695" y="36004"/>
                  </a:lnTo>
                  <a:lnTo>
                    <a:pt x="246412" y="31814"/>
                  </a:lnTo>
                  <a:lnTo>
                    <a:pt x="256984" y="28575"/>
                  </a:lnTo>
                  <a:lnTo>
                    <a:pt x="266129" y="29242"/>
                  </a:lnTo>
                  <a:lnTo>
                    <a:pt x="269557" y="26956"/>
                  </a:lnTo>
                  <a:lnTo>
                    <a:pt x="272891" y="24670"/>
                  </a:lnTo>
                  <a:lnTo>
                    <a:pt x="284131" y="26861"/>
                  </a:lnTo>
                  <a:lnTo>
                    <a:pt x="287464" y="24575"/>
                  </a:lnTo>
                  <a:lnTo>
                    <a:pt x="296703" y="25146"/>
                  </a:lnTo>
                  <a:lnTo>
                    <a:pt x="308800" y="19907"/>
                  </a:lnTo>
                  <a:lnTo>
                    <a:pt x="319850" y="34766"/>
                  </a:lnTo>
                  <a:lnTo>
                    <a:pt x="339185" y="28575"/>
                  </a:lnTo>
                  <a:lnTo>
                    <a:pt x="344138" y="24289"/>
                  </a:lnTo>
                  <a:lnTo>
                    <a:pt x="349948" y="27146"/>
                  </a:lnTo>
                  <a:lnTo>
                    <a:pt x="355187" y="39148"/>
                  </a:lnTo>
                  <a:lnTo>
                    <a:pt x="369856" y="53531"/>
                  </a:lnTo>
                  <a:lnTo>
                    <a:pt x="381667" y="59246"/>
                  </a:lnTo>
                  <a:lnTo>
                    <a:pt x="391953" y="54292"/>
                  </a:lnTo>
                  <a:lnTo>
                    <a:pt x="397573" y="55340"/>
                  </a:lnTo>
                  <a:lnTo>
                    <a:pt x="401860" y="60198"/>
                  </a:lnTo>
                  <a:lnTo>
                    <a:pt x="426625" y="67818"/>
                  </a:lnTo>
                  <a:lnTo>
                    <a:pt x="433578" y="65056"/>
                  </a:lnTo>
                  <a:lnTo>
                    <a:pt x="439102" y="51625"/>
                  </a:lnTo>
                  <a:lnTo>
                    <a:pt x="446246" y="50673"/>
                  </a:lnTo>
                  <a:lnTo>
                    <a:pt x="461105" y="52388"/>
                  </a:lnTo>
                  <a:lnTo>
                    <a:pt x="468820" y="54959"/>
                  </a:lnTo>
                  <a:lnTo>
                    <a:pt x="471297" y="60103"/>
                  </a:lnTo>
                  <a:lnTo>
                    <a:pt x="476821" y="88392"/>
                  </a:lnTo>
                  <a:lnTo>
                    <a:pt x="483203" y="94774"/>
                  </a:lnTo>
                  <a:lnTo>
                    <a:pt x="490251" y="106490"/>
                  </a:lnTo>
                  <a:lnTo>
                    <a:pt x="497395" y="105537"/>
                  </a:lnTo>
                  <a:lnTo>
                    <a:pt x="509397" y="113062"/>
                  </a:lnTo>
                  <a:lnTo>
                    <a:pt x="514731" y="112300"/>
                  </a:lnTo>
                  <a:lnTo>
                    <a:pt x="523399" y="122111"/>
                  </a:lnTo>
                  <a:lnTo>
                    <a:pt x="523875" y="125635"/>
                  </a:lnTo>
                  <a:lnTo>
                    <a:pt x="522256" y="127635"/>
                  </a:lnTo>
                  <a:lnTo>
                    <a:pt x="524542" y="130969"/>
                  </a:lnTo>
                  <a:lnTo>
                    <a:pt x="531686" y="130016"/>
                  </a:lnTo>
                  <a:lnTo>
                    <a:pt x="537210" y="143828"/>
                  </a:lnTo>
                  <a:lnTo>
                    <a:pt x="531304" y="168212"/>
                  </a:lnTo>
                  <a:lnTo>
                    <a:pt x="540258" y="166973"/>
                  </a:lnTo>
                  <a:lnTo>
                    <a:pt x="547973" y="169545"/>
                  </a:lnTo>
                  <a:lnTo>
                    <a:pt x="556070" y="175736"/>
                  </a:lnTo>
                  <a:lnTo>
                    <a:pt x="561404" y="175070"/>
                  </a:lnTo>
                  <a:lnTo>
                    <a:pt x="567309" y="1779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0" name="Volný tvar: obrazec 59">
              <a:extLst>
                <a:ext uri="{FF2B5EF4-FFF2-40B4-BE49-F238E27FC236}">
                  <a16:creationId xmlns:a16="http://schemas.microsoft.com/office/drawing/2014/main" id="{67FBC7C6-429D-712C-9C9A-D899C5FD6213}"/>
                </a:ext>
              </a:extLst>
            </p:cNvPr>
            <p:cNvSpPr/>
            <p:nvPr userDrawn="1"/>
          </p:nvSpPr>
          <p:spPr>
            <a:xfrm>
              <a:off x="7560944" y="3840765"/>
              <a:ext cx="657891" cy="548544"/>
            </a:xfrm>
            <a:custGeom>
              <a:avLst/>
              <a:gdLst>
                <a:gd name="connsiteX0" fmla="*/ 7334 w 657891"/>
                <a:gd name="connsiteY0" fmla="*/ 531781 h 548544"/>
                <a:gd name="connsiteX1" fmla="*/ 4763 w 657891"/>
                <a:gd name="connsiteY1" fmla="*/ 526733 h 548544"/>
                <a:gd name="connsiteX2" fmla="*/ 3239 w 657891"/>
                <a:gd name="connsiteY2" fmla="*/ 528733 h 548544"/>
                <a:gd name="connsiteX3" fmla="*/ 2477 w 657891"/>
                <a:gd name="connsiteY3" fmla="*/ 508921 h 548544"/>
                <a:gd name="connsiteX4" fmla="*/ 15240 w 657891"/>
                <a:gd name="connsiteY4" fmla="*/ 509016 h 548544"/>
                <a:gd name="connsiteX5" fmla="*/ 21146 w 657891"/>
                <a:gd name="connsiteY5" fmla="*/ 511874 h 548544"/>
                <a:gd name="connsiteX6" fmla="*/ 26003 w 657891"/>
                <a:gd name="connsiteY6" fmla="*/ 507587 h 548544"/>
                <a:gd name="connsiteX7" fmla="*/ 24575 w 657891"/>
                <a:gd name="connsiteY7" fmla="*/ 496919 h 548544"/>
                <a:gd name="connsiteX8" fmla="*/ 26384 w 657891"/>
                <a:gd name="connsiteY8" fmla="*/ 496634 h 548544"/>
                <a:gd name="connsiteX9" fmla="*/ 31528 w 657891"/>
                <a:gd name="connsiteY9" fmla="*/ 479679 h 548544"/>
                <a:gd name="connsiteX10" fmla="*/ 31909 w 657891"/>
                <a:gd name="connsiteY10" fmla="*/ 468725 h 548544"/>
                <a:gd name="connsiteX11" fmla="*/ 36767 w 657891"/>
                <a:gd name="connsiteY11" fmla="*/ 464439 h 548544"/>
                <a:gd name="connsiteX12" fmla="*/ 44196 w 657891"/>
                <a:gd name="connsiteY12" fmla="*/ 465296 h 548544"/>
                <a:gd name="connsiteX13" fmla="*/ 46482 w 657891"/>
                <a:gd name="connsiteY13" fmla="*/ 468630 h 548544"/>
                <a:gd name="connsiteX14" fmla="*/ 51816 w 657891"/>
                <a:gd name="connsiteY14" fmla="*/ 467868 h 548544"/>
                <a:gd name="connsiteX15" fmla="*/ 51149 w 657891"/>
                <a:gd name="connsiteY15" fmla="*/ 462534 h 548544"/>
                <a:gd name="connsiteX16" fmla="*/ 54483 w 657891"/>
                <a:gd name="connsiteY16" fmla="*/ 460248 h 548544"/>
                <a:gd name="connsiteX17" fmla="*/ 58293 w 657891"/>
                <a:gd name="connsiteY17" fmla="*/ 461582 h 548544"/>
                <a:gd name="connsiteX18" fmla="*/ 59627 w 657891"/>
                <a:gd name="connsiteY18" fmla="*/ 457772 h 548544"/>
                <a:gd name="connsiteX19" fmla="*/ 65532 w 657891"/>
                <a:gd name="connsiteY19" fmla="*/ 460629 h 548544"/>
                <a:gd name="connsiteX20" fmla="*/ 72581 w 657891"/>
                <a:gd name="connsiteY20" fmla="*/ 430721 h 548544"/>
                <a:gd name="connsiteX21" fmla="*/ 75914 w 657891"/>
                <a:gd name="connsiteY21" fmla="*/ 428434 h 548544"/>
                <a:gd name="connsiteX22" fmla="*/ 73628 w 657891"/>
                <a:gd name="connsiteY22" fmla="*/ 425101 h 548544"/>
                <a:gd name="connsiteX23" fmla="*/ 75438 w 657891"/>
                <a:gd name="connsiteY23" fmla="*/ 424910 h 548544"/>
                <a:gd name="connsiteX24" fmla="*/ 73152 w 657891"/>
                <a:gd name="connsiteY24" fmla="*/ 421576 h 548544"/>
                <a:gd name="connsiteX25" fmla="*/ 76295 w 657891"/>
                <a:gd name="connsiteY25" fmla="*/ 417576 h 548544"/>
                <a:gd name="connsiteX26" fmla="*/ 78200 w 657891"/>
                <a:gd name="connsiteY26" fmla="*/ 404622 h 548544"/>
                <a:gd name="connsiteX27" fmla="*/ 75438 w 657891"/>
                <a:gd name="connsiteY27" fmla="*/ 397669 h 548544"/>
                <a:gd name="connsiteX28" fmla="*/ 71914 w 657891"/>
                <a:gd name="connsiteY28" fmla="*/ 398145 h 548544"/>
                <a:gd name="connsiteX29" fmla="*/ 65818 w 657891"/>
                <a:gd name="connsiteY29" fmla="*/ 408051 h 548544"/>
                <a:gd name="connsiteX30" fmla="*/ 59150 w 657891"/>
                <a:gd name="connsiteY30" fmla="*/ 412528 h 548544"/>
                <a:gd name="connsiteX31" fmla="*/ 56864 w 657891"/>
                <a:gd name="connsiteY31" fmla="*/ 409194 h 548544"/>
                <a:gd name="connsiteX32" fmla="*/ 53245 w 657891"/>
                <a:gd name="connsiteY32" fmla="*/ 409670 h 548544"/>
                <a:gd name="connsiteX33" fmla="*/ 49435 w 657891"/>
                <a:gd name="connsiteY33" fmla="*/ 408337 h 548544"/>
                <a:gd name="connsiteX34" fmla="*/ 35052 w 657891"/>
                <a:gd name="connsiteY34" fmla="*/ 410242 h 548544"/>
                <a:gd name="connsiteX35" fmla="*/ 35814 w 657891"/>
                <a:gd name="connsiteY35" fmla="*/ 415671 h 548544"/>
                <a:gd name="connsiteX36" fmla="*/ 29718 w 657891"/>
                <a:gd name="connsiteY36" fmla="*/ 411004 h 548544"/>
                <a:gd name="connsiteX37" fmla="*/ 36195 w 657891"/>
                <a:gd name="connsiteY37" fmla="*/ 404717 h 548544"/>
                <a:gd name="connsiteX38" fmla="*/ 35243 w 657891"/>
                <a:gd name="connsiteY38" fmla="*/ 397574 h 548544"/>
                <a:gd name="connsiteX39" fmla="*/ 37052 w 657891"/>
                <a:gd name="connsiteY39" fmla="*/ 397288 h 548544"/>
                <a:gd name="connsiteX40" fmla="*/ 43529 w 657891"/>
                <a:gd name="connsiteY40" fmla="*/ 391097 h 548544"/>
                <a:gd name="connsiteX41" fmla="*/ 43053 w 657891"/>
                <a:gd name="connsiteY41" fmla="*/ 387477 h 548544"/>
                <a:gd name="connsiteX42" fmla="*/ 41243 w 657891"/>
                <a:gd name="connsiteY42" fmla="*/ 387763 h 548544"/>
                <a:gd name="connsiteX43" fmla="*/ 37148 w 657891"/>
                <a:gd name="connsiteY43" fmla="*/ 384619 h 548544"/>
                <a:gd name="connsiteX44" fmla="*/ 33338 w 657891"/>
                <a:gd name="connsiteY44" fmla="*/ 383381 h 548544"/>
                <a:gd name="connsiteX45" fmla="*/ 31433 w 657891"/>
                <a:gd name="connsiteY45" fmla="*/ 369094 h 548544"/>
                <a:gd name="connsiteX46" fmla="*/ 24860 w 657891"/>
                <a:gd name="connsiteY46" fmla="*/ 360902 h 548544"/>
                <a:gd name="connsiteX47" fmla="*/ 19050 w 657891"/>
                <a:gd name="connsiteY47" fmla="*/ 358045 h 548544"/>
                <a:gd name="connsiteX48" fmla="*/ 27718 w 657891"/>
                <a:gd name="connsiteY48" fmla="*/ 340614 h 548544"/>
                <a:gd name="connsiteX49" fmla="*/ 26289 w 657891"/>
                <a:gd name="connsiteY49" fmla="*/ 329851 h 548544"/>
                <a:gd name="connsiteX50" fmla="*/ 18383 w 657891"/>
                <a:gd name="connsiteY50" fmla="*/ 325469 h 548544"/>
                <a:gd name="connsiteX51" fmla="*/ 17621 w 657891"/>
                <a:gd name="connsiteY51" fmla="*/ 320135 h 548544"/>
                <a:gd name="connsiteX52" fmla="*/ 11811 w 657891"/>
                <a:gd name="connsiteY52" fmla="*/ 317278 h 548544"/>
                <a:gd name="connsiteX53" fmla="*/ 12668 w 657891"/>
                <a:gd name="connsiteY53" fmla="*/ 309944 h 548544"/>
                <a:gd name="connsiteX54" fmla="*/ 19145 w 657891"/>
                <a:gd name="connsiteY54" fmla="*/ 303657 h 548544"/>
                <a:gd name="connsiteX55" fmla="*/ 22289 w 657891"/>
                <a:gd name="connsiteY55" fmla="*/ 299561 h 548544"/>
                <a:gd name="connsiteX56" fmla="*/ 29242 w 657891"/>
                <a:gd name="connsiteY56" fmla="*/ 296894 h 548544"/>
                <a:gd name="connsiteX57" fmla="*/ 31147 w 657891"/>
                <a:gd name="connsiteY57" fmla="*/ 283845 h 548544"/>
                <a:gd name="connsiteX58" fmla="*/ 30956 w 657891"/>
                <a:gd name="connsiteY58" fmla="*/ 282131 h 548544"/>
                <a:gd name="connsiteX59" fmla="*/ 37148 w 657891"/>
                <a:gd name="connsiteY59" fmla="*/ 274034 h 548544"/>
                <a:gd name="connsiteX60" fmla="*/ 39243 w 657891"/>
                <a:gd name="connsiteY60" fmla="*/ 275558 h 548544"/>
                <a:gd name="connsiteX61" fmla="*/ 41720 w 657891"/>
                <a:gd name="connsiteY61" fmla="*/ 280702 h 548544"/>
                <a:gd name="connsiteX62" fmla="*/ 47054 w 657891"/>
                <a:gd name="connsiteY62" fmla="*/ 279940 h 548544"/>
                <a:gd name="connsiteX63" fmla="*/ 49340 w 657891"/>
                <a:gd name="connsiteY63" fmla="*/ 283274 h 548544"/>
                <a:gd name="connsiteX64" fmla="*/ 50959 w 657891"/>
                <a:gd name="connsiteY64" fmla="*/ 281273 h 548544"/>
                <a:gd name="connsiteX65" fmla="*/ 50959 w 657891"/>
                <a:gd name="connsiteY65" fmla="*/ 281273 h 548544"/>
                <a:gd name="connsiteX66" fmla="*/ 53150 w 657891"/>
                <a:gd name="connsiteY66" fmla="*/ 284607 h 548544"/>
                <a:gd name="connsiteX67" fmla="*/ 54007 w 657891"/>
                <a:gd name="connsiteY67" fmla="*/ 277273 h 548544"/>
                <a:gd name="connsiteX68" fmla="*/ 56483 w 657891"/>
                <a:gd name="connsiteY68" fmla="*/ 267843 h 548544"/>
                <a:gd name="connsiteX69" fmla="*/ 52864 w 657891"/>
                <a:gd name="connsiteY69" fmla="*/ 268319 h 548544"/>
                <a:gd name="connsiteX70" fmla="*/ 51911 w 657891"/>
                <a:gd name="connsiteY70" fmla="*/ 261175 h 548544"/>
                <a:gd name="connsiteX71" fmla="*/ 56579 w 657891"/>
                <a:gd name="connsiteY71" fmla="*/ 255175 h 548544"/>
                <a:gd name="connsiteX72" fmla="*/ 63818 w 657891"/>
                <a:gd name="connsiteY72" fmla="*/ 254222 h 548544"/>
                <a:gd name="connsiteX73" fmla="*/ 68961 w 657891"/>
                <a:gd name="connsiteY73" fmla="*/ 251746 h 548544"/>
                <a:gd name="connsiteX74" fmla="*/ 62579 w 657891"/>
                <a:gd name="connsiteY74" fmla="*/ 245269 h 548544"/>
                <a:gd name="connsiteX75" fmla="*/ 65913 w 657891"/>
                <a:gd name="connsiteY75" fmla="*/ 243078 h 548544"/>
                <a:gd name="connsiteX76" fmla="*/ 71342 w 657891"/>
                <a:gd name="connsiteY76" fmla="*/ 242316 h 548544"/>
                <a:gd name="connsiteX77" fmla="*/ 74104 w 657891"/>
                <a:gd name="connsiteY77" fmla="*/ 249174 h 548544"/>
                <a:gd name="connsiteX78" fmla="*/ 82010 w 657891"/>
                <a:gd name="connsiteY78" fmla="*/ 253651 h 548544"/>
                <a:gd name="connsiteX79" fmla="*/ 85344 w 657891"/>
                <a:gd name="connsiteY79" fmla="*/ 251365 h 548544"/>
                <a:gd name="connsiteX80" fmla="*/ 84582 w 657891"/>
                <a:gd name="connsiteY80" fmla="*/ 246031 h 548544"/>
                <a:gd name="connsiteX81" fmla="*/ 92012 w 657891"/>
                <a:gd name="connsiteY81" fmla="*/ 246793 h 548544"/>
                <a:gd name="connsiteX82" fmla="*/ 94964 w 657891"/>
                <a:gd name="connsiteY82" fmla="*/ 240983 h 548544"/>
                <a:gd name="connsiteX83" fmla="*/ 100298 w 657891"/>
                <a:gd name="connsiteY83" fmla="*/ 240316 h 548544"/>
                <a:gd name="connsiteX84" fmla="*/ 110014 w 657891"/>
                <a:gd name="connsiteY84" fmla="*/ 244507 h 548544"/>
                <a:gd name="connsiteX85" fmla="*/ 113633 w 657891"/>
                <a:gd name="connsiteY85" fmla="*/ 243935 h 548544"/>
                <a:gd name="connsiteX86" fmla="*/ 118491 w 657891"/>
                <a:gd name="connsiteY86" fmla="*/ 239744 h 548544"/>
                <a:gd name="connsiteX87" fmla="*/ 121349 w 657891"/>
                <a:gd name="connsiteY87" fmla="*/ 233934 h 548544"/>
                <a:gd name="connsiteX88" fmla="*/ 123920 w 657891"/>
                <a:gd name="connsiteY88" fmla="*/ 238982 h 548544"/>
                <a:gd name="connsiteX89" fmla="*/ 125444 w 657891"/>
                <a:gd name="connsiteY89" fmla="*/ 236982 h 548544"/>
                <a:gd name="connsiteX90" fmla="*/ 135636 w 657891"/>
                <a:gd name="connsiteY90" fmla="*/ 244697 h 548544"/>
                <a:gd name="connsiteX91" fmla="*/ 136970 w 657891"/>
                <a:gd name="connsiteY91" fmla="*/ 240887 h 548544"/>
                <a:gd name="connsiteX92" fmla="*/ 140779 w 657891"/>
                <a:gd name="connsiteY92" fmla="*/ 242221 h 548544"/>
                <a:gd name="connsiteX93" fmla="*/ 152686 w 657891"/>
                <a:gd name="connsiteY93" fmla="*/ 235172 h 548544"/>
                <a:gd name="connsiteX94" fmla="*/ 156020 w 657891"/>
                <a:gd name="connsiteY94" fmla="*/ 232886 h 548544"/>
                <a:gd name="connsiteX95" fmla="*/ 152210 w 657891"/>
                <a:gd name="connsiteY95" fmla="*/ 231648 h 548544"/>
                <a:gd name="connsiteX96" fmla="*/ 153543 w 657891"/>
                <a:gd name="connsiteY96" fmla="*/ 227838 h 548544"/>
                <a:gd name="connsiteX97" fmla="*/ 160211 w 657891"/>
                <a:gd name="connsiteY97" fmla="*/ 223361 h 548544"/>
                <a:gd name="connsiteX98" fmla="*/ 161544 w 657891"/>
                <a:gd name="connsiteY98" fmla="*/ 219456 h 548544"/>
                <a:gd name="connsiteX99" fmla="*/ 165164 w 657891"/>
                <a:gd name="connsiteY99" fmla="*/ 219075 h 548544"/>
                <a:gd name="connsiteX100" fmla="*/ 162878 w 657891"/>
                <a:gd name="connsiteY100" fmla="*/ 215741 h 548544"/>
                <a:gd name="connsiteX101" fmla="*/ 168212 w 657891"/>
                <a:gd name="connsiteY101" fmla="*/ 214979 h 548544"/>
                <a:gd name="connsiteX102" fmla="*/ 167831 w 657891"/>
                <a:gd name="connsiteY102" fmla="*/ 211455 h 548544"/>
                <a:gd name="connsiteX103" fmla="*/ 169545 w 657891"/>
                <a:gd name="connsiteY103" fmla="*/ 211169 h 548544"/>
                <a:gd name="connsiteX104" fmla="*/ 172593 w 657891"/>
                <a:gd name="connsiteY104" fmla="*/ 192691 h 548544"/>
                <a:gd name="connsiteX105" fmla="*/ 176403 w 657891"/>
                <a:gd name="connsiteY105" fmla="*/ 194024 h 548544"/>
                <a:gd name="connsiteX106" fmla="*/ 183356 w 657891"/>
                <a:gd name="connsiteY106" fmla="*/ 191262 h 548544"/>
                <a:gd name="connsiteX107" fmla="*/ 184690 w 657891"/>
                <a:gd name="connsiteY107" fmla="*/ 187452 h 548544"/>
                <a:gd name="connsiteX108" fmla="*/ 190595 w 657891"/>
                <a:gd name="connsiteY108" fmla="*/ 190310 h 548544"/>
                <a:gd name="connsiteX109" fmla="*/ 194501 w 657891"/>
                <a:gd name="connsiteY109" fmla="*/ 178879 h 548544"/>
                <a:gd name="connsiteX110" fmla="*/ 199930 w 657891"/>
                <a:gd name="connsiteY110" fmla="*/ 178213 h 548544"/>
                <a:gd name="connsiteX111" fmla="*/ 201454 w 657891"/>
                <a:gd name="connsiteY111" fmla="*/ 176117 h 548544"/>
                <a:gd name="connsiteX112" fmla="*/ 208693 w 657891"/>
                <a:gd name="connsiteY112" fmla="*/ 175165 h 548544"/>
                <a:gd name="connsiteX113" fmla="*/ 205931 w 657891"/>
                <a:gd name="connsiteY113" fmla="*/ 168307 h 548544"/>
                <a:gd name="connsiteX114" fmla="*/ 207454 w 657891"/>
                <a:gd name="connsiteY114" fmla="*/ 166307 h 548544"/>
                <a:gd name="connsiteX115" fmla="*/ 204502 w 657891"/>
                <a:gd name="connsiteY115" fmla="*/ 157639 h 548544"/>
                <a:gd name="connsiteX116" fmla="*/ 204311 w 657891"/>
                <a:gd name="connsiteY116" fmla="*/ 155829 h 548544"/>
                <a:gd name="connsiteX117" fmla="*/ 196406 w 657891"/>
                <a:gd name="connsiteY117" fmla="*/ 151448 h 548544"/>
                <a:gd name="connsiteX118" fmla="*/ 195929 w 657891"/>
                <a:gd name="connsiteY118" fmla="*/ 147923 h 548544"/>
                <a:gd name="connsiteX119" fmla="*/ 191358 w 657891"/>
                <a:gd name="connsiteY119" fmla="*/ 141256 h 548544"/>
                <a:gd name="connsiteX120" fmla="*/ 189929 w 657891"/>
                <a:gd name="connsiteY120" fmla="*/ 130492 h 548544"/>
                <a:gd name="connsiteX121" fmla="*/ 187452 w 657891"/>
                <a:gd name="connsiteY121" fmla="*/ 125444 h 548544"/>
                <a:gd name="connsiteX122" fmla="*/ 186976 w 657891"/>
                <a:gd name="connsiteY122" fmla="*/ 121825 h 548544"/>
                <a:gd name="connsiteX123" fmla="*/ 190595 w 657891"/>
                <a:gd name="connsiteY123" fmla="*/ 121444 h 548544"/>
                <a:gd name="connsiteX124" fmla="*/ 189452 w 657891"/>
                <a:gd name="connsiteY124" fmla="*/ 112490 h 548544"/>
                <a:gd name="connsiteX125" fmla="*/ 192977 w 657891"/>
                <a:gd name="connsiteY125" fmla="*/ 112014 h 548544"/>
                <a:gd name="connsiteX126" fmla="*/ 196120 w 657891"/>
                <a:gd name="connsiteY126" fmla="*/ 108014 h 548544"/>
                <a:gd name="connsiteX127" fmla="*/ 194025 w 657891"/>
                <a:gd name="connsiteY127" fmla="*/ 106394 h 548544"/>
                <a:gd name="connsiteX128" fmla="*/ 200787 w 657891"/>
                <a:gd name="connsiteY128" fmla="*/ 101917 h 548544"/>
                <a:gd name="connsiteX129" fmla="*/ 201073 w 657891"/>
                <a:gd name="connsiteY129" fmla="*/ 103727 h 548544"/>
                <a:gd name="connsiteX130" fmla="*/ 202406 w 657891"/>
                <a:gd name="connsiteY130" fmla="*/ 99917 h 548544"/>
                <a:gd name="connsiteX131" fmla="*/ 200596 w 657891"/>
                <a:gd name="connsiteY131" fmla="*/ 100108 h 548544"/>
                <a:gd name="connsiteX132" fmla="*/ 203740 w 657891"/>
                <a:gd name="connsiteY132" fmla="*/ 96107 h 548544"/>
                <a:gd name="connsiteX133" fmla="*/ 206121 w 657891"/>
                <a:gd name="connsiteY133" fmla="*/ 86678 h 548544"/>
                <a:gd name="connsiteX134" fmla="*/ 213265 w 657891"/>
                <a:gd name="connsiteY134" fmla="*/ 85725 h 548544"/>
                <a:gd name="connsiteX135" fmla="*/ 213075 w 657891"/>
                <a:gd name="connsiteY135" fmla="*/ 84011 h 548544"/>
                <a:gd name="connsiteX136" fmla="*/ 218408 w 657891"/>
                <a:gd name="connsiteY136" fmla="*/ 83249 h 548544"/>
                <a:gd name="connsiteX137" fmla="*/ 217932 w 657891"/>
                <a:gd name="connsiteY137" fmla="*/ 79724 h 548544"/>
                <a:gd name="connsiteX138" fmla="*/ 219742 w 657891"/>
                <a:gd name="connsiteY138" fmla="*/ 79439 h 548544"/>
                <a:gd name="connsiteX139" fmla="*/ 228410 w 657891"/>
                <a:gd name="connsiteY139" fmla="*/ 89154 h 548544"/>
                <a:gd name="connsiteX140" fmla="*/ 232220 w 657891"/>
                <a:gd name="connsiteY140" fmla="*/ 90488 h 548544"/>
                <a:gd name="connsiteX141" fmla="*/ 230410 w 657891"/>
                <a:gd name="connsiteY141" fmla="*/ 90773 h 548544"/>
                <a:gd name="connsiteX142" fmla="*/ 225933 w 657891"/>
                <a:gd name="connsiteY142" fmla="*/ 98584 h 548544"/>
                <a:gd name="connsiteX143" fmla="*/ 225838 w 657891"/>
                <a:gd name="connsiteY143" fmla="*/ 111252 h 548544"/>
                <a:gd name="connsiteX144" fmla="*/ 223171 w 657891"/>
                <a:gd name="connsiteY144" fmla="*/ 118872 h 548544"/>
                <a:gd name="connsiteX145" fmla="*/ 223838 w 657891"/>
                <a:gd name="connsiteY145" fmla="*/ 124206 h 548544"/>
                <a:gd name="connsiteX146" fmla="*/ 234410 w 657891"/>
                <a:gd name="connsiteY146" fmla="*/ 121063 h 548544"/>
                <a:gd name="connsiteX147" fmla="*/ 238220 w 657891"/>
                <a:gd name="connsiteY147" fmla="*/ 122301 h 548544"/>
                <a:gd name="connsiteX148" fmla="*/ 236792 w 657891"/>
                <a:gd name="connsiteY148" fmla="*/ 111633 h 548544"/>
                <a:gd name="connsiteX149" fmla="*/ 252127 w 657891"/>
                <a:gd name="connsiteY149" fmla="*/ 116872 h 548544"/>
                <a:gd name="connsiteX150" fmla="*/ 257556 w 657891"/>
                <a:gd name="connsiteY150" fmla="*/ 116205 h 548544"/>
                <a:gd name="connsiteX151" fmla="*/ 261842 w 657891"/>
                <a:gd name="connsiteY151" fmla="*/ 121063 h 548544"/>
                <a:gd name="connsiteX152" fmla="*/ 260509 w 657891"/>
                <a:gd name="connsiteY152" fmla="*/ 124873 h 548544"/>
                <a:gd name="connsiteX153" fmla="*/ 262319 w 657891"/>
                <a:gd name="connsiteY153" fmla="*/ 124587 h 548544"/>
                <a:gd name="connsiteX154" fmla="*/ 271272 w 657891"/>
                <a:gd name="connsiteY154" fmla="*/ 123349 h 548544"/>
                <a:gd name="connsiteX155" fmla="*/ 274034 w 657891"/>
                <a:gd name="connsiteY155" fmla="*/ 130302 h 548544"/>
                <a:gd name="connsiteX156" fmla="*/ 275558 w 657891"/>
                <a:gd name="connsiteY156" fmla="*/ 128302 h 548544"/>
                <a:gd name="connsiteX157" fmla="*/ 273082 w 657891"/>
                <a:gd name="connsiteY157" fmla="*/ 123158 h 548544"/>
                <a:gd name="connsiteX158" fmla="*/ 278416 w 657891"/>
                <a:gd name="connsiteY158" fmla="*/ 122492 h 548544"/>
                <a:gd name="connsiteX159" fmla="*/ 278225 w 657891"/>
                <a:gd name="connsiteY159" fmla="*/ 120682 h 548544"/>
                <a:gd name="connsiteX160" fmla="*/ 282035 w 657891"/>
                <a:gd name="connsiteY160" fmla="*/ 122015 h 548544"/>
                <a:gd name="connsiteX161" fmla="*/ 291275 w 657891"/>
                <a:gd name="connsiteY161" fmla="*/ 122587 h 548544"/>
                <a:gd name="connsiteX162" fmla="*/ 289941 w 657891"/>
                <a:gd name="connsiteY162" fmla="*/ 126397 h 548544"/>
                <a:gd name="connsiteX163" fmla="*/ 297371 w 657891"/>
                <a:gd name="connsiteY163" fmla="*/ 127254 h 548544"/>
                <a:gd name="connsiteX164" fmla="*/ 305753 w 657891"/>
                <a:gd name="connsiteY164" fmla="*/ 135160 h 548544"/>
                <a:gd name="connsiteX165" fmla="*/ 307562 w 657891"/>
                <a:gd name="connsiteY165" fmla="*/ 134969 h 548544"/>
                <a:gd name="connsiteX166" fmla="*/ 312325 w 657891"/>
                <a:gd name="connsiteY166" fmla="*/ 143351 h 548544"/>
                <a:gd name="connsiteX167" fmla="*/ 313754 w 657891"/>
                <a:gd name="connsiteY167" fmla="*/ 154019 h 548544"/>
                <a:gd name="connsiteX168" fmla="*/ 313944 w 657891"/>
                <a:gd name="connsiteY168" fmla="*/ 155829 h 548544"/>
                <a:gd name="connsiteX169" fmla="*/ 334709 w 657891"/>
                <a:gd name="connsiteY169" fmla="*/ 133160 h 548544"/>
                <a:gd name="connsiteX170" fmla="*/ 340709 w 657891"/>
                <a:gd name="connsiteY170" fmla="*/ 123349 h 548544"/>
                <a:gd name="connsiteX171" fmla="*/ 345853 w 657891"/>
                <a:gd name="connsiteY171" fmla="*/ 120777 h 548544"/>
                <a:gd name="connsiteX172" fmla="*/ 346139 w 657891"/>
                <a:gd name="connsiteY172" fmla="*/ 122587 h 548544"/>
                <a:gd name="connsiteX173" fmla="*/ 350806 w 657891"/>
                <a:gd name="connsiteY173" fmla="*/ 116491 h 548544"/>
                <a:gd name="connsiteX174" fmla="*/ 349377 w 657891"/>
                <a:gd name="connsiteY174" fmla="*/ 105823 h 548544"/>
                <a:gd name="connsiteX175" fmla="*/ 346805 w 657891"/>
                <a:gd name="connsiteY175" fmla="*/ 100679 h 548544"/>
                <a:gd name="connsiteX176" fmla="*/ 345091 w 657891"/>
                <a:gd name="connsiteY176" fmla="*/ 100965 h 548544"/>
                <a:gd name="connsiteX177" fmla="*/ 349758 w 657891"/>
                <a:gd name="connsiteY177" fmla="*/ 94869 h 548544"/>
                <a:gd name="connsiteX178" fmla="*/ 340043 w 657891"/>
                <a:gd name="connsiteY178" fmla="*/ 90773 h 548544"/>
                <a:gd name="connsiteX179" fmla="*/ 351282 w 657891"/>
                <a:gd name="connsiteY179" fmla="*/ 92869 h 548544"/>
                <a:gd name="connsiteX180" fmla="*/ 351092 w 657891"/>
                <a:gd name="connsiteY180" fmla="*/ 91059 h 548544"/>
                <a:gd name="connsiteX181" fmla="*/ 356235 w 657891"/>
                <a:gd name="connsiteY181" fmla="*/ 88583 h 548544"/>
                <a:gd name="connsiteX182" fmla="*/ 358521 w 657891"/>
                <a:gd name="connsiteY182" fmla="*/ 91916 h 548544"/>
                <a:gd name="connsiteX183" fmla="*/ 357188 w 657891"/>
                <a:gd name="connsiteY183" fmla="*/ 95726 h 548544"/>
                <a:gd name="connsiteX184" fmla="*/ 360998 w 657891"/>
                <a:gd name="connsiteY184" fmla="*/ 97060 h 548544"/>
                <a:gd name="connsiteX185" fmla="*/ 367189 w 657891"/>
                <a:gd name="connsiteY185" fmla="*/ 88964 h 548544"/>
                <a:gd name="connsiteX186" fmla="*/ 370808 w 657891"/>
                <a:gd name="connsiteY186" fmla="*/ 88487 h 548544"/>
                <a:gd name="connsiteX187" fmla="*/ 377571 w 657891"/>
                <a:gd name="connsiteY187" fmla="*/ 84011 h 548544"/>
                <a:gd name="connsiteX188" fmla="*/ 379762 w 657891"/>
                <a:gd name="connsiteY188" fmla="*/ 87249 h 548544"/>
                <a:gd name="connsiteX189" fmla="*/ 397288 w 657891"/>
                <a:gd name="connsiteY189" fmla="*/ 81344 h 548544"/>
                <a:gd name="connsiteX190" fmla="*/ 399383 w 657891"/>
                <a:gd name="connsiteY190" fmla="*/ 82867 h 548544"/>
                <a:gd name="connsiteX191" fmla="*/ 404432 w 657891"/>
                <a:gd name="connsiteY191" fmla="*/ 80391 h 548544"/>
                <a:gd name="connsiteX192" fmla="*/ 408051 w 657891"/>
                <a:gd name="connsiteY192" fmla="*/ 79915 h 548544"/>
                <a:gd name="connsiteX193" fmla="*/ 413671 w 657891"/>
                <a:gd name="connsiteY193" fmla="*/ 80963 h 548544"/>
                <a:gd name="connsiteX194" fmla="*/ 417766 w 657891"/>
                <a:gd name="connsiteY194" fmla="*/ 84106 h 548544"/>
                <a:gd name="connsiteX195" fmla="*/ 420243 w 657891"/>
                <a:gd name="connsiteY195" fmla="*/ 89154 h 548544"/>
                <a:gd name="connsiteX196" fmla="*/ 418910 w 657891"/>
                <a:gd name="connsiteY196" fmla="*/ 92964 h 548544"/>
                <a:gd name="connsiteX197" fmla="*/ 424053 w 657891"/>
                <a:gd name="connsiteY197" fmla="*/ 90488 h 548544"/>
                <a:gd name="connsiteX198" fmla="*/ 425863 w 657891"/>
                <a:gd name="connsiteY198" fmla="*/ 90202 h 548544"/>
                <a:gd name="connsiteX199" fmla="*/ 426339 w 657891"/>
                <a:gd name="connsiteY199" fmla="*/ 93821 h 548544"/>
                <a:gd name="connsiteX200" fmla="*/ 429768 w 657891"/>
                <a:gd name="connsiteY200" fmla="*/ 91535 h 548544"/>
                <a:gd name="connsiteX201" fmla="*/ 433578 w 657891"/>
                <a:gd name="connsiteY201" fmla="*/ 92869 h 548544"/>
                <a:gd name="connsiteX202" fmla="*/ 436626 w 657891"/>
                <a:gd name="connsiteY202" fmla="*/ 88868 h 548544"/>
                <a:gd name="connsiteX203" fmla="*/ 437102 w 657891"/>
                <a:gd name="connsiteY203" fmla="*/ 92392 h 548544"/>
                <a:gd name="connsiteX204" fmla="*/ 438721 w 657891"/>
                <a:gd name="connsiteY204" fmla="*/ 90392 h 548544"/>
                <a:gd name="connsiteX205" fmla="*/ 444532 w 657891"/>
                <a:gd name="connsiteY205" fmla="*/ 93250 h 548544"/>
                <a:gd name="connsiteX206" fmla="*/ 454629 w 657891"/>
                <a:gd name="connsiteY206" fmla="*/ 86487 h 548544"/>
                <a:gd name="connsiteX207" fmla="*/ 455486 w 657891"/>
                <a:gd name="connsiteY207" fmla="*/ 79058 h 548544"/>
                <a:gd name="connsiteX208" fmla="*/ 460915 w 657891"/>
                <a:gd name="connsiteY208" fmla="*/ 78391 h 548544"/>
                <a:gd name="connsiteX209" fmla="*/ 470440 w 657891"/>
                <a:gd name="connsiteY209" fmla="*/ 68008 h 548544"/>
                <a:gd name="connsiteX210" fmla="*/ 464154 w 657891"/>
                <a:gd name="connsiteY210" fmla="*/ 61627 h 548544"/>
                <a:gd name="connsiteX211" fmla="*/ 469106 w 657891"/>
                <a:gd name="connsiteY211" fmla="*/ 57341 h 548544"/>
                <a:gd name="connsiteX212" fmla="*/ 463201 w 657891"/>
                <a:gd name="connsiteY212" fmla="*/ 54483 h 548544"/>
                <a:gd name="connsiteX213" fmla="*/ 458629 w 657891"/>
                <a:gd name="connsiteY213" fmla="*/ 47816 h 548544"/>
                <a:gd name="connsiteX214" fmla="*/ 456629 w 657891"/>
                <a:gd name="connsiteY214" fmla="*/ 46292 h 548544"/>
                <a:gd name="connsiteX215" fmla="*/ 455962 w 657891"/>
                <a:gd name="connsiteY215" fmla="*/ 40958 h 548544"/>
                <a:gd name="connsiteX216" fmla="*/ 445770 w 657891"/>
                <a:gd name="connsiteY216" fmla="*/ 33242 h 548544"/>
                <a:gd name="connsiteX217" fmla="*/ 446818 w 657891"/>
                <a:gd name="connsiteY217" fmla="*/ 27623 h 548544"/>
                <a:gd name="connsiteX218" fmla="*/ 442817 w 657891"/>
                <a:gd name="connsiteY218" fmla="*/ 24575 h 548544"/>
                <a:gd name="connsiteX219" fmla="*/ 446151 w 657891"/>
                <a:gd name="connsiteY219" fmla="*/ 22289 h 548544"/>
                <a:gd name="connsiteX220" fmla="*/ 450247 w 657891"/>
                <a:gd name="connsiteY220" fmla="*/ 25432 h 548544"/>
                <a:gd name="connsiteX221" fmla="*/ 451581 w 657891"/>
                <a:gd name="connsiteY221" fmla="*/ 21622 h 548544"/>
                <a:gd name="connsiteX222" fmla="*/ 458724 w 657891"/>
                <a:gd name="connsiteY222" fmla="*/ 20669 h 548544"/>
                <a:gd name="connsiteX223" fmla="*/ 458914 w 657891"/>
                <a:gd name="connsiteY223" fmla="*/ 22479 h 548544"/>
                <a:gd name="connsiteX224" fmla="*/ 467487 w 657891"/>
                <a:gd name="connsiteY224" fmla="*/ 17717 h 548544"/>
                <a:gd name="connsiteX225" fmla="*/ 476726 w 657891"/>
                <a:gd name="connsiteY225" fmla="*/ 32766 h 548544"/>
                <a:gd name="connsiteX226" fmla="*/ 482441 w 657891"/>
                <a:gd name="connsiteY226" fmla="*/ 33814 h 548544"/>
                <a:gd name="connsiteX227" fmla="*/ 487299 w 657891"/>
                <a:gd name="connsiteY227" fmla="*/ 29528 h 548544"/>
                <a:gd name="connsiteX228" fmla="*/ 484347 w 657891"/>
                <a:gd name="connsiteY228" fmla="*/ 20860 h 548544"/>
                <a:gd name="connsiteX229" fmla="*/ 487680 w 657891"/>
                <a:gd name="connsiteY229" fmla="*/ 18669 h 548544"/>
                <a:gd name="connsiteX230" fmla="*/ 487013 w 657891"/>
                <a:gd name="connsiteY230" fmla="*/ 13335 h 548544"/>
                <a:gd name="connsiteX231" fmla="*/ 488347 w 657891"/>
                <a:gd name="connsiteY231" fmla="*/ 9525 h 548544"/>
                <a:gd name="connsiteX232" fmla="*/ 489395 w 657891"/>
                <a:gd name="connsiteY232" fmla="*/ 3905 h 548544"/>
                <a:gd name="connsiteX233" fmla="*/ 494538 w 657891"/>
                <a:gd name="connsiteY233" fmla="*/ 1429 h 548544"/>
                <a:gd name="connsiteX234" fmla="*/ 500634 w 657891"/>
                <a:gd name="connsiteY234" fmla="*/ 6001 h 548544"/>
                <a:gd name="connsiteX235" fmla="*/ 505301 w 657891"/>
                <a:gd name="connsiteY235" fmla="*/ 0 h 548544"/>
                <a:gd name="connsiteX236" fmla="*/ 510350 w 657891"/>
                <a:gd name="connsiteY236" fmla="*/ 10192 h 548544"/>
                <a:gd name="connsiteX237" fmla="*/ 518256 w 657891"/>
                <a:gd name="connsiteY237" fmla="*/ 14573 h 548544"/>
                <a:gd name="connsiteX238" fmla="*/ 520446 w 657891"/>
                <a:gd name="connsiteY238" fmla="*/ 17907 h 548544"/>
                <a:gd name="connsiteX239" fmla="*/ 526161 w 657891"/>
                <a:gd name="connsiteY239" fmla="*/ 18955 h 548544"/>
                <a:gd name="connsiteX240" fmla="*/ 521398 w 657891"/>
                <a:gd name="connsiteY240" fmla="*/ 25051 h 548544"/>
                <a:gd name="connsiteX241" fmla="*/ 523494 w 657891"/>
                <a:gd name="connsiteY241" fmla="*/ 26575 h 548544"/>
                <a:gd name="connsiteX242" fmla="*/ 529590 w 657891"/>
                <a:gd name="connsiteY242" fmla="*/ 31242 h 548544"/>
                <a:gd name="connsiteX243" fmla="*/ 529780 w 657891"/>
                <a:gd name="connsiteY243" fmla="*/ 32957 h 548544"/>
                <a:gd name="connsiteX244" fmla="*/ 537020 w 657891"/>
                <a:gd name="connsiteY244" fmla="*/ 32004 h 548544"/>
                <a:gd name="connsiteX245" fmla="*/ 544830 w 657891"/>
                <a:gd name="connsiteY245" fmla="*/ 36386 h 548544"/>
                <a:gd name="connsiteX246" fmla="*/ 548926 w 657891"/>
                <a:gd name="connsiteY246" fmla="*/ 39529 h 548544"/>
                <a:gd name="connsiteX247" fmla="*/ 550259 w 657891"/>
                <a:gd name="connsiteY247" fmla="*/ 35719 h 548544"/>
                <a:gd name="connsiteX248" fmla="*/ 565975 w 657891"/>
                <a:gd name="connsiteY248" fmla="*/ 30004 h 548544"/>
                <a:gd name="connsiteX249" fmla="*/ 571310 w 657891"/>
                <a:gd name="connsiteY249" fmla="*/ 29337 h 548544"/>
                <a:gd name="connsiteX250" fmla="*/ 571786 w 657891"/>
                <a:gd name="connsiteY250" fmla="*/ 32861 h 548544"/>
                <a:gd name="connsiteX251" fmla="*/ 575215 w 657891"/>
                <a:gd name="connsiteY251" fmla="*/ 30575 h 548544"/>
                <a:gd name="connsiteX252" fmla="*/ 579025 w 657891"/>
                <a:gd name="connsiteY252" fmla="*/ 31909 h 548544"/>
                <a:gd name="connsiteX253" fmla="*/ 580835 w 657891"/>
                <a:gd name="connsiteY253" fmla="*/ 31718 h 548544"/>
                <a:gd name="connsiteX254" fmla="*/ 582168 w 657891"/>
                <a:gd name="connsiteY254" fmla="*/ 27908 h 548544"/>
                <a:gd name="connsiteX255" fmla="*/ 583882 w 657891"/>
                <a:gd name="connsiteY255" fmla="*/ 27623 h 548544"/>
                <a:gd name="connsiteX256" fmla="*/ 583406 w 657891"/>
                <a:gd name="connsiteY256" fmla="*/ 24098 h 548544"/>
                <a:gd name="connsiteX257" fmla="*/ 588645 w 657891"/>
                <a:gd name="connsiteY257" fmla="*/ 21622 h 548544"/>
                <a:gd name="connsiteX258" fmla="*/ 590265 w 657891"/>
                <a:gd name="connsiteY258" fmla="*/ 34100 h 548544"/>
                <a:gd name="connsiteX259" fmla="*/ 597884 w 657891"/>
                <a:gd name="connsiteY259" fmla="*/ 36671 h 548544"/>
                <a:gd name="connsiteX260" fmla="*/ 603314 w 657891"/>
                <a:gd name="connsiteY260" fmla="*/ 36004 h 548544"/>
                <a:gd name="connsiteX261" fmla="*/ 610076 w 657891"/>
                <a:gd name="connsiteY261" fmla="*/ 45911 h 548544"/>
                <a:gd name="connsiteX262" fmla="*/ 611886 w 657891"/>
                <a:gd name="connsiteY262" fmla="*/ 45720 h 548544"/>
                <a:gd name="connsiteX263" fmla="*/ 610838 w 657891"/>
                <a:gd name="connsiteY263" fmla="*/ 51245 h 548544"/>
                <a:gd name="connsiteX264" fmla="*/ 603885 w 657891"/>
                <a:gd name="connsiteY264" fmla="*/ 54007 h 548544"/>
                <a:gd name="connsiteX265" fmla="*/ 609981 w 657891"/>
                <a:gd name="connsiteY265" fmla="*/ 58674 h 548544"/>
                <a:gd name="connsiteX266" fmla="*/ 617125 w 657891"/>
                <a:gd name="connsiteY266" fmla="*/ 57721 h 548544"/>
                <a:gd name="connsiteX267" fmla="*/ 624078 w 657891"/>
                <a:gd name="connsiteY267" fmla="*/ 54959 h 548544"/>
                <a:gd name="connsiteX268" fmla="*/ 628174 w 657891"/>
                <a:gd name="connsiteY268" fmla="*/ 58007 h 548544"/>
                <a:gd name="connsiteX269" fmla="*/ 634651 w 657891"/>
                <a:gd name="connsiteY269" fmla="*/ 51721 h 548544"/>
                <a:gd name="connsiteX270" fmla="*/ 639985 w 657891"/>
                <a:gd name="connsiteY270" fmla="*/ 51054 h 548544"/>
                <a:gd name="connsiteX271" fmla="*/ 646366 w 657891"/>
                <a:gd name="connsiteY271" fmla="*/ 57436 h 548544"/>
                <a:gd name="connsiteX272" fmla="*/ 649319 w 657891"/>
                <a:gd name="connsiteY272" fmla="*/ 66104 h 548544"/>
                <a:gd name="connsiteX273" fmla="*/ 655415 w 657891"/>
                <a:gd name="connsiteY273" fmla="*/ 70771 h 548544"/>
                <a:gd name="connsiteX274" fmla="*/ 657892 w 657891"/>
                <a:gd name="connsiteY274" fmla="*/ 75819 h 548544"/>
                <a:gd name="connsiteX275" fmla="*/ 656654 w 657891"/>
                <a:gd name="connsiteY275" fmla="*/ 79629 h 548544"/>
                <a:gd name="connsiteX276" fmla="*/ 648558 w 657891"/>
                <a:gd name="connsiteY276" fmla="*/ 88011 h 548544"/>
                <a:gd name="connsiteX277" fmla="*/ 652272 w 657891"/>
                <a:gd name="connsiteY277" fmla="*/ 102013 h 548544"/>
                <a:gd name="connsiteX278" fmla="*/ 648843 w 657891"/>
                <a:gd name="connsiteY278" fmla="*/ 104299 h 548544"/>
                <a:gd name="connsiteX279" fmla="*/ 642842 w 657891"/>
                <a:gd name="connsiteY279" fmla="*/ 114110 h 548544"/>
                <a:gd name="connsiteX280" fmla="*/ 640271 w 657891"/>
                <a:gd name="connsiteY280" fmla="*/ 121729 h 548544"/>
                <a:gd name="connsiteX281" fmla="*/ 631698 w 657891"/>
                <a:gd name="connsiteY281" fmla="*/ 126492 h 548544"/>
                <a:gd name="connsiteX282" fmla="*/ 627983 w 657891"/>
                <a:gd name="connsiteY282" fmla="*/ 139637 h 548544"/>
                <a:gd name="connsiteX283" fmla="*/ 614553 w 657891"/>
                <a:gd name="connsiteY283" fmla="*/ 148685 h 548544"/>
                <a:gd name="connsiteX284" fmla="*/ 607600 w 657891"/>
                <a:gd name="connsiteY284" fmla="*/ 151448 h 548544"/>
                <a:gd name="connsiteX285" fmla="*/ 591408 w 657891"/>
                <a:gd name="connsiteY285" fmla="*/ 153543 h 548544"/>
                <a:gd name="connsiteX286" fmla="*/ 587121 w 657891"/>
                <a:gd name="connsiteY286" fmla="*/ 148685 h 548544"/>
                <a:gd name="connsiteX287" fmla="*/ 576167 w 657891"/>
                <a:gd name="connsiteY287" fmla="*/ 148304 h 548544"/>
                <a:gd name="connsiteX288" fmla="*/ 569786 w 657891"/>
                <a:gd name="connsiteY288" fmla="*/ 141923 h 548544"/>
                <a:gd name="connsiteX289" fmla="*/ 564642 w 657891"/>
                <a:gd name="connsiteY289" fmla="*/ 144399 h 548544"/>
                <a:gd name="connsiteX290" fmla="*/ 561308 w 657891"/>
                <a:gd name="connsiteY290" fmla="*/ 146685 h 548544"/>
                <a:gd name="connsiteX291" fmla="*/ 558832 w 657891"/>
                <a:gd name="connsiteY291" fmla="*/ 156020 h 548544"/>
                <a:gd name="connsiteX292" fmla="*/ 555784 w 657891"/>
                <a:gd name="connsiteY292" fmla="*/ 160115 h 548544"/>
                <a:gd name="connsiteX293" fmla="*/ 528447 w 657891"/>
                <a:gd name="connsiteY293" fmla="*/ 174593 h 548544"/>
                <a:gd name="connsiteX294" fmla="*/ 525113 w 657891"/>
                <a:gd name="connsiteY294" fmla="*/ 176879 h 548544"/>
                <a:gd name="connsiteX295" fmla="*/ 519684 w 657891"/>
                <a:gd name="connsiteY295" fmla="*/ 177546 h 548544"/>
                <a:gd name="connsiteX296" fmla="*/ 519208 w 657891"/>
                <a:gd name="connsiteY296" fmla="*/ 174022 h 548544"/>
                <a:gd name="connsiteX297" fmla="*/ 515588 w 657891"/>
                <a:gd name="connsiteY297" fmla="*/ 174498 h 548544"/>
                <a:gd name="connsiteX298" fmla="*/ 510826 w 657891"/>
                <a:gd name="connsiteY298" fmla="*/ 166021 h 548544"/>
                <a:gd name="connsiteX299" fmla="*/ 507206 w 657891"/>
                <a:gd name="connsiteY299" fmla="*/ 166497 h 548544"/>
                <a:gd name="connsiteX300" fmla="*/ 505968 w 657891"/>
                <a:gd name="connsiteY300" fmla="*/ 170307 h 548544"/>
                <a:gd name="connsiteX301" fmla="*/ 502825 w 657891"/>
                <a:gd name="connsiteY301" fmla="*/ 174308 h 548544"/>
                <a:gd name="connsiteX302" fmla="*/ 497681 w 657891"/>
                <a:gd name="connsiteY302" fmla="*/ 176879 h 548544"/>
                <a:gd name="connsiteX303" fmla="*/ 487966 w 657891"/>
                <a:gd name="connsiteY303" fmla="*/ 172688 h 548544"/>
                <a:gd name="connsiteX304" fmla="*/ 480822 w 657891"/>
                <a:gd name="connsiteY304" fmla="*/ 173641 h 548544"/>
                <a:gd name="connsiteX305" fmla="*/ 471392 w 657891"/>
                <a:gd name="connsiteY305" fmla="*/ 171260 h 548544"/>
                <a:gd name="connsiteX306" fmla="*/ 464820 w 657891"/>
                <a:gd name="connsiteY306" fmla="*/ 177546 h 548544"/>
                <a:gd name="connsiteX307" fmla="*/ 451009 w 657891"/>
                <a:gd name="connsiteY307" fmla="*/ 183071 h 548544"/>
                <a:gd name="connsiteX308" fmla="*/ 446056 w 657891"/>
                <a:gd name="connsiteY308" fmla="*/ 187262 h 548544"/>
                <a:gd name="connsiteX309" fmla="*/ 446247 w 657891"/>
                <a:gd name="connsiteY309" fmla="*/ 189071 h 548544"/>
                <a:gd name="connsiteX310" fmla="*/ 451009 w 657891"/>
                <a:gd name="connsiteY310" fmla="*/ 197549 h 548544"/>
                <a:gd name="connsiteX311" fmla="*/ 460248 w 657891"/>
                <a:gd name="connsiteY311" fmla="*/ 198120 h 548544"/>
                <a:gd name="connsiteX312" fmla="*/ 470345 w 657891"/>
                <a:gd name="connsiteY312" fmla="*/ 191357 h 548544"/>
                <a:gd name="connsiteX313" fmla="*/ 472345 w 657891"/>
                <a:gd name="connsiteY313" fmla="*/ 192881 h 548544"/>
                <a:gd name="connsiteX314" fmla="*/ 472630 w 657891"/>
                <a:gd name="connsiteY314" fmla="*/ 194691 h 548544"/>
                <a:gd name="connsiteX315" fmla="*/ 469297 w 657891"/>
                <a:gd name="connsiteY315" fmla="*/ 196977 h 548544"/>
                <a:gd name="connsiteX316" fmla="*/ 462820 w 657891"/>
                <a:gd name="connsiteY316" fmla="*/ 203264 h 548544"/>
                <a:gd name="connsiteX317" fmla="*/ 463487 w 657891"/>
                <a:gd name="connsiteY317" fmla="*/ 208502 h 548544"/>
                <a:gd name="connsiteX318" fmla="*/ 454819 w 657891"/>
                <a:gd name="connsiteY318" fmla="*/ 226028 h 548544"/>
                <a:gd name="connsiteX319" fmla="*/ 450818 w 657891"/>
                <a:gd name="connsiteY319" fmla="*/ 237458 h 548544"/>
                <a:gd name="connsiteX320" fmla="*/ 445961 w 657891"/>
                <a:gd name="connsiteY320" fmla="*/ 241745 h 548544"/>
                <a:gd name="connsiteX321" fmla="*/ 448628 w 657891"/>
                <a:gd name="connsiteY321" fmla="*/ 248603 h 548544"/>
                <a:gd name="connsiteX322" fmla="*/ 447294 w 657891"/>
                <a:gd name="connsiteY322" fmla="*/ 252413 h 548544"/>
                <a:gd name="connsiteX323" fmla="*/ 436340 w 657891"/>
                <a:gd name="connsiteY323" fmla="*/ 252032 h 548544"/>
                <a:gd name="connsiteX324" fmla="*/ 431388 w 657891"/>
                <a:gd name="connsiteY324" fmla="*/ 256318 h 548544"/>
                <a:gd name="connsiteX325" fmla="*/ 432149 w 657891"/>
                <a:gd name="connsiteY325" fmla="*/ 261652 h 548544"/>
                <a:gd name="connsiteX326" fmla="*/ 435673 w 657891"/>
                <a:gd name="connsiteY326" fmla="*/ 261175 h 548544"/>
                <a:gd name="connsiteX327" fmla="*/ 439769 w 657891"/>
                <a:gd name="connsiteY327" fmla="*/ 264319 h 548544"/>
                <a:gd name="connsiteX328" fmla="*/ 436626 w 657891"/>
                <a:gd name="connsiteY328" fmla="*/ 268319 h 548544"/>
                <a:gd name="connsiteX329" fmla="*/ 426148 w 657891"/>
                <a:gd name="connsiteY329" fmla="*/ 271558 h 548544"/>
                <a:gd name="connsiteX330" fmla="*/ 421196 w 657891"/>
                <a:gd name="connsiteY330" fmla="*/ 275749 h 548544"/>
                <a:gd name="connsiteX331" fmla="*/ 415862 w 657891"/>
                <a:gd name="connsiteY331" fmla="*/ 276511 h 548544"/>
                <a:gd name="connsiteX332" fmla="*/ 413099 w 657891"/>
                <a:gd name="connsiteY332" fmla="*/ 269653 h 548544"/>
                <a:gd name="connsiteX333" fmla="*/ 407004 w 657891"/>
                <a:gd name="connsiteY333" fmla="*/ 264986 h 548544"/>
                <a:gd name="connsiteX334" fmla="*/ 402717 w 657891"/>
                <a:gd name="connsiteY334" fmla="*/ 260128 h 548544"/>
                <a:gd name="connsiteX335" fmla="*/ 401574 w 657891"/>
                <a:gd name="connsiteY335" fmla="*/ 265748 h 548544"/>
                <a:gd name="connsiteX336" fmla="*/ 396907 w 657891"/>
                <a:gd name="connsiteY336" fmla="*/ 271748 h 548544"/>
                <a:gd name="connsiteX337" fmla="*/ 399383 w 657891"/>
                <a:gd name="connsiteY337" fmla="*/ 276892 h 548544"/>
                <a:gd name="connsiteX338" fmla="*/ 389573 w 657891"/>
                <a:gd name="connsiteY338" fmla="*/ 285464 h 548544"/>
                <a:gd name="connsiteX339" fmla="*/ 381191 w 657891"/>
                <a:gd name="connsiteY339" fmla="*/ 277463 h 548544"/>
                <a:gd name="connsiteX340" fmla="*/ 374714 w 657891"/>
                <a:gd name="connsiteY340" fmla="*/ 283750 h 548544"/>
                <a:gd name="connsiteX341" fmla="*/ 366998 w 657891"/>
                <a:gd name="connsiteY341" fmla="*/ 266700 h 548544"/>
                <a:gd name="connsiteX342" fmla="*/ 358712 w 657891"/>
                <a:gd name="connsiteY342" fmla="*/ 273177 h 548544"/>
                <a:gd name="connsiteX343" fmla="*/ 353283 w 657891"/>
                <a:gd name="connsiteY343" fmla="*/ 273939 h 548544"/>
                <a:gd name="connsiteX344" fmla="*/ 347282 w 657891"/>
                <a:gd name="connsiteY344" fmla="*/ 269272 h 548544"/>
                <a:gd name="connsiteX345" fmla="*/ 344996 w 657891"/>
                <a:gd name="connsiteY345" fmla="*/ 265938 h 548544"/>
                <a:gd name="connsiteX346" fmla="*/ 328422 w 657891"/>
                <a:gd name="connsiteY346" fmla="*/ 278987 h 548544"/>
                <a:gd name="connsiteX347" fmla="*/ 329089 w 657891"/>
                <a:gd name="connsiteY347" fmla="*/ 284417 h 548544"/>
                <a:gd name="connsiteX348" fmla="*/ 322612 w 657891"/>
                <a:gd name="connsiteY348" fmla="*/ 290703 h 548544"/>
                <a:gd name="connsiteX349" fmla="*/ 328803 w 657891"/>
                <a:gd name="connsiteY349" fmla="*/ 295275 h 548544"/>
                <a:gd name="connsiteX350" fmla="*/ 328994 w 657891"/>
                <a:gd name="connsiteY350" fmla="*/ 297085 h 548544"/>
                <a:gd name="connsiteX351" fmla="*/ 327184 w 657891"/>
                <a:gd name="connsiteY351" fmla="*/ 297275 h 548544"/>
                <a:gd name="connsiteX352" fmla="*/ 336042 w 657891"/>
                <a:gd name="connsiteY352" fmla="*/ 308800 h 548544"/>
                <a:gd name="connsiteX353" fmla="*/ 339376 w 657891"/>
                <a:gd name="connsiteY353" fmla="*/ 306610 h 548544"/>
                <a:gd name="connsiteX354" fmla="*/ 341662 w 657891"/>
                <a:gd name="connsiteY354" fmla="*/ 309848 h 548544"/>
                <a:gd name="connsiteX355" fmla="*/ 338519 w 657891"/>
                <a:gd name="connsiteY355" fmla="*/ 313944 h 548544"/>
                <a:gd name="connsiteX356" fmla="*/ 343091 w 657891"/>
                <a:gd name="connsiteY356" fmla="*/ 320612 h 548544"/>
                <a:gd name="connsiteX357" fmla="*/ 344234 w 657891"/>
                <a:gd name="connsiteY357" fmla="*/ 329470 h 548544"/>
                <a:gd name="connsiteX358" fmla="*/ 344710 w 657891"/>
                <a:gd name="connsiteY358" fmla="*/ 333089 h 548544"/>
                <a:gd name="connsiteX359" fmla="*/ 345377 w 657891"/>
                <a:gd name="connsiteY359" fmla="*/ 338423 h 548544"/>
                <a:gd name="connsiteX360" fmla="*/ 350901 w 657891"/>
                <a:gd name="connsiteY360" fmla="*/ 352139 h 548544"/>
                <a:gd name="connsiteX361" fmla="*/ 349091 w 657891"/>
                <a:gd name="connsiteY361" fmla="*/ 352425 h 548544"/>
                <a:gd name="connsiteX362" fmla="*/ 344329 w 657891"/>
                <a:gd name="connsiteY362" fmla="*/ 343948 h 548544"/>
                <a:gd name="connsiteX363" fmla="*/ 332708 w 657891"/>
                <a:gd name="connsiteY363" fmla="*/ 352806 h 548544"/>
                <a:gd name="connsiteX364" fmla="*/ 332232 w 657891"/>
                <a:gd name="connsiteY364" fmla="*/ 349187 h 548544"/>
                <a:gd name="connsiteX365" fmla="*/ 332232 w 657891"/>
                <a:gd name="connsiteY365" fmla="*/ 349187 h 548544"/>
                <a:gd name="connsiteX366" fmla="*/ 325469 w 657891"/>
                <a:gd name="connsiteY366" fmla="*/ 353759 h 548544"/>
                <a:gd name="connsiteX367" fmla="*/ 311849 w 657891"/>
                <a:gd name="connsiteY367" fmla="*/ 360998 h 548544"/>
                <a:gd name="connsiteX368" fmla="*/ 299561 w 657891"/>
                <a:gd name="connsiteY368" fmla="*/ 364426 h 548544"/>
                <a:gd name="connsiteX369" fmla="*/ 295942 w 657891"/>
                <a:gd name="connsiteY369" fmla="*/ 364903 h 548544"/>
                <a:gd name="connsiteX370" fmla="*/ 296609 w 657891"/>
                <a:gd name="connsiteY370" fmla="*/ 370237 h 548544"/>
                <a:gd name="connsiteX371" fmla="*/ 289941 w 657891"/>
                <a:gd name="connsiteY371" fmla="*/ 374809 h 548544"/>
                <a:gd name="connsiteX372" fmla="*/ 287179 w 657891"/>
                <a:gd name="connsiteY372" fmla="*/ 367856 h 548544"/>
                <a:gd name="connsiteX373" fmla="*/ 278892 w 657891"/>
                <a:gd name="connsiteY373" fmla="*/ 374428 h 548544"/>
                <a:gd name="connsiteX374" fmla="*/ 273272 w 657891"/>
                <a:gd name="connsiteY374" fmla="*/ 373380 h 548544"/>
                <a:gd name="connsiteX375" fmla="*/ 262509 w 657891"/>
                <a:gd name="connsiteY375" fmla="*/ 374809 h 548544"/>
                <a:gd name="connsiteX376" fmla="*/ 259842 w 657891"/>
                <a:gd name="connsiteY376" fmla="*/ 382334 h 548544"/>
                <a:gd name="connsiteX377" fmla="*/ 256508 w 657891"/>
                <a:gd name="connsiteY377" fmla="*/ 384619 h 548544"/>
                <a:gd name="connsiteX378" fmla="*/ 255175 w 657891"/>
                <a:gd name="connsiteY378" fmla="*/ 388430 h 548544"/>
                <a:gd name="connsiteX379" fmla="*/ 244602 w 657891"/>
                <a:gd name="connsiteY379" fmla="*/ 391573 h 548544"/>
                <a:gd name="connsiteX380" fmla="*/ 240316 w 657891"/>
                <a:gd name="connsiteY380" fmla="*/ 386810 h 548544"/>
                <a:gd name="connsiteX381" fmla="*/ 224600 w 657891"/>
                <a:gd name="connsiteY381" fmla="*/ 392430 h 548544"/>
                <a:gd name="connsiteX382" fmla="*/ 208693 w 657891"/>
                <a:gd name="connsiteY382" fmla="*/ 396431 h 548544"/>
                <a:gd name="connsiteX383" fmla="*/ 192977 w 657891"/>
                <a:gd name="connsiteY383" fmla="*/ 402050 h 548544"/>
                <a:gd name="connsiteX384" fmla="*/ 181833 w 657891"/>
                <a:gd name="connsiteY384" fmla="*/ 414433 h 548544"/>
                <a:gd name="connsiteX385" fmla="*/ 176213 w 657891"/>
                <a:gd name="connsiteY385" fmla="*/ 413385 h 548544"/>
                <a:gd name="connsiteX386" fmla="*/ 167450 w 657891"/>
                <a:gd name="connsiteY386" fmla="*/ 416338 h 548544"/>
                <a:gd name="connsiteX387" fmla="*/ 160782 w 657891"/>
                <a:gd name="connsiteY387" fmla="*/ 420910 h 548544"/>
                <a:gd name="connsiteX388" fmla="*/ 156591 w 657891"/>
                <a:gd name="connsiteY388" fmla="*/ 430435 h 548544"/>
                <a:gd name="connsiteX389" fmla="*/ 154305 w 657891"/>
                <a:gd name="connsiteY389" fmla="*/ 427196 h 548544"/>
                <a:gd name="connsiteX390" fmla="*/ 152971 w 657891"/>
                <a:gd name="connsiteY390" fmla="*/ 430911 h 548544"/>
                <a:gd name="connsiteX391" fmla="*/ 151638 w 657891"/>
                <a:gd name="connsiteY391" fmla="*/ 434816 h 548544"/>
                <a:gd name="connsiteX392" fmla="*/ 146780 w 657891"/>
                <a:gd name="connsiteY392" fmla="*/ 439007 h 548544"/>
                <a:gd name="connsiteX393" fmla="*/ 143828 w 657891"/>
                <a:gd name="connsiteY393" fmla="*/ 444913 h 548544"/>
                <a:gd name="connsiteX394" fmla="*/ 138970 w 657891"/>
                <a:gd name="connsiteY394" fmla="*/ 449104 h 548544"/>
                <a:gd name="connsiteX395" fmla="*/ 130874 w 657891"/>
                <a:gd name="connsiteY395" fmla="*/ 457486 h 548544"/>
                <a:gd name="connsiteX396" fmla="*/ 121920 w 657891"/>
                <a:gd name="connsiteY396" fmla="*/ 458629 h 548544"/>
                <a:gd name="connsiteX397" fmla="*/ 113633 w 657891"/>
                <a:gd name="connsiteY397" fmla="*/ 465201 h 548544"/>
                <a:gd name="connsiteX398" fmla="*/ 110966 w 657891"/>
                <a:gd name="connsiteY398" fmla="*/ 472821 h 548544"/>
                <a:gd name="connsiteX399" fmla="*/ 109919 w 657891"/>
                <a:gd name="connsiteY399" fmla="*/ 478346 h 548544"/>
                <a:gd name="connsiteX400" fmla="*/ 112204 w 657891"/>
                <a:gd name="connsiteY400" fmla="*/ 481679 h 548544"/>
                <a:gd name="connsiteX401" fmla="*/ 120491 w 657891"/>
                <a:gd name="connsiteY401" fmla="*/ 489680 h 548544"/>
                <a:gd name="connsiteX402" fmla="*/ 121729 w 657891"/>
                <a:gd name="connsiteY402" fmla="*/ 498539 h 548544"/>
                <a:gd name="connsiteX403" fmla="*/ 117253 w 657891"/>
                <a:gd name="connsiteY403" fmla="*/ 506349 h 548544"/>
                <a:gd name="connsiteX404" fmla="*/ 119729 w 657891"/>
                <a:gd name="connsiteY404" fmla="*/ 511492 h 548544"/>
                <a:gd name="connsiteX405" fmla="*/ 121825 w 657891"/>
                <a:gd name="connsiteY405" fmla="*/ 513017 h 548544"/>
                <a:gd name="connsiteX406" fmla="*/ 91916 w 657891"/>
                <a:gd name="connsiteY406" fmla="*/ 522446 h 548544"/>
                <a:gd name="connsiteX407" fmla="*/ 80963 w 657891"/>
                <a:gd name="connsiteY407" fmla="*/ 522065 h 548544"/>
                <a:gd name="connsiteX408" fmla="*/ 67533 w 657891"/>
                <a:gd name="connsiteY408" fmla="*/ 531114 h 548544"/>
                <a:gd name="connsiteX409" fmla="*/ 53626 w 657891"/>
                <a:gd name="connsiteY409" fmla="*/ 536543 h 548544"/>
                <a:gd name="connsiteX410" fmla="*/ 48483 w 657891"/>
                <a:gd name="connsiteY410" fmla="*/ 539115 h 548544"/>
                <a:gd name="connsiteX411" fmla="*/ 42863 w 657891"/>
                <a:gd name="connsiteY411" fmla="*/ 537972 h 548544"/>
                <a:gd name="connsiteX412" fmla="*/ 41243 w 657891"/>
                <a:gd name="connsiteY412" fmla="*/ 540068 h 548544"/>
                <a:gd name="connsiteX413" fmla="*/ 35909 w 657891"/>
                <a:gd name="connsiteY413" fmla="*/ 540734 h 548544"/>
                <a:gd name="connsiteX414" fmla="*/ 31433 w 657891"/>
                <a:gd name="connsiteY414" fmla="*/ 548545 h 548544"/>
                <a:gd name="connsiteX415" fmla="*/ 25622 w 657891"/>
                <a:gd name="connsiteY415" fmla="*/ 545687 h 548544"/>
                <a:gd name="connsiteX416" fmla="*/ 20479 w 657891"/>
                <a:gd name="connsiteY416" fmla="*/ 548259 h 548544"/>
                <a:gd name="connsiteX417" fmla="*/ 0 w 657891"/>
                <a:gd name="connsiteY417" fmla="*/ 545497 h 548544"/>
                <a:gd name="connsiteX418" fmla="*/ 6477 w 657891"/>
                <a:gd name="connsiteY418" fmla="*/ 539210 h 548544"/>
                <a:gd name="connsiteX419" fmla="*/ 7334 w 657891"/>
                <a:gd name="connsiteY419" fmla="*/ 531781 h 54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</a:cxnLst>
              <a:rect l="l" t="t" r="r" b="b"/>
              <a:pathLst>
                <a:path w="657891" h="548544">
                  <a:moveTo>
                    <a:pt x="7334" y="531781"/>
                  </a:moveTo>
                  <a:lnTo>
                    <a:pt x="4763" y="526733"/>
                  </a:lnTo>
                  <a:lnTo>
                    <a:pt x="3239" y="528733"/>
                  </a:lnTo>
                  <a:lnTo>
                    <a:pt x="2477" y="508921"/>
                  </a:lnTo>
                  <a:lnTo>
                    <a:pt x="15240" y="509016"/>
                  </a:lnTo>
                  <a:lnTo>
                    <a:pt x="21146" y="511874"/>
                  </a:lnTo>
                  <a:lnTo>
                    <a:pt x="26003" y="507587"/>
                  </a:lnTo>
                  <a:lnTo>
                    <a:pt x="24575" y="496919"/>
                  </a:lnTo>
                  <a:lnTo>
                    <a:pt x="26384" y="496634"/>
                  </a:lnTo>
                  <a:lnTo>
                    <a:pt x="31528" y="479679"/>
                  </a:lnTo>
                  <a:lnTo>
                    <a:pt x="31909" y="468725"/>
                  </a:lnTo>
                  <a:lnTo>
                    <a:pt x="36767" y="464439"/>
                  </a:lnTo>
                  <a:lnTo>
                    <a:pt x="44196" y="465296"/>
                  </a:lnTo>
                  <a:lnTo>
                    <a:pt x="46482" y="468630"/>
                  </a:lnTo>
                  <a:lnTo>
                    <a:pt x="51816" y="467868"/>
                  </a:lnTo>
                  <a:lnTo>
                    <a:pt x="51149" y="462534"/>
                  </a:lnTo>
                  <a:lnTo>
                    <a:pt x="54483" y="460248"/>
                  </a:lnTo>
                  <a:lnTo>
                    <a:pt x="58293" y="461582"/>
                  </a:lnTo>
                  <a:lnTo>
                    <a:pt x="59627" y="457772"/>
                  </a:lnTo>
                  <a:lnTo>
                    <a:pt x="65532" y="460629"/>
                  </a:lnTo>
                  <a:lnTo>
                    <a:pt x="72581" y="430721"/>
                  </a:lnTo>
                  <a:lnTo>
                    <a:pt x="75914" y="428434"/>
                  </a:lnTo>
                  <a:lnTo>
                    <a:pt x="73628" y="425101"/>
                  </a:lnTo>
                  <a:lnTo>
                    <a:pt x="75438" y="424910"/>
                  </a:lnTo>
                  <a:lnTo>
                    <a:pt x="73152" y="421576"/>
                  </a:lnTo>
                  <a:lnTo>
                    <a:pt x="76295" y="417576"/>
                  </a:lnTo>
                  <a:lnTo>
                    <a:pt x="78200" y="404622"/>
                  </a:lnTo>
                  <a:lnTo>
                    <a:pt x="75438" y="397669"/>
                  </a:lnTo>
                  <a:lnTo>
                    <a:pt x="71914" y="398145"/>
                  </a:lnTo>
                  <a:lnTo>
                    <a:pt x="65818" y="408051"/>
                  </a:lnTo>
                  <a:lnTo>
                    <a:pt x="59150" y="412528"/>
                  </a:lnTo>
                  <a:lnTo>
                    <a:pt x="56864" y="409194"/>
                  </a:lnTo>
                  <a:lnTo>
                    <a:pt x="53245" y="409670"/>
                  </a:lnTo>
                  <a:lnTo>
                    <a:pt x="49435" y="408337"/>
                  </a:lnTo>
                  <a:lnTo>
                    <a:pt x="35052" y="410242"/>
                  </a:lnTo>
                  <a:lnTo>
                    <a:pt x="35814" y="415671"/>
                  </a:lnTo>
                  <a:lnTo>
                    <a:pt x="29718" y="411004"/>
                  </a:lnTo>
                  <a:lnTo>
                    <a:pt x="36195" y="404717"/>
                  </a:lnTo>
                  <a:lnTo>
                    <a:pt x="35243" y="397574"/>
                  </a:lnTo>
                  <a:lnTo>
                    <a:pt x="37052" y="397288"/>
                  </a:lnTo>
                  <a:lnTo>
                    <a:pt x="43529" y="391097"/>
                  </a:lnTo>
                  <a:lnTo>
                    <a:pt x="43053" y="387477"/>
                  </a:lnTo>
                  <a:lnTo>
                    <a:pt x="41243" y="387763"/>
                  </a:lnTo>
                  <a:lnTo>
                    <a:pt x="37148" y="384619"/>
                  </a:lnTo>
                  <a:lnTo>
                    <a:pt x="33338" y="383381"/>
                  </a:lnTo>
                  <a:lnTo>
                    <a:pt x="31433" y="369094"/>
                  </a:lnTo>
                  <a:lnTo>
                    <a:pt x="24860" y="360902"/>
                  </a:lnTo>
                  <a:lnTo>
                    <a:pt x="19050" y="358045"/>
                  </a:lnTo>
                  <a:lnTo>
                    <a:pt x="27718" y="340614"/>
                  </a:lnTo>
                  <a:lnTo>
                    <a:pt x="26289" y="329851"/>
                  </a:lnTo>
                  <a:lnTo>
                    <a:pt x="18383" y="325469"/>
                  </a:lnTo>
                  <a:lnTo>
                    <a:pt x="17621" y="320135"/>
                  </a:lnTo>
                  <a:lnTo>
                    <a:pt x="11811" y="317278"/>
                  </a:lnTo>
                  <a:lnTo>
                    <a:pt x="12668" y="309944"/>
                  </a:lnTo>
                  <a:lnTo>
                    <a:pt x="19145" y="303657"/>
                  </a:lnTo>
                  <a:lnTo>
                    <a:pt x="22289" y="299561"/>
                  </a:lnTo>
                  <a:lnTo>
                    <a:pt x="29242" y="296894"/>
                  </a:lnTo>
                  <a:lnTo>
                    <a:pt x="31147" y="283845"/>
                  </a:lnTo>
                  <a:lnTo>
                    <a:pt x="30956" y="282131"/>
                  </a:lnTo>
                  <a:lnTo>
                    <a:pt x="37148" y="274034"/>
                  </a:lnTo>
                  <a:lnTo>
                    <a:pt x="39243" y="275558"/>
                  </a:lnTo>
                  <a:lnTo>
                    <a:pt x="41720" y="280702"/>
                  </a:lnTo>
                  <a:lnTo>
                    <a:pt x="47054" y="279940"/>
                  </a:lnTo>
                  <a:lnTo>
                    <a:pt x="49340" y="283274"/>
                  </a:lnTo>
                  <a:lnTo>
                    <a:pt x="50959" y="281273"/>
                  </a:lnTo>
                  <a:lnTo>
                    <a:pt x="50959" y="281273"/>
                  </a:lnTo>
                  <a:lnTo>
                    <a:pt x="53150" y="284607"/>
                  </a:lnTo>
                  <a:lnTo>
                    <a:pt x="54007" y="277273"/>
                  </a:lnTo>
                  <a:lnTo>
                    <a:pt x="56483" y="267843"/>
                  </a:lnTo>
                  <a:lnTo>
                    <a:pt x="52864" y="268319"/>
                  </a:lnTo>
                  <a:lnTo>
                    <a:pt x="51911" y="261175"/>
                  </a:lnTo>
                  <a:lnTo>
                    <a:pt x="56579" y="255175"/>
                  </a:lnTo>
                  <a:lnTo>
                    <a:pt x="63818" y="254222"/>
                  </a:lnTo>
                  <a:lnTo>
                    <a:pt x="68961" y="251746"/>
                  </a:lnTo>
                  <a:lnTo>
                    <a:pt x="62579" y="245269"/>
                  </a:lnTo>
                  <a:lnTo>
                    <a:pt x="65913" y="243078"/>
                  </a:lnTo>
                  <a:lnTo>
                    <a:pt x="71342" y="242316"/>
                  </a:lnTo>
                  <a:lnTo>
                    <a:pt x="74104" y="249174"/>
                  </a:lnTo>
                  <a:lnTo>
                    <a:pt x="82010" y="253651"/>
                  </a:lnTo>
                  <a:lnTo>
                    <a:pt x="85344" y="251365"/>
                  </a:lnTo>
                  <a:lnTo>
                    <a:pt x="84582" y="246031"/>
                  </a:lnTo>
                  <a:lnTo>
                    <a:pt x="92012" y="246793"/>
                  </a:lnTo>
                  <a:lnTo>
                    <a:pt x="94964" y="240983"/>
                  </a:lnTo>
                  <a:lnTo>
                    <a:pt x="100298" y="240316"/>
                  </a:lnTo>
                  <a:lnTo>
                    <a:pt x="110014" y="244507"/>
                  </a:lnTo>
                  <a:lnTo>
                    <a:pt x="113633" y="243935"/>
                  </a:lnTo>
                  <a:lnTo>
                    <a:pt x="118491" y="239744"/>
                  </a:lnTo>
                  <a:lnTo>
                    <a:pt x="121349" y="233934"/>
                  </a:lnTo>
                  <a:lnTo>
                    <a:pt x="123920" y="238982"/>
                  </a:lnTo>
                  <a:lnTo>
                    <a:pt x="125444" y="236982"/>
                  </a:lnTo>
                  <a:lnTo>
                    <a:pt x="135636" y="244697"/>
                  </a:lnTo>
                  <a:lnTo>
                    <a:pt x="136970" y="240887"/>
                  </a:lnTo>
                  <a:lnTo>
                    <a:pt x="140779" y="242221"/>
                  </a:lnTo>
                  <a:lnTo>
                    <a:pt x="152686" y="235172"/>
                  </a:lnTo>
                  <a:lnTo>
                    <a:pt x="156020" y="232886"/>
                  </a:lnTo>
                  <a:lnTo>
                    <a:pt x="152210" y="231648"/>
                  </a:lnTo>
                  <a:lnTo>
                    <a:pt x="153543" y="227838"/>
                  </a:lnTo>
                  <a:lnTo>
                    <a:pt x="160211" y="223361"/>
                  </a:lnTo>
                  <a:lnTo>
                    <a:pt x="161544" y="219456"/>
                  </a:lnTo>
                  <a:lnTo>
                    <a:pt x="165164" y="219075"/>
                  </a:lnTo>
                  <a:lnTo>
                    <a:pt x="162878" y="215741"/>
                  </a:lnTo>
                  <a:lnTo>
                    <a:pt x="168212" y="214979"/>
                  </a:lnTo>
                  <a:lnTo>
                    <a:pt x="167831" y="211455"/>
                  </a:lnTo>
                  <a:lnTo>
                    <a:pt x="169545" y="211169"/>
                  </a:lnTo>
                  <a:lnTo>
                    <a:pt x="172593" y="192691"/>
                  </a:lnTo>
                  <a:lnTo>
                    <a:pt x="176403" y="194024"/>
                  </a:lnTo>
                  <a:lnTo>
                    <a:pt x="183356" y="191262"/>
                  </a:lnTo>
                  <a:lnTo>
                    <a:pt x="184690" y="187452"/>
                  </a:lnTo>
                  <a:lnTo>
                    <a:pt x="190595" y="190310"/>
                  </a:lnTo>
                  <a:lnTo>
                    <a:pt x="194501" y="178879"/>
                  </a:lnTo>
                  <a:lnTo>
                    <a:pt x="199930" y="178213"/>
                  </a:lnTo>
                  <a:lnTo>
                    <a:pt x="201454" y="176117"/>
                  </a:lnTo>
                  <a:lnTo>
                    <a:pt x="208693" y="175165"/>
                  </a:lnTo>
                  <a:lnTo>
                    <a:pt x="205931" y="168307"/>
                  </a:lnTo>
                  <a:lnTo>
                    <a:pt x="207454" y="166307"/>
                  </a:lnTo>
                  <a:lnTo>
                    <a:pt x="204502" y="157639"/>
                  </a:lnTo>
                  <a:lnTo>
                    <a:pt x="204311" y="155829"/>
                  </a:lnTo>
                  <a:lnTo>
                    <a:pt x="196406" y="151448"/>
                  </a:lnTo>
                  <a:lnTo>
                    <a:pt x="195929" y="147923"/>
                  </a:lnTo>
                  <a:lnTo>
                    <a:pt x="191358" y="141256"/>
                  </a:lnTo>
                  <a:lnTo>
                    <a:pt x="189929" y="130492"/>
                  </a:lnTo>
                  <a:lnTo>
                    <a:pt x="187452" y="125444"/>
                  </a:lnTo>
                  <a:lnTo>
                    <a:pt x="186976" y="121825"/>
                  </a:lnTo>
                  <a:lnTo>
                    <a:pt x="190595" y="121444"/>
                  </a:lnTo>
                  <a:lnTo>
                    <a:pt x="189452" y="112490"/>
                  </a:lnTo>
                  <a:lnTo>
                    <a:pt x="192977" y="112014"/>
                  </a:lnTo>
                  <a:lnTo>
                    <a:pt x="196120" y="108014"/>
                  </a:lnTo>
                  <a:lnTo>
                    <a:pt x="194025" y="106394"/>
                  </a:lnTo>
                  <a:lnTo>
                    <a:pt x="200787" y="101917"/>
                  </a:lnTo>
                  <a:lnTo>
                    <a:pt x="201073" y="103727"/>
                  </a:lnTo>
                  <a:lnTo>
                    <a:pt x="202406" y="99917"/>
                  </a:lnTo>
                  <a:lnTo>
                    <a:pt x="200596" y="100108"/>
                  </a:lnTo>
                  <a:lnTo>
                    <a:pt x="203740" y="96107"/>
                  </a:lnTo>
                  <a:lnTo>
                    <a:pt x="206121" y="86678"/>
                  </a:lnTo>
                  <a:lnTo>
                    <a:pt x="213265" y="85725"/>
                  </a:lnTo>
                  <a:lnTo>
                    <a:pt x="213075" y="84011"/>
                  </a:lnTo>
                  <a:lnTo>
                    <a:pt x="218408" y="83249"/>
                  </a:lnTo>
                  <a:lnTo>
                    <a:pt x="217932" y="79724"/>
                  </a:lnTo>
                  <a:lnTo>
                    <a:pt x="219742" y="79439"/>
                  </a:lnTo>
                  <a:lnTo>
                    <a:pt x="228410" y="89154"/>
                  </a:lnTo>
                  <a:lnTo>
                    <a:pt x="232220" y="90488"/>
                  </a:lnTo>
                  <a:lnTo>
                    <a:pt x="230410" y="90773"/>
                  </a:lnTo>
                  <a:lnTo>
                    <a:pt x="225933" y="98584"/>
                  </a:lnTo>
                  <a:lnTo>
                    <a:pt x="225838" y="111252"/>
                  </a:lnTo>
                  <a:lnTo>
                    <a:pt x="223171" y="118872"/>
                  </a:lnTo>
                  <a:lnTo>
                    <a:pt x="223838" y="124206"/>
                  </a:lnTo>
                  <a:lnTo>
                    <a:pt x="234410" y="121063"/>
                  </a:lnTo>
                  <a:lnTo>
                    <a:pt x="238220" y="122301"/>
                  </a:lnTo>
                  <a:lnTo>
                    <a:pt x="236792" y="111633"/>
                  </a:lnTo>
                  <a:lnTo>
                    <a:pt x="252127" y="116872"/>
                  </a:lnTo>
                  <a:lnTo>
                    <a:pt x="257556" y="116205"/>
                  </a:lnTo>
                  <a:lnTo>
                    <a:pt x="261842" y="121063"/>
                  </a:lnTo>
                  <a:lnTo>
                    <a:pt x="260509" y="124873"/>
                  </a:lnTo>
                  <a:lnTo>
                    <a:pt x="262319" y="124587"/>
                  </a:lnTo>
                  <a:lnTo>
                    <a:pt x="271272" y="123349"/>
                  </a:lnTo>
                  <a:lnTo>
                    <a:pt x="274034" y="130302"/>
                  </a:lnTo>
                  <a:lnTo>
                    <a:pt x="275558" y="128302"/>
                  </a:lnTo>
                  <a:lnTo>
                    <a:pt x="273082" y="123158"/>
                  </a:lnTo>
                  <a:lnTo>
                    <a:pt x="278416" y="122492"/>
                  </a:lnTo>
                  <a:lnTo>
                    <a:pt x="278225" y="120682"/>
                  </a:lnTo>
                  <a:lnTo>
                    <a:pt x="282035" y="122015"/>
                  </a:lnTo>
                  <a:lnTo>
                    <a:pt x="291275" y="122587"/>
                  </a:lnTo>
                  <a:lnTo>
                    <a:pt x="289941" y="126397"/>
                  </a:lnTo>
                  <a:lnTo>
                    <a:pt x="297371" y="127254"/>
                  </a:lnTo>
                  <a:lnTo>
                    <a:pt x="305753" y="135160"/>
                  </a:lnTo>
                  <a:lnTo>
                    <a:pt x="307562" y="134969"/>
                  </a:lnTo>
                  <a:lnTo>
                    <a:pt x="312325" y="143351"/>
                  </a:lnTo>
                  <a:lnTo>
                    <a:pt x="313754" y="154019"/>
                  </a:lnTo>
                  <a:lnTo>
                    <a:pt x="313944" y="155829"/>
                  </a:lnTo>
                  <a:lnTo>
                    <a:pt x="334709" y="133160"/>
                  </a:lnTo>
                  <a:lnTo>
                    <a:pt x="340709" y="123349"/>
                  </a:lnTo>
                  <a:lnTo>
                    <a:pt x="345853" y="120777"/>
                  </a:lnTo>
                  <a:lnTo>
                    <a:pt x="346139" y="122587"/>
                  </a:lnTo>
                  <a:lnTo>
                    <a:pt x="350806" y="116491"/>
                  </a:lnTo>
                  <a:lnTo>
                    <a:pt x="349377" y="105823"/>
                  </a:lnTo>
                  <a:lnTo>
                    <a:pt x="346805" y="100679"/>
                  </a:lnTo>
                  <a:lnTo>
                    <a:pt x="345091" y="100965"/>
                  </a:lnTo>
                  <a:lnTo>
                    <a:pt x="349758" y="94869"/>
                  </a:lnTo>
                  <a:lnTo>
                    <a:pt x="340043" y="90773"/>
                  </a:lnTo>
                  <a:lnTo>
                    <a:pt x="351282" y="92869"/>
                  </a:lnTo>
                  <a:lnTo>
                    <a:pt x="351092" y="91059"/>
                  </a:lnTo>
                  <a:lnTo>
                    <a:pt x="356235" y="88583"/>
                  </a:lnTo>
                  <a:lnTo>
                    <a:pt x="358521" y="91916"/>
                  </a:lnTo>
                  <a:lnTo>
                    <a:pt x="357188" y="95726"/>
                  </a:lnTo>
                  <a:lnTo>
                    <a:pt x="360998" y="97060"/>
                  </a:lnTo>
                  <a:lnTo>
                    <a:pt x="367189" y="88964"/>
                  </a:lnTo>
                  <a:lnTo>
                    <a:pt x="370808" y="88487"/>
                  </a:lnTo>
                  <a:lnTo>
                    <a:pt x="377571" y="84011"/>
                  </a:lnTo>
                  <a:lnTo>
                    <a:pt x="379762" y="87249"/>
                  </a:lnTo>
                  <a:lnTo>
                    <a:pt x="397288" y="81344"/>
                  </a:lnTo>
                  <a:lnTo>
                    <a:pt x="399383" y="82867"/>
                  </a:lnTo>
                  <a:lnTo>
                    <a:pt x="404432" y="80391"/>
                  </a:lnTo>
                  <a:lnTo>
                    <a:pt x="408051" y="79915"/>
                  </a:lnTo>
                  <a:lnTo>
                    <a:pt x="413671" y="80963"/>
                  </a:lnTo>
                  <a:lnTo>
                    <a:pt x="417766" y="84106"/>
                  </a:lnTo>
                  <a:lnTo>
                    <a:pt x="420243" y="89154"/>
                  </a:lnTo>
                  <a:lnTo>
                    <a:pt x="418910" y="92964"/>
                  </a:lnTo>
                  <a:lnTo>
                    <a:pt x="424053" y="90488"/>
                  </a:lnTo>
                  <a:lnTo>
                    <a:pt x="425863" y="90202"/>
                  </a:lnTo>
                  <a:lnTo>
                    <a:pt x="426339" y="93821"/>
                  </a:lnTo>
                  <a:lnTo>
                    <a:pt x="429768" y="91535"/>
                  </a:lnTo>
                  <a:lnTo>
                    <a:pt x="433578" y="92869"/>
                  </a:lnTo>
                  <a:lnTo>
                    <a:pt x="436626" y="88868"/>
                  </a:lnTo>
                  <a:lnTo>
                    <a:pt x="437102" y="92392"/>
                  </a:lnTo>
                  <a:lnTo>
                    <a:pt x="438721" y="90392"/>
                  </a:lnTo>
                  <a:lnTo>
                    <a:pt x="444532" y="93250"/>
                  </a:lnTo>
                  <a:lnTo>
                    <a:pt x="454629" y="86487"/>
                  </a:lnTo>
                  <a:lnTo>
                    <a:pt x="455486" y="79058"/>
                  </a:lnTo>
                  <a:lnTo>
                    <a:pt x="460915" y="78391"/>
                  </a:lnTo>
                  <a:lnTo>
                    <a:pt x="470440" y="68008"/>
                  </a:lnTo>
                  <a:lnTo>
                    <a:pt x="464154" y="61627"/>
                  </a:lnTo>
                  <a:lnTo>
                    <a:pt x="469106" y="57341"/>
                  </a:lnTo>
                  <a:lnTo>
                    <a:pt x="463201" y="54483"/>
                  </a:lnTo>
                  <a:lnTo>
                    <a:pt x="458629" y="47816"/>
                  </a:lnTo>
                  <a:lnTo>
                    <a:pt x="456629" y="46292"/>
                  </a:lnTo>
                  <a:lnTo>
                    <a:pt x="455962" y="40958"/>
                  </a:lnTo>
                  <a:lnTo>
                    <a:pt x="445770" y="33242"/>
                  </a:lnTo>
                  <a:lnTo>
                    <a:pt x="446818" y="27623"/>
                  </a:lnTo>
                  <a:lnTo>
                    <a:pt x="442817" y="24575"/>
                  </a:lnTo>
                  <a:lnTo>
                    <a:pt x="446151" y="22289"/>
                  </a:lnTo>
                  <a:lnTo>
                    <a:pt x="450247" y="25432"/>
                  </a:lnTo>
                  <a:lnTo>
                    <a:pt x="451581" y="21622"/>
                  </a:lnTo>
                  <a:lnTo>
                    <a:pt x="458724" y="20669"/>
                  </a:lnTo>
                  <a:lnTo>
                    <a:pt x="458914" y="22479"/>
                  </a:lnTo>
                  <a:lnTo>
                    <a:pt x="467487" y="17717"/>
                  </a:lnTo>
                  <a:lnTo>
                    <a:pt x="476726" y="32766"/>
                  </a:lnTo>
                  <a:lnTo>
                    <a:pt x="482441" y="33814"/>
                  </a:lnTo>
                  <a:lnTo>
                    <a:pt x="487299" y="29528"/>
                  </a:lnTo>
                  <a:lnTo>
                    <a:pt x="484347" y="20860"/>
                  </a:lnTo>
                  <a:lnTo>
                    <a:pt x="487680" y="18669"/>
                  </a:lnTo>
                  <a:lnTo>
                    <a:pt x="487013" y="13335"/>
                  </a:lnTo>
                  <a:lnTo>
                    <a:pt x="488347" y="9525"/>
                  </a:lnTo>
                  <a:lnTo>
                    <a:pt x="489395" y="3905"/>
                  </a:lnTo>
                  <a:lnTo>
                    <a:pt x="494538" y="1429"/>
                  </a:lnTo>
                  <a:lnTo>
                    <a:pt x="500634" y="6001"/>
                  </a:lnTo>
                  <a:lnTo>
                    <a:pt x="505301" y="0"/>
                  </a:lnTo>
                  <a:lnTo>
                    <a:pt x="510350" y="10192"/>
                  </a:lnTo>
                  <a:lnTo>
                    <a:pt x="518256" y="14573"/>
                  </a:lnTo>
                  <a:lnTo>
                    <a:pt x="520446" y="17907"/>
                  </a:lnTo>
                  <a:lnTo>
                    <a:pt x="526161" y="18955"/>
                  </a:lnTo>
                  <a:lnTo>
                    <a:pt x="521398" y="25051"/>
                  </a:lnTo>
                  <a:lnTo>
                    <a:pt x="523494" y="26575"/>
                  </a:lnTo>
                  <a:lnTo>
                    <a:pt x="529590" y="31242"/>
                  </a:lnTo>
                  <a:lnTo>
                    <a:pt x="529780" y="32957"/>
                  </a:lnTo>
                  <a:lnTo>
                    <a:pt x="537020" y="32004"/>
                  </a:lnTo>
                  <a:lnTo>
                    <a:pt x="544830" y="36386"/>
                  </a:lnTo>
                  <a:lnTo>
                    <a:pt x="548926" y="39529"/>
                  </a:lnTo>
                  <a:lnTo>
                    <a:pt x="550259" y="35719"/>
                  </a:lnTo>
                  <a:lnTo>
                    <a:pt x="565975" y="30004"/>
                  </a:lnTo>
                  <a:lnTo>
                    <a:pt x="571310" y="29337"/>
                  </a:lnTo>
                  <a:lnTo>
                    <a:pt x="571786" y="32861"/>
                  </a:lnTo>
                  <a:lnTo>
                    <a:pt x="575215" y="30575"/>
                  </a:lnTo>
                  <a:lnTo>
                    <a:pt x="579025" y="31909"/>
                  </a:lnTo>
                  <a:lnTo>
                    <a:pt x="580835" y="31718"/>
                  </a:lnTo>
                  <a:lnTo>
                    <a:pt x="582168" y="27908"/>
                  </a:lnTo>
                  <a:lnTo>
                    <a:pt x="583882" y="27623"/>
                  </a:lnTo>
                  <a:lnTo>
                    <a:pt x="583406" y="24098"/>
                  </a:lnTo>
                  <a:lnTo>
                    <a:pt x="588645" y="21622"/>
                  </a:lnTo>
                  <a:lnTo>
                    <a:pt x="590265" y="34100"/>
                  </a:lnTo>
                  <a:lnTo>
                    <a:pt x="597884" y="36671"/>
                  </a:lnTo>
                  <a:lnTo>
                    <a:pt x="603314" y="36004"/>
                  </a:lnTo>
                  <a:lnTo>
                    <a:pt x="610076" y="45911"/>
                  </a:lnTo>
                  <a:lnTo>
                    <a:pt x="611886" y="45720"/>
                  </a:lnTo>
                  <a:lnTo>
                    <a:pt x="610838" y="51245"/>
                  </a:lnTo>
                  <a:lnTo>
                    <a:pt x="603885" y="54007"/>
                  </a:lnTo>
                  <a:lnTo>
                    <a:pt x="609981" y="58674"/>
                  </a:lnTo>
                  <a:lnTo>
                    <a:pt x="617125" y="57721"/>
                  </a:lnTo>
                  <a:lnTo>
                    <a:pt x="624078" y="54959"/>
                  </a:lnTo>
                  <a:lnTo>
                    <a:pt x="628174" y="58007"/>
                  </a:lnTo>
                  <a:lnTo>
                    <a:pt x="634651" y="51721"/>
                  </a:lnTo>
                  <a:lnTo>
                    <a:pt x="639985" y="51054"/>
                  </a:lnTo>
                  <a:lnTo>
                    <a:pt x="646366" y="57436"/>
                  </a:lnTo>
                  <a:lnTo>
                    <a:pt x="649319" y="66104"/>
                  </a:lnTo>
                  <a:lnTo>
                    <a:pt x="655415" y="70771"/>
                  </a:lnTo>
                  <a:lnTo>
                    <a:pt x="657892" y="75819"/>
                  </a:lnTo>
                  <a:lnTo>
                    <a:pt x="656654" y="79629"/>
                  </a:lnTo>
                  <a:lnTo>
                    <a:pt x="648558" y="88011"/>
                  </a:lnTo>
                  <a:lnTo>
                    <a:pt x="652272" y="102013"/>
                  </a:lnTo>
                  <a:lnTo>
                    <a:pt x="648843" y="104299"/>
                  </a:lnTo>
                  <a:lnTo>
                    <a:pt x="642842" y="114110"/>
                  </a:lnTo>
                  <a:lnTo>
                    <a:pt x="640271" y="121729"/>
                  </a:lnTo>
                  <a:lnTo>
                    <a:pt x="631698" y="126492"/>
                  </a:lnTo>
                  <a:lnTo>
                    <a:pt x="627983" y="139637"/>
                  </a:lnTo>
                  <a:lnTo>
                    <a:pt x="614553" y="148685"/>
                  </a:lnTo>
                  <a:lnTo>
                    <a:pt x="607600" y="151448"/>
                  </a:lnTo>
                  <a:lnTo>
                    <a:pt x="591408" y="153543"/>
                  </a:lnTo>
                  <a:lnTo>
                    <a:pt x="587121" y="148685"/>
                  </a:lnTo>
                  <a:lnTo>
                    <a:pt x="576167" y="148304"/>
                  </a:lnTo>
                  <a:lnTo>
                    <a:pt x="569786" y="141923"/>
                  </a:lnTo>
                  <a:lnTo>
                    <a:pt x="564642" y="144399"/>
                  </a:lnTo>
                  <a:lnTo>
                    <a:pt x="561308" y="146685"/>
                  </a:lnTo>
                  <a:lnTo>
                    <a:pt x="558832" y="156020"/>
                  </a:lnTo>
                  <a:lnTo>
                    <a:pt x="555784" y="160115"/>
                  </a:lnTo>
                  <a:lnTo>
                    <a:pt x="528447" y="174593"/>
                  </a:lnTo>
                  <a:lnTo>
                    <a:pt x="525113" y="176879"/>
                  </a:lnTo>
                  <a:lnTo>
                    <a:pt x="519684" y="177546"/>
                  </a:lnTo>
                  <a:lnTo>
                    <a:pt x="519208" y="174022"/>
                  </a:lnTo>
                  <a:lnTo>
                    <a:pt x="515588" y="174498"/>
                  </a:lnTo>
                  <a:lnTo>
                    <a:pt x="510826" y="166021"/>
                  </a:lnTo>
                  <a:lnTo>
                    <a:pt x="507206" y="166497"/>
                  </a:lnTo>
                  <a:lnTo>
                    <a:pt x="505968" y="170307"/>
                  </a:lnTo>
                  <a:lnTo>
                    <a:pt x="502825" y="174308"/>
                  </a:lnTo>
                  <a:lnTo>
                    <a:pt x="497681" y="176879"/>
                  </a:lnTo>
                  <a:lnTo>
                    <a:pt x="487966" y="172688"/>
                  </a:lnTo>
                  <a:lnTo>
                    <a:pt x="480822" y="173641"/>
                  </a:lnTo>
                  <a:lnTo>
                    <a:pt x="471392" y="171260"/>
                  </a:lnTo>
                  <a:lnTo>
                    <a:pt x="464820" y="177546"/>
                  </a:lnTo>
                  <a:lnTo>
                    <a:pt x="451009" y="183071"/>
                  </a:lnTo>
                  <a:lnTo>
                    <a:pt x="446056" y="187262"/>
                  </a:lnTo>
                  <a:lnTo>
                    <a:pt x="446247" y="189071"/>
                  </a:lnTo>
                  <a:lnTo>
                    <a:pt x="451009" y="197549"/>
                  </a:lnTo>
                  <a:lnTo>
                    <a:pt x="460248" y="198120"/>
                  </a:lnTo>
                  <a:lnTo>
                    <a:pt x="470345" y="191357"/>
                  </a:lnTo>
                  <a:lnTo>
                    <a:pt x="472345" y="192881"/>
                  </a:lnTo>
                  <a:lnTo>
                    <a:pt x="472630" y="194691"/>
                  </a:lnTo>
                  <a:lnTo>
                    <a:pt x="469297" y="196977"/>
                  </a:lnTo>
                  <a:lnTo>
                    <a:pt x="462820" y="203264"/>
                  </a:lnTo>
                  <a:lnTo>
                    <a:pt x="463487" y="208502"/>
                  </a:lnTo>
                  <a:lnTo>
                    <a:pt x="454819" y="226028"/>
                  </a:lnTo>
                  <a:lnTo>
                    <a:pt x="450818" y="237458"/>
                  </a:lnTo>
                  <a:lnTo>
                    <a:pt x="445961" y="241745"/>
                  </a:lnTo>
                  <a:lnTo>
                    <a:pt x="448628" y="248603"/>
                  </a:lnTo>
                  <a:lnTo>
                    <a:pt x="447294" y="252413"/>
                  </a:lnTo>
                  <a:lnTo>
                    <a:pt x="436340" y="252032"/>
                  </a:lnTo>
                  <a:lnTo>
                    <a:pt x="431388" y="256318"/>
                  </a:lnTo>
                  <a:lnTo>
                    <a:pt x="432149" y="261652"/>
                  </a:lnTo>
                  <a:lnTo>
                    <a:pt x="435673" y="261175"/>
                  </a:lnTo>
                  <a:lnTo>
                    <a:pt x="439769" y="264319"/>
                  </a:lnTo>
                  <a:lnTo>
                    <a:pt x="436626" y="268319"/>
                  </a:lnTo>
                  <a:lnTo>
                    <a:pt x="426148" y="271558"/>
                  </a:lnTo>
                  <a:lnTo>
                    <a:pt x="421196" y="275749"/>
                  </a:lnTo>
                  <a:lnTo>
                    <a:pt x="415862" y="276511"/>
                  </a:lnTo>
                  <a:lnTo>
                    <a:pt x="413099" y="269653"/>
                  </a:lnTo>
                  <a:lnTo>
                    <a:pt x="407004" y="264986"/>
                  </a:lnTo>
                  <a:lnTo>
                    <a:pt x="402717" y="260128"/>
                  </a:lnTo>
                  <a:lnTo>
                    <a:pt x="401574" y="265748"/>
                  </a:lnTo>
                  <a:lnTo>
                    <a:pt x="396907" y="271748"/>
                  </a:lnTo>
                  <a:lnTo>
                    <a:pt x="399383" y="276892"/>
                  </a:lnTo>
                  <a:lnTo>
                    <a:pt x="389573" y="285464"/>
                  </a:lnTo>
                  <a:lnTo>
                    <a:pt x="381191" y="277463"/>
                  </a:lnTo>
                  <a:lnTo>
                    <a:pt x="374714" y="283750"/>
                  </a:lnTo>
                  <a:lnTo>
                    <a:pt x="366998" y="266700"/>
                  </a:lnTo>
                  <a:lnTo>
                    <a:pt x="358712" y="273177"/>
                  </a:lnTo>
                  <a:lnTo>
                    <a:pt x="353283" y="273939"/>
                  </a:lnTo>
                  <a:lnTo>
                    <a:pt x="347282" y="269272"/>
                  </a:lnTo>
                  <a:lnTo>
                    <a:pt x="344996" y="265938"/>
                  </a:lnTo>
                  <a:lnTo>
                    <a:pt x="328422" y="278987"/>
                  </a:lnTo>
                  <a:lnTo>
                    <a:pt x="329089" y="284417"/>
                  </a:lnTo>
                  <a:lnTo>
                    <a:pt x="322612" y="290703"/>
                  </a:lnTo>
                  <a:lnTo>
                    <a:pt x="328803" y="295275"/>
                  </a:lnTo>
                  <a:lnTo>
                    <a:pt x="328994" y="297085"/>
                  </a:lnTo>
                  <a:lnTo>
                    <a:pt x="327184" y="297275"/>
                  </a:lnTo>
                  <a:lnTo>
                    <a:pt x="336042" y="308800"/>
                  </a:lnTo>
                  <a:lnTo>
                    <a:pt x="339376" y="306610"/>
                  </a:lnTo>
                  <a:lnTo>
                    <a:pt x="341662" y="309848"/>
                  </a:lnTo>
                  <a:lnTo>
                    <a:pt x="338519" y="313944"/>
                  </a:lnTo>
                  <a:lnTo>
                    <a:pt x="343091" y="320612"/>
                  </a:lnTo>
                  <a:lnTo>
                    <a:pt x="344234" y="329470"/>
                  </a:lnTo>
                  <a:lnTo>
                    <a:pt x="344710" y="333089"/>
                  </a:lnTo>
                  <a:lnTo>
                    <a:pt x="345377" y="338423"/>
                  </a:lnTo>
                  <a:lnTo>
                    <a:pt x="350901" y="352139"/>
                  </a:lnTo>
                  <a:lnTo>
                    <a:pt x="349091" y="352425"/>
                  </a:lnTo>
                  <a:lnTo>
                    <a:pt x="344329" y="343948"/>
                  </a:lnTo>
                  <a:lnTo>
                    <a:pt x="332708" y="352806"/>
                  </a:lnTo>
                  <a:lnTo>
                    <a:pt x="332232" y="349187"/>
                  </a:lnTo>
                  <a:lnTo>
                    <a:pt x="332232" y="349187"/>
                  </a:lnTo>
                  <a:lnTo>
                    <a:pt x="325469" y="353759"/>
                  </a:lnTo>
                  <a:lnTo>
                    <a:pt x="311849" y="360998"/>
                  </a:lnTo>
                  <a:lnTo>
                    <a:pt x="299561" y="364426"/>
                  </a:lnTo>
                  <a:lnTo>
                    <a:pt x="295942" y="364903"/>
                  </a:lnTo>
                  <a:lnTo>
                    <a:pt x="296609" y="370237"/>
                  </a:lnTo>
                  <a:lnTo>
                    <a:pt x="289941" y="374809"/>
                  </a:lnTo>
                  <a:lnTo>
                    <a:pt x="287179" y="367856"/>
                  </a:lnTo>
                  <a:lnTo>
                    <a:pt x="278892" y="374428"/>
                  </a:lnTo>
                  <a:lnTo>
                    <a:pt x="273272" y="373380"/>
                  </a:lnTo>
                  <a:lnTo>
                    <a:pt x="262509" y="374809"/>
                  </a:lnTo>
                  <a:lnTo>
                    <a:pt x="259842" y="382334"/>
                  </a:lnTo>
                  <a:lnTo>
                    <a:pt x="256508" y="384619"/>
                  </a:lnTo>
                  <a:lnTo>
                    <a:pt x="255175" y="388430"/>
                  </a:lnTo>
                  <a:lnTo>
                    <a:pt x="244602" y="391573"/>
                  </a:lnTo>
                  <a:lnTo>
                    <a:pt x="240316" y="386810"/>
                  </a:lnTo>
                  <a:lnTo>
                    <a:pt x="224600" y="392430"/>
                  </a:lnTo>
                  <a:lnTo>
                    <a:pt x="208693" y="396431"/>
                  </a:lnTo>
                  <a:lnTo>
                    <a:pt x="192977" y="402050"/>
                  </a:lnTo>
                  <a:lnTo>
                    <a:pt x="181833" y="414433"/>
                  </a:lnTo>
                  <a:lnTo>
                    <a:pt x="176213" y="413385"/>
                  </a:lnTo>
                  <a:lnTo>
                    <a:pt x="167450" y="416338"/>
                  </a:lnTo>
                  <a:lnTo>
                    <a:pt x="160782" y="420910"/>
                  </a:lnTo>
                  <a:lnTo>
                    <a:pt x="156591" y="430435"/>
                  </a:lnTo>
                  <a:lnTo>
                    <a:pt x="154305" y="427196"/>
                  </a:lnTo>
                  <a:lnTo>
                    <a:pt x="152971" y="430911"/>
                  </a:lnTo>
                  <a:lnTo>
                    <a:pt x="151638" y="434816"/>
                  </a:lnTo>
                  <a:lnTo>
                    <a:pt x="146780" y="439007"/>
                  </a:lnTo>
                  <a:lnTo>
                    <a:pt x="143828" y="444913"/>
                  </a:lnTo>
                  <a:lnTo>
                    <a:pt x="138970" y="449104"/>
                  </a:lnTo>
                  <a:lnTo>
                    <a:pt x="130874" y="457486"/>
                  </a:lnTo>
                  <a:lnTo>
                    <a:pt x="121920" y="458629"/>
                  </a:lnTo>
                  <a:lnTo>
                    <a:pt x="113633" y="465201"/>
                  </a:lnTo>
                  <a:lnTo>
                    <a:pt x="110966" y="472821"/>
                  </a:lnTo>
                  <a:lnTo>
                    <a:pt x="109919" y="478346"/>
                  </a:lnTo>
                  <a:lnTo>
                    <a:pt x="112204" y="481679"/>
                  </a:lnTo>
                  <a:lnTo>
                    <a:pt x="120491" y="489680"/>
                  </a:lnTo>
                  <a:lnTo>
                    <a:pt x="121729" y="498539"/>
                  </a:lnTo>
                  <a:lnTo>
                    <a:pt x="117253" y="506349"/>
                  </a:lnTo>
                  <a:lnTo>
                    <a:pt x="119729" y="511492"/>
                  </a:lnTo>
                  <a:lnTo>
                    <a:pt x="121825" y="513017"/>
                  </a:lnTo>
                  <a:lnTo>
                    <a:pt x="91916" y="522446"/>
                  </a:lnTo>
                  <a:lnTo>
                    <a:pt x="80963" y="522065"/>
                  </a:lnTo>
                  <a:lnTo>
                    <a:pt x="67533" y="531114"/>
                  </a:lnTo>
                  <a:lnTo>
                    <a:pt x="53626" y="536543"/>
                  </a:lnTo>
                  <a:lnTo>
                    <a:pt x="48483" y="539115"/>
                  </a:lnTo>
                  <a:lnTo>
                    <a:pt x="42863" y="537972"/>
                  </a:lnTo>
                  <a:lnTo>
                    <a:pt x="41243" y="540068"/>
                  </a:lnTo>
                  <a:lnTo>
                    <a:pt x="35909" y="540734"/>
                  </a:lnTo>
                  <a:lnTo>
                    <a:pt x="31433" y="548545"/>
                  </a:lnTo>
                  <a:lnTo>
                    <a:pt x="25622" y="545687"/>
                  </a:lnTo>
                  <a:lnTo>
                    <a:pt x="20479" y="548259"/>
                  </a:lnTo>
                  <a:lnTo>
                    <a:pt x="0" y="545497"/>
                  </a:lnTo>
                  <a:lnTo>
                    <a:pt x="6477" y="539210"/>
                  </a:lnTo>
                  <a:lnTo>
                    <a:pt x="7334" y="53178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1" name="Volný tvar: obrazec 60">
              <a:extLst>
                <a:ext uri="{FF2B5EF4-FFF2-40B4-BE49-F238E27FC236}">
                  <a16:creationId xmlns:a16="http://schemas.microsoft.com/office/drawing/2014/main" id="{44D4E21C-E0F6-56D2-4A32-6167F047CD31}"/>
                </a:ext>
              </a:extLst>
            </p:cNvPr>
            <p:cNvSpPr/>
            <p:nvPr userDrawn="1"/>
          </p:nvSpPr>
          <p:spPr>
            <a:xfrm>
              <a:off x="7820786" y="3982688"/>
              <a:ext cx="649414" cy="462438"/>
            </a:xfrm>
            <a:custGeom>
              <a:avLst/>
              <a:gdLst>
                <a:gd name="connsiteX0" fmla="*/ 473488 w 649414"/>
                <a:gd name="connsiteY0" fmla="*/ 462439 h 462438"/>
                <a:gd name="connsiteX1" fmla="*/ 465868 w 649414"/>
                <a:gd name="connsiteY1" fmla="*/ 459867 h 462438"/>
                <a:gd name="connsiteX2" fmla="*/ 464916 w 649414"/>
                <a:gd name="connsiteY2" fmla="*/ 452723 h 462438"/>
                <a:gd name="connsiteX3" fmla="*/ 453199 w 649414"/>
                <a:gd name="connsiteY3" fmla="*/ 447008 h 462438"/>
                <a:gd name="connsiteX4" fmla="*/ 442531 w 649414"/>
                <a:gd name="connsiteY4" fmla="*/ 435673 h 462438"/>
                <a:gd name="connsiteX5" fmla="*/ 445199 w 649414"/>
                <a:gd name="connsiteY5" fmla="*/ 428149 h 462438"/>
                <a:gd name="connsiteX6" fmla="*/ 443580 w 649414"/>
                <a:gd name="connsiteY6" fmla="*/ 415671 h 462438"/>
                <a:gd name="connsiteX7" fmla="*/ 445961 w 649414"/>
                <a:gd name="connsiteY7" fmla="*/ 406241 h 462438"/>
                <a:gd name="connsiteX8" fmla="*/ 438340 w 649414"/>
                <a:gd name="connsiteY8" fmla="*/ 403670 h 462438"/>
                <a:gd name="connsiteX9" fmla="*/ 425768 w 649414"/>
                <a:gd name="connsiteY9" fmla="*/ 405289 h 462438"/>
                <a:gd name="connsiteX10" fmla="*/ 420339 w 649414"/>
                <a:gd name="connsiteY10" fmla="*/ 406051 h 462438"/>
                <a:gd name="connsiteX11" fmla="*/ 420339 w 649414"/>
                <a:gd name="connsiteY11" fmla="*/ 406051 h 462438"/>
                <a:gd name="connsiteX12" fmla="*/ 417195 w 649414"/>
                <a:gd name="connsiteY12" fmla="*/ 410051 h 462438"/>
                <a:gd name="connsiteX13" fmla="*/ 410242 w 649414"/>
                <a:gd name="connsiteY13" fmla="*/ 412813 h 462438"/>
                <a:gd name="connsiteX14" fmla="*/ 406718 w 649414"/>
                <a:gd name="connsiteY14" fmla="*/ 413290 h 462438"/>
                <a:gd name="connsiteX15" fmla="*/ 406241 w 649414"/>
                <a:gd name="connsiteY15" fmla="*/ 409670 h 462438"/>
                <a:gd name="connsiteX16" fmla="*/ 401098 w 649414"/>
                <a:gd name="connsiteY16" fmla="*/ 412242 h 462438"/>
                <a:gd name="connsiteX17" fmla="*/ 394906 w 649414"/>
                <a:gd name="connsiteY17" fmla="*/ 407575 h 462438"/>
                <a:gd name="connsiteX18" fmla="*/ 394240 w 649414"/>
                <a:gd name="connsiteY18" fmla="*/ 402241 h 462438"/>
                <a:gd name="connsiteX19" fmla="*/ 386620 w 649414"/>
                <a:gd name="connsiteY19" fmla="*/ 399669 h 462438"/>
                <a:gd name="connsiteX20" fmla="*/ 382810 w 649414"/>
                <a:gd name="connsiteY20" fmla="*/ 398336 h 462438"/>
                <a:gd name="connsiteX21" fmla="*/ 379381 w 649414"/>
                <a:gd name="connsiteY21" fmla="*/ 400526 h 462438"/>
                <a:gd name="connsiteX22" fmla="*/ 371951 w 649414"/>
                <a:gd name="connsiteY22" fmla="*/ 399764 h 462438"/>
                <a:gd name="connsiteX23" fmla="*/ 373094 w 649414"/>
                <a:gd name="connsiteY23" fmla="*/ 394145 h 462438"/>
                <a:gd name="connsiteX24" fmla="*/ 367189 w 649414"/>
                <a:gd name="connsiteY24" fmla="*/ 391287 h 462438"/>
                <a:gd name="connsiteX25" fmla="*/ 368046 w 649414"/>
                <a:gd name="connsiteY25" fmla="*/ 383953 h 462438"/>
                <a:gd name="connsiteX26" fmla="*/ 364046 w 649414"/>
                <a:gd name="connsiteY26" fmla="*/ 380809 h 462438"/>
                <a:gd name="connsiteX27" fmla="*/ 359093 w 649414"/>
                <a:gd name="connsiteY27" fmla="*/ 385096 h 462438"/>
                <a:gd name="connsiteX28" fmla="*/ 354616 w 649414"/>
                <a:gd name="connsiteY28" fmla="*/ 378428 h 462438"/>
                <a:gd name="connsiteX29" fmla="*/ 346710 w 649414"/>
                <a:gd name="connsiteY29" fmla="*/ 374047 h 462438"/>
                <a:gd name="connsiteX30" fmla="*/ 349187 w 649414"/>
                <a:gd name="connsiteY30" fmla="*/ 379190 h 462438"/>
                <a:gd name="connsiteX31" fmla="*/ 347567 w 649414"/>
                <a:gd name="connsiteY31" fmla="*/ 381190 h 462438"/>
                <a:gd name="connsiteX32" fmla="*/ 347377 w 649414"/>
                <a:gd name="connsiteY32" fmla="*/ 379381 h 462438"/>
                <a:gd name="connsiteX33" fmla="*/ 343757 w 649414"/>
                <a:gd name="connsiteY33" fmla="*/ 379857 h 462438"/>
                <a:gd name="connsiteX34" fmla="*/ 343567 w 649414"/>
                <a:gd name="connsiteY34" fmla="*/ 378142 h 462438"/>
                <a:gd name="connsiteX35" fmla="*/ 337471 w 649414"/>
                <a:gd name="connsiteY35" fmla="*/ 373475 h 462438"/>
                <a:gd name="connsiteX36" fmla="*/ 336709 w 649414"/>
                <a:gd name="connsiteY36" fmla="*/ 368141 h 462438"/>
                <a:gd name="connsiteX37" fmla="*/ 334899 w 649414"/>
                <a:gd name="connsiteY37" fmla="*/ 368332 h 462438"/>
                <a:gd name="connsiteX38" fmla="*/ 330518 w 649414"/>
                <a:gd name="connsiteY38" fmla="*/ 376238 h 462438"/>
                <a:gd name="connsiteX39" fmla="*/ 327184 w 649414"/>
                <a:gd name="connsiteY39" fmla="*/ 378428 h 462438"/>
                <a:gd name="connsiteX40" fmla="*/ 329660 w 649414"/>
                <a:gd name="connsiteY40" fmla="*/ 383572 h 462438"/>
                <a:gd name="connsiteX41" fmla="*/ 323183 w 649414"/>
                <a:gd name="connsiteY41" fmla="*/ 389858 h 462438"/>
                <a:gd name="connsiteX42" fmla="*/ 308801 w 649414"/>
                <a:gd name="connsiteY42" fmla="*/ 391763 h 462438"/>
                <a:gd name="connsiteX43" fmla="*/ 306800 w 649414"/>
                <a:gd name="connsiteY43" fmla="*/ 390239 h 462438"/>
                <a:gd name="connsiteX44" fmla="*/ 301181 w 649414"/>
                <a:gd name="connsiteY44" fmla="*/ 389191 h 462438"/>
                <a:gd name="connsiteX45" fmla="*/ 299847 w 649414"/>
                <a:gd name="connsiteY45" fmla="*/ 392906 h 462438"/>
                <a:gd name="connsiteX46" fmla="*/ 296037 w 649414"/>
                <a:gd name="connsiteY46" fmla="*/ 391668 h 462438"/>
                <a:gd name="connsiteX47" fmla="*/ 292608 w 649414"/>
                <a:gd name="connsiteY47" fmla="*/ 393954 h 462438"/>
                <a:gd name="connsiteX48" fmla="*/ 295180 w 649414"/>
                <a:gd name="connsiteY48" fmla="*/ 399002 h 462438"/>
                <a:gd name="connsiteX49" fmla="*/ 288227 w 649414"/>
                <a:gd name="connsiteY49" fmla="*/ 401764 h 462438"/>
                <a:gd name="connsiteX50" fmla="*/ 288893 w 649414"/>
                <a:gd name="connsiteY50" fmla="*/ 407098 h 462438"/>
                <a:gd name="connsiteX51" fmla="*/ 283464 w 649414"/>
                <a:gd name="connsiteY51" fmla="*/ 407765 h 462438"/>
                <a:gd name="connsiteX52" fmla="*/ 278607 w 649414"/>
                <a:gd name="connsiteY52" fmla="*/ 412147 h 462438"/>
                <a:gd name="connsiteX53" fmla="*/ 273177 w 649414"/>
                <a:gd name="connsiteY53" fmla="*/ 412813 h 462438"/>
                <a:gd name="connsiteX54" fmla="*/ 272987 w 649414"/>
                <a:gd name="connsiteY54" fmla="*/ 411004 h 462438"/>
                <a:gd name="connsiteX55" fmla="*/ 260604 w 649414"/>
                <a:gd name="connsiteY55" fmla="*/ 414433 h 462438"/>
                <a:gd name="connsiteX56" fmla="*/ 259175 w 649414"/>
                <a:gd name="connsiteY56" fmla="*/ 403765 h 462438"/>
                <a:gd name="connsiteX57" fmla="*/ 261652 w 649414"/>
                <a:gd name="connsiteY57" fmla="*/ 394430 h 462438"/>
                <a:gd name="connsiteX58" fmla="*/ 259080 w 649414"/>
                <a:gd name="connsiteY58" fmla="*/ 389287 h 462438"/>
                <a:gd name="connsiteX59" fmla="*/ 260223 w 649414"/>
                <a:gd name="connsiteY59" fmla="*/ 383667 h 462438"/>
                <a:gd name="connsiteX60" fmla="*/ 256127 w 649414"/>
                <a:gd name="connsiteY60" fmla="*/ 380619 h 462438"/>
                <a:gd name="connsiteX61" fmla="*/ 251841 w 649414"/>
                <a:gd name="connsiteY61" fmla="*/ 375761 h 462438"/>
                <a:gd name="connsiteX62" fmla="*/ 249841 w 649414"/>
                <a:gd name="connsiteY62" fmla="*/ 374237 h 462438"/>
                <a:gd name="connsiteX63" fmla="*/ 238792 w 649414"/>
                <a:gd name="connsiteY63" fmla="*/ 373856 h 462438"/>
                <a:gd name="connsiteX64" fmla="*/ 231838 w 649414"/>
                <a:gd name="connsiteY64" fmla="*/ 376523 h 462438"/>
                <a:gd name="connsiteX65" fmla="*/ 227838 w 649414"/>
                <a:gd name="connsiteY65" fmla="*/ 373475 h 462438"/>
                <a:gd name="connsiteX66" fmla="*/ 229362 w 649414"/>
                <a:gd name="connsiteY66" fmla="*/ 371475 h 462438"/>
                <a:gd name="connsiteX67" fmla="*/ 227552 w 649414"/>
                <a:gd name="connsiteY67" fmla="*/ 371665 h 462438"/>
                <a:gd name="connsiteX68" fmla="*/ 224790 w 649414"/>
                <a:gd name="connsiteY68" fmla="*/ 364807 h 462438"/>
                <a:gd name="connsiteX69" fmla="*/ 222313 w 649414"/>
                <a:gd name="connsiteY69" fmla="*/ 359664 h 462438"/>
                <a:gd name="connsiteX70" fmla="*/ 223362 w 649414"/>
                <a:gd name="connsiteY70" fmla="*/ 354139 h 462438"/>
                <a:gd name="connsiteX71" fmla="*/ 217551 w 649414"/>
                <a:gd name="connsiteY71" fmla="*/ 351282 h 462438"/>
                <a:gd name="connsiteX72" fmla="*/ 220885 w 649414"/>
                <a:gd name="connsiteY72" fmla="*/ 348996 h 462438"/>
                <a:gd name="connsiteX73" fmla="*/ 218599 w 649414"/>
                <a:gd name="connsiteY73" fmla="*/ 345662 h 462438"/>
                <a:gd name="connsiteX74" fmla="*/ 215265 w 649414"/>
                <a:gd name="connsiteY74" fmla="*/ 347948 h 462438"/>
                <a:gd name="connsiteX75" fmla="*/ 209646 w 649414"/>
                <a:gd name="connsiteY75" fmla="*/ 346900 h 462438"/>
                <a:gd name="connsiteX76" fmla="*/ 210979 w 649414"/>
                <a:gd name="connsiteY76" fmla="*/ 343090 h 462438"/>
                <a:gd name="connsiteX77" fmla="*/ 206883 w 649414"/>
                <a:gd name="connsiteY77" fmla="*/ 339947 h 462438"/>
                <a:gd name="connsiteX78" fmla="*/ 211836 w 649414"/>
                <a:gd name="connsiteY78" fmla="*/ 335661 h 462438"/>
                <a:gd name="connsiteX79" fmla="*/ 211360 w 649414"/>
                <a:gd name="connsiteY79" fmla="*/ 332137 h 462438"/>
                <a:gd name="connsiteX80" fmla="*/ 209360 w 649414"/>
                <a:gd name="connsiteY80" fmla="*/ 330613 h 462438"/>
                <a:gd name="connsiteX81" fmla="*/ 210883 w 649414"/>
                <a:gd name="connsiteY81" fmla="*/ 328517 h 462438"/>
                <a:gd name="connsiteX82" fmla="*/ 216027 w 649414"/>
                <a:gd name="connsiteY82" fmla="*/ 326041 h 462438"/>
                <a:gd name="connsiteX83" fmla="*/ 218027 w 649414"/>
                <a:gd name="connsiteY83" fmla="*/ 327660 h 462438"/>
                <a:gd name="connsiteX84" fmla="*/ 219171 w 649414"/>
                <a:gd name="connsiteY84" fmla="*/ 322040 h 462438"/>
                <a:gd name="connsiteX85" fmla="*/ 216694 w 649414"/>
                <a:gd name="connsiteY85" fmla="*/ 316992 h 462438"/>
                <a:gd name="connsiteX86" fmla="*/ 232125 w 649414"/>
                <a:gd name="connsiteY86" fmla="*/ 309467 h 462438"/>
                <a:gd name="connsiteX87" fmla="*/ 227552 w 649414"/>
                <a:gd name="connsiteY87" fmla="*/ 302800 h 462438"/>
                <a:gd name="connsiteX88" fmla="*/ 226124 w 649414"/>
                <a:gd name="connsiteY88" fmla="*/ 292132 h 462438"/>
                <a:gd name="connsiteX89" fmla="*/ 221837 w 649414"/>
                <a:gd name="connsiteY89" fmla="*/ 287274 h 462438"/>
                <a:gd name="connsiteX90" fmla="*/ 212408 w 649414"/>
                <a:gd name="connsiteY90" fmla="*/ 284893 h 462438"/>
                <a:gd name="connsiteX91" fmla="*/ 205455 w 649414"/>
                <a:gd name="connsiteY91" fmla="*/ 287560 h 462438"/>
                <a:gd name="connsiteX92" fmla="*/ 195739 w 649414"/>
                <a:gd name="connsiteY92" fmla="*/ 283464 h 462438"/>
                <a:gd name="connsiteX93" fmla="*/ 188786 w 649414"/>
                <a:gd name="connsiteY93" fmla="*/ 286131 h 462438"/>
                <a:gd name="connsiteX94" fmla="*/ 185928 w 649414"/>
                <a:gd name="connsiteY94" fmla="*/ 292037 h 462438"/>
                <a:gd name="connsiteX95" fmla="*/ 184880 w 649414"/>
                <a:gd name="connsiteY95" fmla="*/ 297561 h 462438"/>
                <a:gd name="connsiteX96" fmla="*/ 173355 w 649414"/>
                <a:gd name="connsiteY96" fmla="*/ 293656 h 462438"/>
                <a:gd name="connsiteX97" fmla="*/ 168212 w 649414"/>
                <a:gd name="connsiteY97" fmla="*/ 296132 h 462438"/>
                <a:gd name="connsiteX98" fmla="*/ 168402 w 649414"/>
                <a:gd name="connsiteY98" fmla="*/ 297942 h 462438"/>
                <a:gd name="connsiteX99" fmla="*/ 162782 w 649414"/>
                <a:gd name="connsiteY99" fmla="*/ 296894 h 462438"/>
                <a:gd name="connsiteX100" fmla="*/ 155638 w 649414"/>
                <a:gd name="connsiteY100" fmla="*/ 297847 h 462438"/>
                <a:gd name="connsiteX101" fmla="*/ 150971 w 649414"/>
                <a:gd name="connsiteY101" fmla="*/ 303847 h 462438"/>
                <a:gd name="connsiteX102" fmla="*/ 146876 w 649414"/>
                <a:gd name="connsiteY102" fmla="*/ 300799 h 462438"/>
                <a:gd name="connsiteX103" fmla="*/ 141066 w 649414"/>
                <a:gd name="connsiteY103" fmla="*/ 297942 h 462438"/>
                <a:gd name="connsiteX104" fmla="*/ 130016 w 649414"/>
                <a:gd name="connsiteY104" fmla="*/ 297561 h 462438"/>
                <a:gd name="connsiteX105" fmla="*/ 125063 w 649414"/>
                <a:gd name="connsiteY105" fmla="*/ 301847 h 462438"/>
                <a:gd name="connsiteX106" fmla="*/ 119920 w 649414"/>
                <a:gd name="connsiteY106" fmla="*/ 304324 h 462438"/>
                <a:gd name="connsiteX107" fmla="*/ 111062 w 649414"/>
                <a:gd name="connsiteY107" fmla="*/ 320040 h 462438"/>
                <a:gd name="connsiteX108" fmla="*/ 105442 w 649414"/>
                <a:gd name="connsiteY108" fmla="*/ 318992 h 462438"/>
                <a:gd name="connsiteX109" fmla="*/ 95345 w 649414"/>
                <a:gd name="connsiteY109" fmla="*/ 325755 h 462438"/>
                <a:gd name="connsiteX110" fmla="*/ 92202 w 649414"/>
                <a:gd name="connsiteY110" fmla="*/ 329755 h 462438"/>
                <a:gd name="connsiteX111" fmla="*/ 83058 w 649414"/>
                <a:gd name="connsiteY111" fmla="*/ 329184 h 462438"/>
                <a:gd name="connsiteX112" fmla="*/ 87725 w 649414"/>
                <a:gd name="connsiteY112" fmla="*/ 323088 h 462438"/>
                <a:gd name="connsiteX113" fmla="*/ 85630 w 649414"/>
                <a:gd name="connsiteY113" fmla="*/ 321564 h 462438"/>
                <a:gd name="connsiteX114" fmla="*/ 87440 w 649414"/>
                <a:gd name="connsiteY114" fmla="*/ 321373 h 462438"/>
                <a:gd name="connsiteX115" fmla="*/ 75533 w 649414"/>
                <a:gd name="connsiteY115" fmla="*/ 313849 h 462438"/>
                <a:gd name="connsiteX116" fmla="*/ 70866 w 649414"/>
                <a:gd name="connsiteY116" fmla="*/ 319945 h 462438"/>
                <a:gd name="connsiteX117" fmla="*/ 66675 w 649414"/>
                <a:gd name="connsiteY117" fmla="*/ 302323 h 462438"/>
                <a:gd name="connsiteX118" fmla="*/ 64389 w 649414"/>
                <a:gd name="connsiteY118" fmla="*/ 298990 h 462438"/>
                <a:gd name="connsiteX119" fmla="*/ 62865 w 649414"/>
                <a:gd name="connsiteY119" fmla="*/ 300990 h 462438"/>
                <a:gd name="connsiteX120" fmla="*/ 61055 w 649414"/>
                <a:gd name="connsiteY120" fmla="*/ 301276 h 462438"/>
                <a:gd name="connsiteX121" fmla="*/ 54293 w 649414"/>
                <a:gd name="connsiteY121" fmla="*/ 291274 h 462438"/>
                <a:gd name="connsiteX122" fmla="*/ 50197 w 649414"/>
                <a:gd name="connsiteY122" fmla="*/ 288227 h 462438"/>
                <a:gd name="connsiteX123" fmla="*/ 51530 w 649414"/>
                <a:gd name="connsiteY123" fmla="*/ 284416 h 462438"/>
                <a:gd name="connsiteX124" fmla="*/ 46958 w 649414"/>
                <a:gd name="connsiteY124" fmla="*/ 277749 h 462438"/>
                <a:gd name="connsiteX125" fmla="*/ 43148 w 649414"/>
                <a:gd name="connsiteY125" fmla="*/ 276415 h 462438"/>
                <a:gd name="connsiteX126" fmla="*/ 36386 w 649414"/>
                <a:gd name="connsiteY126" fmla="*/ 280988 h 462438"/>
                <a:gd name="connsiteX127" fmla="*/ 34385 w 649414"/>
                <a:gd name="connsiteY127" fmla="*/ 279368 h 462438"/>
                <a:gd name="connsiteX128" fmla="*/ 35909 w 649414"/>
                <a:gd name="connsiteY128" fmla="*/ 277368 h 462438"/>
                <a:gd name="connsiteX129" fmla="*/ 21050 w 649414"/>
                <a:gd name="connsiteY129" fmla="*/ 261271 h 462438"/>
                <a:gd name="connsiteX130" fmla="*/ 12859 w 649414"/>
                <a:gd name="connsiteY130" fmla="*/ 255079 h 462438"/>
                <a:gd name="connsiteX131" fmla="*/ 0 w 649414"/>
                <a:gd name="connsiteY131" fmla="*/ 240411 h 462438"/>
                <a:gd name="connsiteX132" fmla="*/ 2667 w 649414"/>
                <a:gd name="connsiteY132" fmla="*/ 232886 h 462438"/>
                <a:gd name="connsiteX133" fmla="*/ 13430 w 649414"/>
                <a:gd name="connsiteY133" fmla="*/ 231457 h 462438"/>
                <a:gd name="connsiteX134" fmla="*/ 19050 w 649414"/>
                <a:gd name="connsiteY134" fmla="*/ 232505 h 462438"/>
                <a:gd name="connsiteX135" fmla="*/ 27337 w 649414"/>
                <a:gd name="connsiteY135" fmla="*/ 225933 h 462438"/>
                <a:gd name="connsiteX136" fmla="*/ 30099 w 649414"/>
                <a:gd name="connsiteY136" fmla="*/ 232886 h 462438"/>
                <a:gd name="connsiteX137" fmla="*/ 36767 w 649414"/>
                <a:gd name="connsiteY137" fmla="*/ 228314 h 462438"/>
                <a:gd name="connsiteX138" fmla="*/ 36100 w 649414"/>
                <a:gd name="connsiteY138" fmla="*/ 222980 h 462438"/>
                <a:gd name="connsiteX139" fmla="*/ 39719 w 649414"/>
                <a:gd name="connsiteY139" fmla="*/ 222504 h 462438"/>
                <a:gd name="connsiteX140" fmla="*/ 52007 w 649414"/>
                <a:gd name="connsiteY140" fmla="*/ 219075 h 462438"/>
                <a:gd name="connsiteX141" fmla="*/ 65627 w 649414"/>
                <a:gd name="connsiteY141" fmla="*/ 211836 h 462438"/>
                <a:gd name="connsiteX142" fmla="*/ 72390 w 649414"/>
                <a:gd name="connsiteY142" fmla="*/ 207264 h 462438"/>
                <a:gd name="connsiteX143" fmla="*/ 72390 w 649414"/>
                <a:gd name="connsiteY143" fmla="*/ 207264 h 462438"/>
                <a:gd name="connsiteX144" fmla="*/ 72866 w 649414"/>
                <a:gd name="connsiteY144" fmla="*/ 210883 h 462438"/>
                <a:gd name="connsiteX145" fmla="*/ 84487 w 649414"/>
                <a:gd name="connsiteY145" fmla="*/ 202025 h 462438"/>
                <a:gd name="connsiteX146" fmla="*/ 89249 w 649414"/>
                <a:gd name="connsiteY146" fmla="*/ 210503 h 462438"/>
                <a:gd name="connsiteX147" fmla="*/ 91059 w 649414"/>
                <a:gd name="connsiteY147" fmla="*/ 210217 h 462438"/>
                <a:gd name="connsiteX148" fmla="*/ 85535 w 649414"/>
                <a:gd name="connsiteY148" fmla="*/ 196501 h 462438"/>
                <a:gd name="connsiteX149" fmla="*/ 84868 w 649414"/>
                <a:gd name="connsiteY149" fmla="*/ 191167 h 462438"/>
                <a:gd name="connsiteX150" fmla="*/ 84392 w 649414"/>
                <a:gd name="connsiteY150" fmla="*/ 187547 h 462438"/>
                <a:gd name="connsiteX151" fmla="*/ 83249 w 649414"/>
                <a:gd name="connsiteY151" fmla="*/ 178689 h 462438"/>
                <a:gd name="connsiteX152" fmla="*/ 78677 w 649414"/>
                <a:gd name="connsiteY152" fmla="*/ 172021 h 462438"/>
                <a:gd name="connsiteX153" fmla="*/ 81820 w 649414"/>
                <a:gd name="connsiteY153" fmla="*/ 167926 h 462438"/>
                <a:gd name="connsiteX154" fmla="*/ 79534 w 649414"/>
                <a:gd name="connsiteY154" fmla="*/ 164687 h 462438"/>
                <a:gd name="connsiteX155" fmla="*/ 76200 w 649414"/>
                <a:gd name="connsiteY155" fmla="*/ 166878 h 462438"/>
                <a:gd name="connsiteX156" fmla="*/ 67342 w 649414"/>
                <a:gd name="connsiteY156" fmla="*/ 155353 h 462438"/>
                <a:gd name="connsiteX157" fmla="*/ 69152 w 649414"/>
                <a:gd name="connsiteY157" fmla="*/ 155162 h 462438"/>
                <a:gd name="connsiteX158" fmla="*/ 68961 w 649414"/>
                <a:gd name="connsiteY158" fmla="*/ 153352 h 462438"/>
                <a:gd name="connsiteX159" fmla="*/ 62770 w 649414"/>
                <a:gd name="connsiteY159" fmla="*/ 148780 h 462438"/>
                <a:gd name="connsiteX160" fmla="*/ 69247 w 649414"/>
                <a:gd name="connsiteY160" fmla="*/ 142494 h 462438"/>
                <a:gd name="connsiteX161" fmla="*/ 68580 w 649414"/>
                <a:gd name="connsiteY161" fmla="*/ 137065 h 462438"/>
                <a:gd name="connsiteX162" fmla="*/ 85154 w 649414"/>
                <a:gd name="connsiteY162" fmla="*/ 124015 h 462438"/>
                <a:gd name="connsiteX163" fmla="*/ 87440 w 649414"/>
                <a:gd name="connsiteY163" fmla="*/ 127349 h 462438"/>
                <a:gd name="connsiteX164" fmla="*/ 93441 w 649414"/>
                <a:gd name="connsiteY164" fmla="*/ 132017 h 462438"/>
                <a:gd name="connsiteX165" fmla="*/ 98870 w 649414"/>
                <a:gd name="connsiteY165" fmla="*/ 131254 h 462438"/>
                <a:gd name="connsiteX166" fmla="*/ 107156 w 649414"/>
                <a:gd name="connsiteY166" fmla="*/ 124777 h 462438"/>
                <a:gd name="connsiteX167" fmla="*/ 114872 w 649414"/>
                <a:gd name="connsiteY167" fmla="*/ 141827 h 462438"/>
                <a:gd name="connsiteX168" fmla="*/ 121349 w 649414"/>
                <a:gd name="connsiteY168" fmla="*/ 135541 h 462438"/>
                <a:gd name="connsiteX169" fmla="*/ 129731 w 649414"/>
                <a:gd name="connsiteY169" fmla="*/ 143542 h 462438"/>
                <a:gd name="connsiteX170" fmla="*/ 139541 w 649414"/>
                <a:gd name="connsiteY170" fmla="*/ 134969 h 462438"/>
                <a:gd name="connsiteX171" fmla="*/ 137065 w 649414"/>
                <a:gd name="connsiteY171" fmla="*/ 129826 h 462438"/>
                <a:gd name="connsiteX172" fmla="*/ 141732 w 649414"/>
                <a:gd name="connsiteY172" fmla="*/ 123825 h 462438"/>
                <a:gd name="connsiteX173" fmla="*/ 142875 w 649414"/>
                <a:gd name="connsiteY173" fmla="*/ 118205 h 462438"/>
                <a:gd name="connsiteX174" fmla="*/ 147162 w 649414"/>
                <a:gd name="connsiteY174" fmla="*/ 123063 h 462438"/>
                <a:gd name="connsiteX175" fmla="*/ 153257 w 649414"/>
                <a:gd name="connsiteY175" fmla="*/ 127730 h 462438"/>
                <a:gd name="connsiteX176" fmla="*/ 156020 w 649414"/>
                <a:gd name="connsiteY176" fmla="*/ 134588 h 462438"/>
                <a:gd name="connsiteX177" fmla="*/ 161354 w 649414"/>
                <a:gd name="connsiteY177" fmla="*/ 133826 h 462438"/>
                <a:gd name="connsiteX178" fmla="*/ 166306 w 649414"/>
                <a:gd name="connsiteY178" fmla="*/ 129635 h 462438"/>
                <a:gd name="connsiteX179" fmla="*/ 176784 w 649414"/>
                <a:gd name="connsiteY179" fmla="*/ 126397 h 462438"/>
                <a:gd name="connsiteX180" fmla="*/ 179927 w 649414"/>
                <a:gd name="connsiteY180" fmla="*/ 122396 h 462438"/>
                <a:gd name="connsiteX181" fmla="*/ 175831 w 649414"/>
                <a:gd name="connsiteY181" fmla="*/ 119253 h 462438"/>
                <a:gd name="connsiteX182" fmla="*/ 172307 w 649414"/>
                <a:gd name="connsiteY182" fmla="*/ 119729 h 462438"/>
                <a:gd name="connsiteX183" fmla="*/ 171546 w 649414"/>
                <a:gd name="connsiteY183" fmla="*/ 114395 h 462438"/>
                <a:gd name="connsiteX184" fmla="*/ 176498 w 649414"/>
                <a:gd name="connsiteY184" fmla="*/ 110109 h 462438"/>
                <a:gd name="connsiteX185" fmla="*/ 187452 w 649414"/>
                <a:gd name="connsiteY185" fmla="*/ 110490 h 462438"/>
                <a:gd name="connsiteX186" fmla="*/ 188786 w 649414"/>
                <a:gd name="connsiteY186" fmla="*/ 106680 h 462438"/>
                <a:gd name="connsiteX187" fmla="*/ 186119 w 649414"/>
                <a:gd name="connsiteY187" fmla="*/ 99822 h 462438"/>
                <a:gd name="connsiteX188" fmla="*/ 190976 w 649414"/>
                <a:gd name="connsiteY188" fmla="*/ 95536 h 462438"/>
                <a:gd name="connsiteX189" fmla="*/ 194977 w 649414"/>
                <a:gd name="connsiteY189" fmla="*/ 84106 h 462438"/>
                <a:gd name="connsiteX190" fmla="*/ 203645 w 649414"/>
                <a:gd name="connsiteY190" fmla="*/ 66580 h 462438"/>
                <a:gd name="connsiteX191" fmla="*/ 202978 w 649414"/>
                <a:gd name="connsiteY191" fmla="*/ 61341 h 462438"/>
                <a:gd name="connsiteX192" fmla="*/ 209455 w 649414"/>
                <a:gd name="connsiteY192" fmla="*/ 55054 h 462438"/>
                <a:gd name="connsiteX193" fmla="*/ 212788 w 649414"/>
                <a:gd name="connsiteY193" fmla="*/ 52768 h 462438"/>
                <a:gd name="connsiteX194" fmla="*/ 212503 w 649414"/>
                <a:gd name="connsiteY194" fmla="*/ 50959 h 462438"/>
                <a:gd name="connsiteX195" fmla="*/ 210503 w 649414"/>
                <a:gd name="connsiteY195" fmla="*/ 49435 h 462438"/>
                <a:gd name="connsiteX196" fmla="*/ 200406 w 649414"/>
                <a:gd name="connsiteY196" fmla="*/ 56197 h 462438"/>
                <a:gd name="connsiteX197" fmla="*/ 191167 w 649414"/>
                <a:gd name="connsiteY197" fmla="*/ 55626 h 462438"/>
                <a:gd name="connsiteX198" fmla="*/ 186405 w 649414"/>
                <a:gd name="connsiteY198" fmla="*/ 47149 h 462438"/>
                <a:gd name="connsiteX199" fmla="*/ 186214 w 649414"/>
                <a:gd name="connsiteY199" fmla="*/ 45339 h 462438"/>
                <a:gd name="connsiteX200" fmla="*/ 191167 w 649414"/>
                <a:gd name="connsiteY200" fmla="*/ 41148 h 462438"/>
                <a:gd name="connsiteX201" fmla="*/ 204978 w 649414"/>
                <a:gd name="connsiteY201" fmla="*/ 35623 h 462438"/>
                <a:gd name="connsiteX202" fmla="*/ 211550 w 649414"/>
                <a:gd name="connsiteY202" fmla="*/ 29337 h 462438"/>
                <a:gd name="connsiteX203" fmla="*/ 220980 w 649414"/>
                <a:gd name="connsiteY203" fmla="*/ 31718 h 462438"/>
                <a:gd name="connsiteX204" fmla="*/ 228124 w 649414"/>
                <a:gd name="connsiteY204" fmla="*/ 30766 h 462438"/>
                <a:gd name="connsiteX205" fmla="*/ 237839 w 649414"/>
                <a:gd name="connsiteY205" fmla="*/ 34957 h 462438"/>
                <a:gd name="connsiteX206" fmla="*/ 242983 w 649414"/>
                <a:gd name="connsiteY206" fmla="*/ 32385 h 462438"/>
                <a:gd name="connsiteX207" fmla="*/ 246126 w 649414"/>
                <a:gd name="connsiteY207" fmla="*/ 28384 h 462438"/>
                <a:gd name="connsiteX208" fmla="*/ 247364 w 649414"/>
                <a:gd name="connsiteY208" fmla="*/ 24575 h 462438"/>
                <a:gd name="connsiteX209" fmla="*/ 250984 w 649414"/>
                <a:gd name="connsiteY209" fmla="*/ 24098 h 462438"/>
                <a:gd name="connsiteX210" fmla="*/ 255746 w 649414"/>
                <a:gd name="connsiteY210" fmla="*/ 32575 h 462438"/>
                <a:gd name="connsiteX211" fmla="*/ 259366 w 649414"/>
                <a:gd name="connsiteY211" fmla="*/ 32099 h 462438"/>
                <a:gd name="connsiteX212" fmla="*/ 259842 w 649414"/>
                <a:gd name="connsiteY212" fmla="*/ 35623 h 462438"/>
                <a:gd name="connsiteX213" fmla="*/ 265271 w 649414"/>
                <a:gd name="connsiteY213" fmla="*/ 34957 h 462438"/>
                <a:gd name="connsiteX214" fmla="*/ 268605 w 649414"/>
                <a:gd name="connsiteY214" fmla="*/ 32671 h 462438"/>
                <a:gd name="connsiteX215" fmla="*/ 295942 w 649414"/>
                <a:gd name="connsiteY215" fmla="*/ 18193 h 462438"/>
                <a:gd name="connsiteX216" fmla="*/ 298990 w 649414"/>
                <a:gd name="connsiteY216" fmla="*/ 14097 h 462438"/>
                <a:gd name="connsiteX217" fmla="*/ 301466 w 649414"/>
                <a:gd name="connsiteY217" fmla="*/ 4763 h 462438"/>
                <a:gd name="connsiteX218" fmla="*/ 304800 w 649414"/>
                <a:gd name="connsiteY218" fmla="*/ 2476 h 462438"/>
                <a:gd name="connsiteX219" fmla="*/ 309944 w 649414"/>
                <a:gd name="connsiteY219" fmla="*/ 0 h 462438"/>
                <a:gd name="connsiteX220" fmla="*/ 316325 w 649414"/>
                <a:gd name="connsiteY220" fmla="*/ 6382 h 462438"/>
                <a:gd name="connsiteX221" fmla="*/ 327279 w 649414"/>
                <a:gd name="connsiteY221" fmla="*/ 6763 h 462438"/>
                <a:gd name="connsiteX222" fmla="*/ 331566 w 649414"/>
                <a:gd name="connsiteY222" fmla="*/ 11621 h 462438"/>
                <a:gd name="connsiteX223" fmla="*/ 347758 w 649414"/>
                <a:gd name="connsiteY223" fmla="*/ 9525 h 462438"/>
                <a:gd name="connsiteX224" fmla="*/ 354711 w 649414"/>
                <a:gd name="connsiteY224" fmla="*/ 6763 h 462438"/>
                <a:gd name="connsiteX225" fmla="*/ 355854 w 649414"/>
                <a:gd name="connsiteY225" fmla="*/ 15621 h 462438"/>
                <a:gd name="connsiteX226" fmla="*/ 365379 w 649414"/>
                <a:gd name="connsiteY226" fmla="*/ 18002 h 462438"/>
                <a:gd name="connsiteX227" fmla="*/ 376238 w 649414"/>
                <a:gd name="connsiteY227" fmla="*/ 31147 h 462438"/>
                <a:gd name="connsiteX228" fmla="*/ 383191 w 649414"/>
                <a:gd name="connsiteY228" fmla="*/ 28384 h 462438"/>
                <a:gd name="connsiteX229" fmla="*/ 384810 w 649414"/>
                <a:gd name="connsiteY229" fmla="*/ 40862 h 462438"/>
                <a:gd name="connsiteX230" fmla="*/ 388906 w 649414"/>
                <a:gd name="connsiteY230" fmla="*/ 43910 h 462438"/>
                <a:gd name="connsiteX231" fmla="*/ 394240 w 649414"/>
                <a:gd name="connsiteY231" fmla="*/ 43243 h 462438"/>
                <a:gd name="connsiteX232" fmla="*/ 410147 w 649414"/>
                <a:gd name="connsiteY232" fmla="*/ 39338 h 462438"/>
                <a:gd name="connsiteX233" fmla="*/ 412433 w 649414"/>
                <a:gd name="connsiteY233" fmla="*/ 42577 h 462438"/>
                <a:gd name="connsiteX234" fmla="*/ 411385 w 649414"/>
                <a:gd name="connsiteY234" fmla="*/ 48196 h 462438"/>
                <a:gd name="connsiteX235" fmla="*/ 417005 w 649414"/>
                <a:gd name="connsiteY235" fmla="*/ 49244 h 462438"/>
                <a:gd name="connsiteX236" fmla="*/ 435483 w 649414"/>
                <a:gd name="connsiteY236" fmla="*/ 50482 h 462438"/>
                <a:gd name="connsiteX237" fmla="*/ 435674 w 649414"/>
                <a:gd name="connsiteY237" fmla="*/ 52292 h 462438"/>
                <a:gd name="connsiteX238" fmla="*/ 428815 w 649414"/>
                <a:gd name="connsiteY238" fmla="*/ 69532 h 462438"/>
                <a:gd name="connsiteX239" fmla="*/ 427958 w 649414"/>
                <a:gd name="connsiteY239" fmla="*/ 76867 h 462438"/>
                <a:gd name="connsiteX240" fmla="*/ 435864 w 649414"/>
                <a:gd name="connsiteY240" fmla="*/ 81248 h 462438"/>
                <a:gd name="connsiteX241" fmla="*/ 447389 w 649414"/>
                <a:gd name="connsiteY241" fmla="*/ 99631 h 462438"/>
                <a:gd name="connsiteX242" fmla="*/ 444341 w 649414"/>
                <a:gd name="connsiteY242" fmla="*/ 103727 h 462438"/>
                <a:gd name="connsiteX243" fmla="*/ 446818 w 649414"/>
                <a:gd name="connsiteY243" fmla="*/ 108775 h 462438"/>
                <a:gd name="connsiteX244" fmla="*/ 452628 w 649414"/>
                <a:gd name="connsiteY244" fmla="*/ 111633 h 462438"/>
                <a:gd name="connsiteX245" fmla="*/ 457200 w 649414"/>
                <a:gd name="connsiteY245" fmla="*/ 118300 h 462438"/>
                <a:gd name="connsiteX246" fmla="*/ 476440 w 649414"/>
                <a:gd name="connsiteY246" fmla="*/ 112109 h 462438"/>
                <a:gd name="connsiteX247" fmla="*/ 481965 w 649414"/>
                <a:gd name="connsiteY247" fmla="*/ 125921 h 462438"/>
                <a:gd name="connsiteX248" fmla="*/ 477107 w 649414"/>
                <a:gd name="connsiteY248" fmla="*/ 130207 h 462438"/>
                <a:gd name="connsiteX249" fmla="*/ 482632 w 649414"/>
                <a:gd name="connsiteY249" fmla="*/ 131254 h 462438"/>
                <a:gd name="connsiteX250" fmla="*/ 479775 w 649414"/>
                <a:gd name="connsiteY250" fmla="*/ 137065 h 462438"/>
                <a:gd name="connsiteX251" fmla="*/ 474155 w 649414"/>
                <a:gd name="connsiteY251" fmla="*/ 136017 h 462438"/>
                <a:gd name="connsiteX252" fmla="*/ 474631 w 649414"/>
                <a:gd name="connsiteY252" fmla="*/ 139541 h 462438"/>
                <a:gd name="connsiteX253" fmla="*/ 478250 w 649414"/>
                <a:gd name="connsiteY253" fmla="*/ 139065 h 462438"/>
                <a:gd name="connsiteX254" fmla="*/ 478727 w 649414"/>
                <a:gd name="connsiteY254" fmla="*/ 142684 h 462438"/>
                <a:gd name="connsiteX255" fmla="*/ 475107 w 649414"/>
                <a:gd name="connsiteY255" fmla="*/ 143161 h 462438"/>
                <a:gd name="connsiteX256" fmla="*/ 468630 w 649414"/>
                <a:gd name="connsiteY256" fmla="*/ 149447 h 462438"/>
                <a:gd name="connsiteX257" fmla="*/ 468821 w 649414"/>
                <a:gd name="connsiteY257" fmla="*/ 151257 h 462438"/>
                <a:gd name="connsiteX258" fmla="*/ 473678 w 649414"/>
                <a:gd name="connsiteY258" fmla="*/ 159639 h 462438"/>
                <a:gd name="connsiteX259" fmla="*/ 472345 w 649414"/>
                <a:gd name="connsiteY259" fmla="*/ 163449 h 462438"/>
                <a:gd name="connsiteX260" fmla="*/ 475297 w 649414"/>
                <a:gd name="connsiteY260" fmla="*/ 172117 h 462438"/>
                <a:gd name="connsiteX261" fmla="*/ 478917 w 649414"/>
                <a:gd name="connsiteY261" fmla="*/ 171640 h 462438"/>
                <a:gd name="connsiteX262" fmla="*/ 482918 w 649414"/>
                <a:gd name="connsiteY262" fmla="*/ 174688 h 462438"/>
                <a:gd name="connsiteX263" fmla="*/ 488537 w 649414"/>
                <a:gd name="connsiteY263" fmla="*/ 175831 h 462438"/>
                <a:gd name="connsiteX264" fmla="*/ 494062 w 649414"/>
                <a:gd name="connsiteY264" fmla="*/ 189547 h 462438"/>
                <a:gd name="connsiteX265" fmla="*/ 502825 w 649414"/>
                <a:gd name="connsiteY265" fmla="*/ 186595 h 462438"/>
                <a:gd name="connsiteX266" fmla="*/ 514064 w 649414"/>
                <a:gd name="connsiteY266" fmla="*/ 188690 h 462438"/>
                <a:gd name="connsiteX267" fmla="*/ 514731 w 649414"/>
                <a:gd name="connsiteY267" fmla="*/ 194120 h 462438"/>
                <a:gd name="connsiteX268" fmla="*/ 517779 w 649414"/>
                <a:gd name="connsiteY268" fmla="*/ 202787 h 462438"/>
                <a:gd name="connsiteX269" fmla="*/ 521780 w 649414"/>
                <a:gd name="connsiteY269" fmla="*/ 205835 h 462438"/>
                <a:gd name="connsiteX270" fmla="*/ 522732 w 649414"/>
                <a:gd name="connsiteY270" fmla="*/ 212979 h 462438"/>
                <a:gd name="connsiteX271" fmla="*/ 529495 w 649414"/>
                <a:gd name="connsiteY271" fmla="*/ 222980 h 462438"/>
                <a:gd name="connsiteX272" fmla="*/ 535400 w 649414"/>
                <a:gd name="connsiteY272" fmla="*/ 225838 h 462438"/>
                <a:gd name="connsiteX273" fmla="*/ 534067 w 649414"/>
                <a:gd name="connsiteY273" fmla="*/ 229648 h 462438"/>
                <a:gd name="connsiteX274" fmla="*/ 536638 w 649414"/>
                <a:gd name="connsiteY274" fmla="*/ 234696 h 462438"/>
                <a:gd name="connsiteX275" fmla="*/ 540163 w 649414"/>
                <a:gd name="connsiteY275" fmla="*/ 234220 h 462438"/>
                <a:gd name="connsiteX276" fmla="*/ 544258 w 649414"/>
                <a:gd name="connsiteY276" fmla="*/ 237363 h 462438"/>
                <a:gd name="connsiteX277" fmla="*/ 545687 w 649414"/>
                <a:gd name="connsiteY277" fmla="*/ 248031 h 462438"/>
                <a:gd name="connsiteX278" fmla="*/ 553783 w 649414"/>
                <a:gd name="connsiteY278" fmla="*/ 254222 h 462438"/>
                <a:gd name="connsiteX279" fmla="*/ 559118 w 649414"/>
                <a:gd name="connsiteY279" fmla="*/ 253460 h 462438"/>
                <a:gd name="connsiteX280" fmla="*/ 558641 w 649414"/>
                <a:gd name="connsiteY280" fmla="*/ 249936 h 462438"/>
                <a:gd name="connsiteX281" fmla="*/ 579501 w 649414"/>
                <a:gd name="connsiteY281" fmla="*/ 241745 h 462438"/>
                <a:gd name="connsiteX282" fmla="*/ 581787 w 649414"/>
                <a:gd name="connsiteY282" fmla="*/ 245078 h 462438"/>
                <a:gd name="connsiteX283" fmla="*/ 586549 w 649414"/>
                <a:gd name="connsiteY283" fmla="*/ 253460 h 462438"/>
                <a:gd name="connsiteX284" fmla="*/ 596932 w 649414"/>
                <a:gd name="connsiteY284" fmla="*/ 262985 h 462438"/>
                <a:gd name="connsiteX285" fmla="*/ 601504 w 649414"/>
                <a:gd name="connsiteY285" fmla="*/ 269653 h 462438"/>
                <a:gd name="connsiteX286" fmla="*/ 605314 w 649414"/>
                <a:gd name="connsiteY286" fmla="*/ 270986 h 462438"/>
                <a:gd name="connsiteX287" fmla="*/ 609410 w 649414"/>
                <a:gd name="connsiteY287" fmla="*/ 274034 h 462438"/>
                <a:gd name="connsiteX288" fmla="*/ 615030 w 649414"/>
                <a:gd name="connsiteY288" fmla="*/ 275082 h 462438"/>
                <a:gd name="connsiteX289" fmla="*/ 611696 w 649414"/>
                <a:gd name="connsiteY289" fmla="*/ 277368 h 462438"/>
                <a:gd name="connsiteX290" fmla="*/ 619125 w 649414"/>
                <a:gd name="connsiteY290" fmla="*/ 278225 h 462438"/>
                <a:gd name="connsiteX291" fmla="*/ 621125 w 649414"/>
                <a:gd name="connsiteY291" fmla="*/ 279749 h 462438"/>
                <a:gd name="connsiteX292" fmla="*/ 623888 w 649414"/>
                <a:gd name="connsiteY292" fmla="*/ 286607 h 462438"/>
                <a:gd name="connsiteX293" fmla="*/ 625602 w 649414"/>
                <a:gd name="connsiteY293" fmla="*/ 286417 h 462438"/>
                <a:gd name="connsiteX294" fmla="*/ 637127 w 649414"/>
                <a:gd name="connsiteY294" fmla="*/ 290322 h 462438"/>
                <a:gd name="connsiteX295" fmla="*/ 637889 w 649414"/>
                <a:gd name="connsiteY295" fmla="*/ 295656 h 462438"/>
                <a:gd name="connsiteX296" fmla="*/ 647986 w 649414"/>
                <a:gd name="connsiteY296" fmla="*/ 303371 h 462438"/>
                <a:gd name="connsiteX297" fmla="*/ 649224 w 649414"/>
                <a:gd name="connsiteY297" fmla="*/ 312325 h 462438"/>
                <a:gd name="connsiteX298" fmla="*/ 649415 w 649414"/>
                <a:gd name="connsiteY298" fmla="*/ 314039 h 462438"/>
                <a:gd name="connsiteX299" fmla="*/ 647129 w 649414"/>
                <a:gd name="connsiteY299" fmla="*/ 310801 h 462438"/>
                <a:gd name="connsiteX300" fmla="*/ 643605 w 649414"/>
                <a:gd name="connsiteY300" fmla="*/ 311182 h 462438"/>
                <a:gd name="connsiteX301" fmla="*/ 641128 w 649414"/>
                <a:gd name="connsiteY301" fmla="*/ 320612 h 462438"/>
                <a:gd name="connsiteX302" fmla="*/ 646938 w 649414"/>
                <a:gd name="connsiteY302" fmla="*/ 350615 h 462438"/>
                <a:gd name="connsiteX303" fmla="*/ 637604 w 649414"/>
                <a:gd name="connsiteY303" fmla="*/ 362807 h 462438"/>
                <a:gd name="connsiteX304" fmla="*/ 629603 w 649414"/>
                <a:gd name="connsiteY304" fmla="*/ 385572 h 462438"/>
                <a:gd name="connsiteX305" fmla="*/ 628269 w 649414"/>
                <a:gd name="connsiteY305" fmla="*/ 389382 h 462438"/>
                <a:gd name="connsiteX306" fmla="*/ 630841 w 649414"/>
                <a:gd name="connsiteY306" fmla="*/ 394525 h 462438"/>
                <a:gd name="connsiteX307" fmla="*/ 619221 w 649414"/>
                <a:gd name="connsiteY307" fmla="*/ 403288 h 462438"/>
                <a:gd name="connsiteX308" fmla="*/ 618554 w 649414"/>
                <a:gd name="connsiteY308" fmla="*/ 412432 h 462438"/>
                <a:gd name="connsiteX309" fmla="*/ 610267 w 649414"/>
                <a:gd name="connsiteY309" fmla="*/ 419005 h 462438"/>
                <a:gd name="connsiteX310" fmla="*/ 605885 w 649414"/>
                <a:gd name="connsiteY310" fmla="*/ 426815 h 462438"/>
                <a:gd name="connsiteX311" fmla="*/ 583883 w 649414"/>
                <a:gd name="connsiteY311" fmla="*/ 440627 h 462438"/>
                <a:gd name="connsiteX312" fmla="*/ 574738 w 649414"/>
                <a:gd name="connsiteY312" fmla="*/ 439960 h 462438"/>
                <a:gd name="connsiteX313" fmla="*/ 570262 w 649414"/>
                <a:gd name="connsiteY313" fmla="*/ 447865 h 462438"/>
                <a:gd name="connsiteX314" fmla="*/ 566928 w 649414"/>
                <a:gd name="connsiteY314" fmla="*/ 450056 h 462438"/>
                <a:gd name="connsiteX315" fmla="*/ 552069 w 649414"/>
                <a:gd name="connsiteY315" fmla="*/ 448437 h 462438"/>
                <a:gd name="connsiteX316" fmla="*/ 540068 w 649414"/>
                <a:gd name="connsiteY316" fmla="*/ 440912 h 462438"/>
                <a:gd name="connsiteX317" fmla="*/ 532924 w 649414"/>
                <a:gd name="connsiteY317" fmla="*/ 441865 h 462438"/>
                <a:gd name="connsiteX318" fmla="*/ 530066 w 649414"/>
                <a:gd name="connsiteY318" fmla="*/ 447675 h 462438"/>
                <a:gd name="connsiteX319" fmla="*/ 524637 w 649414"/>
                <a:gd name="connsiteY319" fmla="*/ 448437 h 462438"/>
                <a:gd name="connsiteX320" fmla="*/ 500824 w 649414"/>
                <a:gd name="connsiteY320" fmla="*/ 447961 h 462438"/>
                <a:gd name="connsiteX321" fmla="*/ 497491 w 649414"/>
                <a:gd name="connsiteY321" fmla="*/ 450247 h 462438"/>
                <a:gd name="connsiteX322" fmla="*/ 484918 w 649414"/>
                <a:gd name="connsiteY322" fmla="*/ 451866 h 462438"/>
                <a:gd name="connsiteX323" fmla="*/ 476346 w 649414"/>
                <a:gd name="connsiteY323" fmla="*/ 456629 h 462438"/>
                <a:gd name="connsiteX324" fmla="*/ 473488 w 649414"/>
                <a:gd name="connsiteY324" fmla="*/ 462439 h 46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</a:cxnLst>
              <a:rect l="l" t="t" r="r" b="b"/>
              <a:pathLst>
                <a:path w="649414" h="462438">
                  <a:moveTo>
                    <a:pt x="473488" y="462439"/>
                  </a:moveTo>
                  <a:lnTo>
                    <a:pt x="465868" y="459867"/>
                  </a:lnTo>
                  <a:lnTo>
                    <a:pt x="464916" y="452723"/>
                  </a:lnTo>
                  <a:lnTo>
                    <a:pt x="453199" y="447008"/>
                  </a:lnTo>
                  <a:lnTo>
                    <a:pt x="442531" y="435673"/>
                  </a:lnTo>
                  <a:lnTo>
                    <a:pt x="445199" y="428149"/>
                  </a:lnTo>
                  <a:lnTo>
                    <a:pt x="443580" y="415671"/>
                  </a:lnTo>
                  <a:lnTo>
                    <a:pt x="445961" y="406241"/>
                  </a:lnTo>
                  <a:lnTo>
                    <a:pt x="438340" y="403670"/>
                  </a:lnTo>
                  <a:lnTo>
                    <a:pt x="425768" y="405289"/>
                  </a:lnTo>
                  <a:lnTo>
                    <a:pt x="420339" y="406051"/>
                  </a:lnTo>
                  <a:lnTo>
                    <a:pt x="420339" y="406051"/>
                  </a:lnTo>
                  <a:lnTo>
                    <a:pt x="417195" y="410051"/>
                  </a:lnTo>
                  <a:lnTo>
                    <a:pt x="410242" y="412813"/>
                  </a:lnTo>
                  <a:lnTo>
                    <a:pt x="406718" y="413290"/>
                  </a:lnTo>
                  <a:lnTo>
                    <a:pt x="406241" y="409670"/>
                  </a:lnTo>
                  <a:lnTo>
                    <a:pt x="401098" y="412242"/>
                  </a:lnTo>
                  <a:lnTo>
                    <a:pt x="394906" y="407575"/>
                  </a:lnTo>
                  <a:lnTo>
                    <a:pt x="394240" y="402241"/>
                  </a:lnTo>
                  <a:lnTo>
                    <a:pt x="386620" y="399669"/>
                  </a:lnTo>
                  <a:lnTo>
                    <a:pt x="382810" y="398336"/>
                  </a:lnTo>
                  <a:lnTo>
                    <a:pt x="379381" y="400526"/>
                  </a:lnTo>
                  <a:lnTo>
                    <a:pt x="371951" y="399764"/>
                  </a:lnTo>
                  <a:lnTo>
                    <a:pt x="373094" y="394145"/>
                  </a:lnTo>
                  <a:lnTo>
                    <a:pt x="367189" y="391287"/>
                  </a:lnTo>
                  <a:lnTo>
                    <a:pt x="368046" y="383953"/>
                  </a:lnTo>
                  <a:lnTo>
                    <a:pt x="364046" y="380809"/>
                  </a:lnTo>
                  <a:lnTo>
                    <a:pt x="359093" y="385096"/>
                  </a:lnTo>
                  <a:lnTo>
                    <a:pt x="354616" y="378428"/>
                  </a:lnTo>
                  <a:lnTo>
                    <a:pt x="346710" y="374047"/>
                  </a:lnTo>
                  <a:lnTo>
                    <a:pt x="349187" y="379190"/>
                  </a:lnTo>
                  <a:lnTo>
                    <a:pt x="347567" y="381190"/>
                  </a:lnTo>
                  <a:lnTo>
                    <a:pt x="347377" y="379381"/>
                  </a:lnTo>
                  <a:lnTo>
                    <a:pt x="343757" y="379857"/>
                  </a:lnTo>
                  <a:lnTo>
                    <a:pt x="343567" y="378142"/>
                  </a:lnTo>
                  <a:lnTo>
                    <a:pt x="337471" y="373475"/>
                  </a:lnTo>
                  <a:lnTo>
                    <a:pt x="336709" y="368141"/>
                  </a:lnTo>
                  <a:lnTo>
                    <a:pt x="334899" y="368332"/>
                  </a:lnTo>
                  <a:lnTo>
                    <a:pt x="330518" y="376238"/>
                  </a:lnTo>
                  <a:lnTo>
                    <a:pt x="327184" y="378428"/>
                  </a:lnTo>
                  <a:lnTo>
                    <a:pt x="329660" y="383572"/>
                  </a:lnTo>
                  <a:lnTo>
                    <a:pt x="323183" y="389858"/>
                  </a:lnTo>
                  <a:lnTo>
                    <a:pt x="308801" y="391763"/>
                  </a:lnTo>
                  <a:lnTo>
                    <a:pt x="306800" y="390239"/>
                  </a:lnTo>
                  <a:lnTo>
                    <a:pt x="301181" y="389191"/>
                  </a:lnTo>
                  <a:lnTo>
                    <a:pt x="299847" y="392906"/>
                  </a:lnTo>
                  <a:lnTo>
                    <a:pt x="296037" y="391668"/>
                  </a:lnTo>
                  <a:lnTo>
                    <a:pt x="292608" y="393954"/>
                  </a:lnTo>
                  <a:lnTo>
                    <a:pt x="295180" y="399002"/>
                  </a:lnTo>
                  <a:lnTo>
                    <a:pt x="288227" y="401764"/>
                  </a:lnTo>
                  <a:lnTo>
                    <a:pt x="288893" y="407098"/>
                  </a:lnTo>
                  <a:lnTo>
                    <a:pt x="283464" y="407765"/>
                  </a:lnTo>
                  <a:lnTo>
                    <a:pt x="278607" y="412147"/>
                  </a:lnTo>
                  <a:lnTo>
                    <a:pt x="273177" y="412813"/>
                  </a:lnTo>
                  <a:lnTo>
                    <a:pt x="272987" y="411004"/>
                  </a:lnTo>
                  <a:lnTo>
                    <a:pt x="260604" y="414433"/>
                  </a:lnTo>
                  <a:lnTo>
                    <a:pt x="259175" y="403765"/>
                  </a:lnTo>
                  <a:lnTo>
                    <a:pt x="261652" y="394430"/>
                  </a:lnTo>
                  <a:lnTo>
                    <a:pt x="259080" y="389287"/>
                  </a:lnTo>
                  <a:lnTo>
                    <a:pt x="260223" y="383667"/>
                  </a:lnTo>
                  <a:lnTo>
                    <a:pt x="256127" y="380619"/>
                  </a:lnTo>
                  <a:lnTo>
                    <a:pt x="251841" y="375761"/>
                  </a:lnTo>
                  <a:lnTo>
                    <a:pt x="249841" y="374237"/>
                  </a:lnTo>
                  <a:lnTo>
                    <a:pt x="238792" y="373856"/>
                  </a:lnTo>
                  <a:lnTo>
                    <a:pt x="231838" y="376523"/>
                  </a:lnTo>
                  <a:lnTo>
                    <a:pt x="227838" y="373475"/>
                  </a:lnTo>
                  <a:lnTo>
                    <a:pt x="229362" y="371475"/>
                  </a:lnTo>
                  <a:lnTo>
                    <a:pt x="227552" y="371665"/>
                  </a:lnTo>
                  <a:lnTo>
                    <a:pt x="224790" y="364807"/>
                  </a:lnTo>
                  <a:lnTo>
                    <a:pt x="222313" y="359664"/>
                  </a:lnTo>
                  <a:lnTo>
                    <a:pt x="223362" y="354139"/>
                  </a:lnTo>
                  <a:lnTo>
                    <a:pt x="217551" y="351282"/>
                  </a:lnTo>
                  <a:lnTo>
                    <a:pt x="220885" y="348996"/>
                  </a:lnTo>
                  <a:lnTo>
                    <a:pt x="218599" y="345662"/>
                  </a:lnTo>
                  <a:lnTo>
                    <a:pt x="215265" y="347948"/>
                  </a:lnTo>
                  <a:lnTo>
                    <a:pt x="209646" y="346900"/>
                  </a:lnTo>
                  <a:lnTo>
                    <a:pt x="210979" y="343090"/>
                  </a:lnTo>
                  <a:lnTo>
                    <a:pt x="206883" y="339947"/>
                  </a:lnTo>
                  <a:lnTo>
                    <a:pt x="211836" y="335661"/>
                  </a:lnTo>
                  <a:lnTo>
                    <a:pt x="211360" y="332137"/>
                  </a:lnTo>
                  <a:lnTo>
                    <a:pt x="209360" y="330613"/>
                  </a:lnTo>
                  <a:lnTo>
                    <a:pt x="210883" y="328517"/>
                  </a:lnTo>
                  <a:lnTo>
                    <a:pt x="216027" y="326041"/>
                  </a:lnTo>
                  <a:lnTo>
                    <a:pt x="218027" y="327660"/>
                  </a:lnTo>
                  <a:lnTo>
                    <a:pt x="219171" y="322040"/>
                  </a:lnTo>
                  <a:lnTo>
                    <a:pt x="216694" y="316992"/>
                  </a:lnTo>
                  <a:lnTo>
                    <a:pt x="232125" y="309467"/>
                  </a:lnTo>
                  <a:lnTo>
                    <a:pt x="227552" y="302800"/>
                  </a:lnTo>
                  <a:lnTo>
                    <a:pt x="226124" y="292132"/>
                  </a:lnTo>
                  <a:lnTo>
                    <a:pt x="221837" y="287274"/>
                  </a:lnTo>
                  <a:lnTo>
                    <a:pt x="212408" y="284893"/>
                  </a:lnTo>
                  <a:lnTo>
                    <a:pt x="205455" y="287560"/>
                  </a:lnTo>
                  <a:lnTo>
                    <a:pt x="195739" y="283464"/>
                  </a:lnTo>
                  <a:lnTo>
                    <a:pt x="188786" y="286131"/>
                  </a:lnTo>
                  <a:lnTo>
                    <a:pt x="185928" y="292037"/>
                  </a:lnTo>
                  <a:lnTo>
                    <a:pt x="184880" y="297561"/>
                  </a:lnTo>
                  <a:lnTo>
                    <a:pt x="173355" y="293656"/>
                  </a:lnTo>
                  <a:lnTo>
                    <a:pt x="168212" y="296132"/>
                  </a:lnTo>
                  <a:lnTo>
                    <a:pt x="168402" y="297942"/>
                  </a:lnTo>
                  <a:lnTo>
                    <a:pt x="162782" y="296894"/>
                  </a:lnTo>
                  <a:lnTo>
                    <a:pt x="155638" y="297847"/>
                  </a:lnTo>
                  <a:lnTo>
                    <a:pt x="150971" y="303847"/>
                  </a:lnTo>
                  <a:lnTo>
                    <a:pt x="146876" y="300799"/>
                  </a:lnTo>
                  <a:lnTo>
                    <a:pt x="141066" y="297942"/>
                  </a:lnTo>
                  <a:lnTo>
                    <a:pt x="130016" y="297561"/>
                  </a:lnTo>
                  <a:lnTo>
                    <a:pt x="125063" y="301847"/>
                  </a:lnTo>
                  <a:lnTo>
                    <a:pt x="119920" y="304324"/>
                  </a:lnTo>
                  <a:lnTo>
                    <a:pt x="111062" y="320040"/>
                  </a:lnTo>
                  <a:lnTo>
                    <a:pt x="105442" y="318992"/>
                  </a:lnTo>
                  <a:lnTo>
                    <a:pt x="95345" y="325755"/>
                  </a:lnTo>
                  <a:lnTo>
                    <a:pt x="92202" y="329755"/>
                  </a:lnTo>
                  <a:lnTo>
                    <a:pt x="83058" y="329184"/>
                  </a:lnTo>
                  <a:lnTo>
                    <a:pt x="87725" y="323088"/>
                  </a:lnTo>
                  <a:lnTo>
                    <a:pt x="85630" y="321564"/>
                  </a:lnTo>
                  <a:lnTo>
                    <a:pt x="87440" y="321373"/>
                  </a:lnTo>
                  <a:lnTo>
                    <a:pt x="75533" y="313849"/>
                  </a:lnTo>
                  <a:lnTo>
                    <a:pt x="70866" y="319945"/>
                  </a:lnTo>
                  <a:lnTo>
                    <a:pt x="66675" y="302323"/>
                  </a:lnTo>
                  <a:lnTo>
                    <a:pt x="64389" y="298990"/>
                  </a:lnTo>
                  <a:lnTo>
                    <a:pt x="62865" y="300990"/>
                  </a:lnTo>
                  <a:lnTo>
                    <a:pt x="61055" y="301276"/>
                  </a:lnTo>
                  <a:lnTo>
                    <a:pt x="54293" y="291274"/>
                  </a:lnTo>
                  <a:lnTo>
                    <a:pt x="50197" y="288227"/>
                  </a:lnTo>
                  <a:lnTo>
                    <a:pt x="51530" y="284416"/>
                  </a:lnTo>
                  <a:lnTo>
                    <a:pt x="46958" y="277749"/>
                  </a:lnTo>
                  <a:lnTo>
                    <a:pt x="43148" y="276415"/>
                  </a:lnTo>
                  <a:lnTo>
                    <a:pt x="36386" y="280988"/>
                  </a:lnTo>
                  <a:lnTo>
                    <a:pt x="34385" y="279368"/>
                  </a:lnTo>
                  <a:lnTo>
                    <a:pt x="35909" y="277368"/>
                  </a:lnTo>
                  <a:lnTo>
                    <a:pt x="21050" y="261271"/>
                  </a:lnTo>
                  <a:lnTo>
                    <a:pt x="12859" y="255079"/>
                  </a:lnTo>
                  <a:lnTo>
                    <a:pt x="0" y="240411"/>
                  </a:lnTo>
                  <a:lnTo>
                    <a:pt x="2667" y="232886"/>
                  </a:lnTo>
                  <a:lnTo>
                    <a:pt x="13430" y="231457"/>
                  </a:lnTo>
                  <a:lnTo>
                    <a:pt x="19050" y="232505"/>
                  </a:lnTo>
                  <a:lnTo>
                    <a:pt x="27337" y="225933"/>
                  </a:lnTo>
                  <a:lnTo>
                    <a:pt x="30099" y="232886"/>
                  </a:lnTo>
                  <a:lnTo>
                    <a:pt x="36767" y="228314"/>
                  </a:lnTo>
                  <a:lnTo>
                    <a:pt x="36100" y="222980"/>
                  </a:lnTo>
                  <a:lnTo>
                    <a:pt x="39719" y="222504"/>
                  </a:lnTo>
                  <a:lnTo>
                    <a:pt x="52007" y="219075"/>
                  </a:lnTo>
                  <a:lnTo>
                    <a:pt x="65627" y="211836"/>
                  </a:lnTo>
                  <a:lnTo>
                    <a:pt x="72390" y="207264"/>
                  </a:lnTo>
                  <a:lnTo>
                    <a:pt x="72390" y="207264"/>
                  </a:lnTo>
                  <a:lnTo>
                    <a:pt x="72866" y="210883"/>
                  </a:lnTo>
                  <a:lnTo>
                    <a:pt x="84487" y="202025"/>
                  </a:lnTo>
                  <a:lnTo>
                    <a:pt x="89249" y="210503"/>
                  </a:lnTo>
                  <a:lnTo>
                    <a:pt x="91059" y="210217"/>
                  </a:lnTo>
                  <a:lnTo>
                    <a:pt x="85535" y="196501"/>
                  </a:lnTo>
                  <a:lnTo>
                    <a:pt x="84868" y="191167"/>
                  </a:lnTo>
                  <a:lnTo>
                    <a:pt x="84392" y="187547"/>
                  </a:lnTo>
                  <a:lnTo>
                    <a:pt x="83249" y="178689"/>
                  </a:lnTo>
                  <a:lnTo>
                    <a:pt x="78677" y="172021"/>
                  </a:lnTo>
                  <a:lnTo>
                    <a:pt x="81820" y="167926"/>
                  </a:lnTo>
                  <a:lnTo>
                    <a:pt x="79534" y="164687"/>
                  </a:lnTo>
                  <a:lnTo>
                    <a:pt x="76200" y="166878"/>
                  </a:lnTo>
                  <a:lnTo>
                    <a:pt x="67342" y="155353"/>
                  </a:lnTo>
                  <a:lnTo>
                    <a:pt x="69152" y="155162"/>
                  </a:lnTo>
                  <a:lnTo>
                    <a:pt x="68961" y="153352"/>
                  </a:lnTo>
                  <a:lnTo>
                    <a:pt x="62770" y="148780"/>
                  </a:lnTo>
                  <a:lnTo>
                    <a:pt x="69247" y="142494"/>
                  </a:lnTo>
                  <a:lnTo>
                    <a:pt x="68580" y="137065"/>
                  </a:lnTo>
                  <a:lnTo>
                    <a:pt x="85154" y="124015"/>
                  </a:lnTo>
                  <a:lnTo>
                    <a:pt x="87440" y="127349"/>
                  </a:lnTo>
                  <a:lnTo>
                    <a:pt x="93441" y="132017"/>
                  </a:lnTo>
                  <a:lnTo>
                    <a:pt x="98870" y="131254"/>
                  </a:lnTo>
                  <a:lnTo>
                    <a:pt x="107156" y="124777"/>
                  </a:lnTo>
                  <a:lnTo>
                    <a:pt x="114872" y="141827"/>
                  </a:lnTo>
                  <a:lnTo>
                    <a:pt x="121349" y="135541"/>
                  </a:lnTo>
                  <a:lnTo>
                    <a:pt x="129731" y="143542"/>
                  </a:lnTo>
                  <a:lnTo>
                    <a:pt x="139541" y="134969"/>
                  </a:lnTo>
                  <a:lnTo>
                    <a:pt x="137065" y="129826"/>
                  </a:lnTo>
                  <a:lnTo>
                    <a:pt x="141732" y="123825"/>
                  </a:lnTo>
                  <a:lnTo>
                    <a:pt x="142875" y="118205"/>
                  </a:lnTo>
                  <a:lnTo>
                    <a:pt x="147162" y="123063"/>
                  </a:lnTo>
                  <a:lnTo>
                    <a:pt x="153257" y="127730"/>
                  </a:lnTo>
                  <a:lnTo>
                    <a:pt x="156020" y="134588"/>
                  </a:lnTo>
                  <a:lnTo>
                    <a:pt x="161354" y="133826"/>
                  </a:lnTo>
                  <a:lnTo>
                    <a:pt x="166306" y="129635"/>
                  </a:lnTo>
                  <a:lnTo>
                    <a:pt x="176784" y="126397"/>
                  </a:lnTo>
                  <a:lnTo>
                    <a:pt x="179927" y="122396"/>
                  </a:lnTo>
                  <a:lnTo>
                    <a:pt x="175831" y="119253"/>
                  </a:lnTo>
                  <a:lnTo>
                    <a:pt x="172307" y="119729"/>
                  </a:lnTo>
                  <a:lnTo>
                    <a:pt x="171546" y="114395"/>
                  </a:lnTo>
                  <a:lnTo>
                    <a:pt x="176498" y="110109"/>
                  </a:lnTo>
                  <a:lnTo>
                    <a:pt x="187452" y="110490"/>
                  </a:lnTo>
                  <a:lnTo>
                    <a:pt x="188786" y="106680"/>
                  </a:lnTo>
                  <a:lnTo>
                    <a:pt x="186119" y="99822"/>
                  </a:lnTo>
                  <a:lnTo>
                    <a:pt x="190976" y="95536"/>
                  </a:lnTo>
                  <a:lnTo>
                    <a:pt x="194977" y="84106"/>
                  </a:lnTo>
                  <a:lnTo>
                    <a:pt x="203645" y="66580"/>
                  </a:lnTo>
                  <a:lnTo>
                    <a:pt x="202978" y="61341"/>
                  </a:lnTo>
                  <a:lnTo>
                    <a:pt x="209455" y="55054"/>
                  </a:lnTo>
                  <a:lnTo>
                    <a:pt x="212788" y="52768"/>
                  </a:lnTo>
                  <a:lnTo>
                    <a:pt x="212503" y="50959"/>
                  </a:lnTo>
                  <a:lnTo>
                    <a:pt x="210503" y="49435"/>
                  </a:lnTo>
                  <a:lnTo>
                    <a:pt x="200406" y="56197"/>
                  </a:lnTo>
                  <a:lnTo>
                    <a:pt x="191167" y="55626"/>
                  </a:lnTo>
                  <a:lnTo>
                    <a:pt x="186405" y="47149"/>
                  </a:lnTo>
                  <a:lnTo>
                    <a:pt x="186214" y="45339"/>
                  </a:lnTo>
                  <a:lnTo>
                    <a:pt x="191167" y="41148"/>
                  </a:lnTo>
                  <a:lnTo>
                    <a:pt x="204978" y="35623"/>
                  </a:lnTo>
                  <a:lnTo>
                    <a:pt x="211550" y="29337"/>
                  </a:lnTo>
                  <a:lnTo>
                    <a:pt x="220980" y="31718"/>
                  </a:lnTo>
                  <a:lnTo>
                    <a:pt x="228124" y="30766"/>
                  </a:lnTo>
                  <a:lnTo>
                    <a:pt x="237839" y="34957"/>
                  </a:lnTo>
                  <a:lnTo>
                    <a:pt x="242983" y="32385"/>
                  </a:lnTo>
                  <a:lnTo>
                    <a:pt x="246126" y="28384"/>
                  </a:lnTo>
                  <a:lnTo>
                    <a:pt x="247364" y="24575"/>
                  </a:lnTo>
                  <a:lnTo>
                    <a:pt x="250984" y="24098"/>
                  </a:lnTo>
                  <a:lnTo>
                    <a:pt x="255746" y="32575"/>
                  </a:lnTo>
                  <a:lnTo>
                    <a:pt x="259366" y="32099"/>
                  </a:lnTo>
                  <a:lnTo>
                    <a:pt x="259842" y="35623"/>
                  </a:lnTo>
                  <a:lnTo>
                    <a:pt x="265271" y="34957"/>
                  </a:lnTo>
                  <a:lnTo>
                    <a:pt x="268605" y="32671"/>
                  </a:lnTo>
                  <a:lnTo>
                    <a:pt x="295942" y="18193"/>
                  </a:lnTo>
                  <a:lnTo>
                    <a:pt x="298990" y="14097"/>
                  </a:lnTo>
                  <a:lnTo>
                    <a:pt x="301466" y="4763"/>
                  </a:lnTo>
                  <a:lnTo>
                    <a:pt x="304800" y="2476"/>
                  </a:lnTo>
                  <a:lnTo>
                    <a:pt x="309944" y="0"/>
                  </a:lnTo>
                  <a:lnTo>
                    <a:pt x="316325" y="6382"/>
                  </a:lnTo>
                  <a:lnTo>
                    <a:pt x="327279" y="6763"/>
                  </a:lnTo>
                  <a:lnTo>
                    <a:pt x="331566" y="11621"/>
                  </a:lnTo>
                  <a:lnTo>
                    <a:pt x="347758" y="9525"/>
                  </a:lnTo>
                  <a:lnTo>
                    <a:pt x="354711" y="6763"/>
                  </a:lnTo>
                  <a:lnTo>
                    <a:pt x="355854" y="15621"/>
                  </a:lnTo>
                  <a:lnTo>
                    <a:pt x="365379" y="18002"/>
                  </a:lnTo>
                  <a:lnTo>
                    <a:pt x="376238" y="31147"/>
                  </a:lnTo>
                  <a:lnTo>
                    <a:pt x="383191" y="28384"/>
                  </a:lnTo>
                  <a:lnTo>
                    <a:pt x="384810" y="40862"/>
                  </a:lnTo>
                  <a:lnTo>
                    <a:pt x="388906" y="43910"/>
                  </a:lnTo>
                  <a:lnTo>
                    <a:pt x="394240" y="43243"/>
                  </a:lnTo>
                  <a:lnTo>
                    <a:pt x="410147" y="39338"/>
                  </a:lnTo>
                  <a:lnTo>
                    <a:pt x="412433" y="42577"/>
                  </a:lnTo>
                  <a:lnTo>
                    <a:pt x="411385" y="48196"/>
                  </a:lnTo>
                  <a:lnTo>
                    <a:pt x="417005" y="49244"/>
                  </a:lnTo>
                  <a:lnTo>
                    <a:pt x="435483" y="50482"/>
                  </a:lnTo>
                  <a:lnTo>
                    <a:pt x="435674" y="52292"/>
                  </a:lnTo>
                  <a:lnTo>
                    <a:pt x="428815" y="69532"/>
                  </a:lnTo>
                  <a:lnTo>
                    <a:pt x="427958" y="76867"/>
                  </a:lnTo>
                  <a:lnTo>
                    <a:pt x="435864" y="81248"/>
                  </a:lnTo>
                  <a:lnTo>
                    <a:pt x="447389" y="99631"/>
                  </a:lnTo>
                  <a:lnTo>
                    <a:pt x="444341" y="103727"/>
                  </a:lnTo>
                  <a:lnTo>
                    <a:pt x="446818" y="108775"/>
                  </a:lnTo>
                  <a:lnTo>
                    <a:pt x="452628" y="111633"/>
                  </a:lnTo>
                  <a:lnTo>
                    <a:pt x="457200" y="118300"/>
                  </a:lnTo>
                  <a:lnTo>
                    <a:pt x="476440" y="112109"/>
                  </a:lnTo>
                  <a:lnTo>
                    <a:pt x="481965" y="125921"/>
                  </a:lnTo>
                  <a:lnTo>
                    <a:pt x="477107" y="130207"/>
                  </a:lnTo>
                  <a:lnTo>
                    <a:pt x="482632" y="131254"/>
                  </a:lnTo>
                  <a:lnTo>
                    <a:pt x="479775" y="137065"/>
                  </a:lnTo>
                  <a:lnTo>
                    <a:pt x="474155" y="136017"/>
                  </a:lnTo>
                  <a:lnTo>
                    <a:pt x="474631" y="139541"/>
                  </a:lnTo>
                  <a:lnTo>
                    <a:pt x="478250" y="139065"/>
                  </a:lnTo>
                  <a:lnTo>
                    <a:pt x="478727" y="142684"/>
                  </a:lnTo>
                  <a:lnTo>
                    <a:pt x="475107" y="143161"/>
                  </a:lnTo>
                  <a:lnTo>
                    <a:pt x="468630" y="149447"/>
                  </a:lnTo>
                  <a:lnTo>
                    <a:pt x="468821" y="151257"/>
                  </a:lnTo>
                  <a:lnTo>
                    <a:pt x="473678" y="159639"/>
                  </a:lnTo>
                  <a:lnTo>
                    <a:pt x="472345" y="163449"/>
                  </a:lnTo>
                  <a:lnTo>
                    <a:pt x="475297" y="172117"/>
                  </a:lnTo>
                  <a:lnTo>
                    <a:pt x="478917" y="171640"/>
                  </a:lnTo>
                  <a:lnTo>
                    <a:pt x="482918" y="174688"/>
                  </a:lnTo>
                  <a:lnTo>
                    <a:pt x="488537" y="175831"/>
                  </a:lnTo>
                  <a:lnTo>
                    <a:pt x="494062" y="189547"/>
                  </a:lnTo>
                  <a:lnTo>
                    <a:pt x="502825" y="186595"/>
                  </a:lnTo>
                  <a:lnTo>
                    <a:pt x="514064" y="188690"/>
                  </a:lnTo>
                  <a:lnTo>
                    <a:pt x="514731" y="194120"/>
                  </a:lnTo>
                  <a:lnTo>
                    <a:pt x="517779" y="202787"/>
                  </a:lnTo>
                  <a:lnTo>
                    <a:pt x="521780" y="205835"/>
                  </a:lnTo>
                  <a:lnTo>
                    <a:pt x="522732" y="212979"/>
                  </a:lnTo>
                  <a:lnTo>
                    <a:pt x="529495" y="222980"/>
                  </a:lnTo>
                  <a:lnTo>
                    <a:pt x="535400" y="225838"/>
                  </a:lnTo>
                  <a:lnTo>
                    <a:pt x="534067" y="229648"/>
                  </a:lnTo>
                  <a:lnTo>
                    <a:pt x="536638" y="234696"/>
                  </a:lnTo>
                  <a:lnTo>
                    <a:pt x="540163" y="234220"/>
                  </a:lnTo>
                  <a:lnTo>
                    <a:pt x="544258" y="237363"/>
                  </a:lnTo>
                  <a:lnTo>
                    <a:pt x="545687" y="248031"/>
                  </a:lnTo>
                  <a:lnTo>
                    <a:pt x="553783" y="254222"/>
                  </a:lnTo>
                  <a:lnTo>
                    <a:pt x="559118" y="253460"/>
                  </a:lnTo>
                  <a:lnTo>
                    <a:pt x="558641" y="249936"/>
                  </a:lnTo>
                  <a:lnTo>
                    <a:pt x="579501" y="241745"/>
                  </a:lnTo>
                  <a:lnTo>
                    <a:pt x="581787" y="245078"/>
                  </a:lnTo>
                  <a:lnTo>
                    <a:pt x="586549" y="253460"/>
                  </a:lnTo>
                  <a:lnTo>
                    <a:pt x="596932" y="262985"/>
                  </a:lnTo>
                  <a:lnTo>
                    <a:pt x="601504" y="269653"/>
                  </a:lnTo>
                  <a:lnTo>
                    <a:pt x="605314" y="270986"/>
                  </a:lnTo>
                  <a:lnTo>
                    <a:pt x="609410" y="274034"/>
                  </a:lnTo>
                  <a:lnTo>
                    <a:pt x="615030" y="275082"/>
                  </a:lnTo>
                  <a:lnTo>
                    <a:pt x="611696" y="277368"/>
                  </a:lnTo>
                  <a:lnTo>
                    <a:pt x="619125" y="278225"/>
                  </a:lnTo>
                  <a:lnTo>
                    <a:pt x="621125" y="279749"/>
                  </a:lnTo>
                  <a:lnTo>
                    <a:pt x="623888" y="286607"/>
                  </a:lnTo>
                  <a:lnTo>
                    <a:pt x="625602" y="286417"/>
                  </a:lnTo>
                  <a:lnTo>
                    <a:pt x="637127" y="290322"/>
                  </a:lnTo>
                  <a:lnTo>
                    <a:pt x="637889" y="295656"/>
                  </a:lnTo>
                  <a:lnTo>
                    <a:pt x="647986" y="303371"/>
                  </a:lnTo>
                  <a:lnTo>
                    <a:pt x="649224" y="312325"/>
                  </a:lnTo>
                  <a:lnTo>
                    <a:pt x="649415" y="314039"/>
                  </a:lnTo>
                  <a:lnTo>
                    <a:pt x="647129" y="310801"/>
                  </a:lnTo>
                  <a:lnTo>
                    <a:pt x="643605" y="311182"/>
                  </a:lnTo>
                  <a:lnTo>
                    <a:pt x="641128" y="320612"/>
                  </a:lnTo>
                  <a:lnTo>
                    <a:pt x="646938" y="350615"/>
                  </a:lnTo>
                  <a:lnTo>
                    <a:pt x="637604" y="362807"/>
                  </a:lnTo>
                  <a:lnTo>
                    <a:pt x="629603" y="385572"/>
                  </a:lnTo>
                  <a:lnTo>
                    <a:pt x="628269" y="389382"/>
                  </a:lnTo>
                  <a:lnTo>
                    <a:pt x="630841" y="394525"/>
                  </a:lnTo>
                  <a:lnTo>
                    <a:pt x="619221" y="403288"/>
                  </a:lnTo>
                  <a:lnTo>
                    <a:pt x="618554" y="412432"/>
                  </a:lnTo>
                  <a:lnTo>
                    <a:pt x="610267" y="419005"/>
                  </a:lnTo>
                  <a:lnTo>
                    <a:pt x="605885" y="426815"/>
                  </a:lnTo>
                  <a:lnTo>
                    <a:pt x="583883" y="440627"/>
                  </a:lnTo>
                  <a:lnTo>
                    <a:pt x="574738" y="439960"/>
                  </a:lnTo>
                  <a:lnTo>
                    <a:pt x="570262" y="447865"/>
                  </a:lnTo>
                  <a:lnTo>
                    <a:pt x="566928" y="450056"/>
                  </a:lnTo>
                  <a:lnTo>
                    <a:pt x="552069" y="448437"/>
                  </a:lnTo>
                  <a:lnTo>
                    <a:pt x="540068" y="440912"/>
                  </a:lnTo>
                  <a:lnTo>
                    <a:pt x="532924" y="441865"/>
                  </a:lnTo>
                  <a:lnTo>
                    <a:pt x="530066" y="447675"/>
                  </a:lnTo>
                  <a:lnTo>
                    <a:pt x="524637" y="448437"/>
                  </a:lnTo>
                  <a:lnTo>
                    <a:pt x="500824" y="447961"/>
                  </a:lnTo>
                  <a:lnTo>
                    <a:pt x="497491" y="450247"/>
                  </a:lnTo>
                  <a:lnTo>
                    <a:pt x="484918" y="451866"/>
                  </a:lnTo>
                  <a:lnTo>
                    <a:pt x="476346" y="456629"/>
                  </a:lnTo>
                  <a:lnTo>
                    <a:pt x="473488" y="462439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2" name="Volný tvar: obrazec 61">
              <a:extLst>
                <a:ext uri="{FF2B5EF4-FFF2-40B4-BE49-F238E27FC236}">
                  <a16:creationId xmlns:a16="http://schemas.microsoft.com/office/drawing/2014/main" id="{2240B93B-6546-AF1B-25DD-BB71E7EC7D7C}"/>
                </a:ext>
              </a:extLst>
            </p:cNvPr>
            <p:cNvSpPr/>
            <p:nvPr userDrawn="1"/>
          </p:nvSpPr>
          <p:spPr>
            <a:xfrm>
              <a:off x="7652860" y="4223099"/>
              <a:ext cx="641413" cy="450627"/>
            </a:xfrm>
            <a:custGeom>
              <a:avLst/>
              <a:gdLst>
                <a:gd name="connsiteX0" fmla="*/ 402812 w 641413"/>
                <a:gd name="connsiteY0" fmla="*/ 449389 h 450627"/>
                <a:gd name="connsiteX1" fmla="*/ 393096 w 641413"/>
                <a:gd name="connsiteY1" fmla="*/ 430721 h 450627"/>
                <a:gd name="connsiteX2" fmla="*/ 392144 w 641413"/>
                <a:gd name="connsiteY2" fmla="*/ 423577 h 450627"/>
                <a:gd name="connsiteX3" fmla="*/ 393954 w 641413"/>
                <a:gd name="connsiteY3" fmla="*/ 423386 h 450627"/>
                <a:gd name="connsiteX4" fmla="*/ 393668 w 641413"/>
                <a:gd name="connsiteY4" fmla="*/ 421577 h 450627"/>
                <a:gd name="connsiteX5" fmla="*/ 395001 w 641413"/>
                <a:gd name="connsiteY5" fmla="*/ 417862 h 450627"/>
                <a:gd name="connsiteX6" fmla="*/ 386048 w 641413"/>
                <a:gd name="connsiteY6" fmla="*/ 419005 h 450627"/>
                <a:gd name="connsiteX7" fmla="*/ 381952 w 641413"/>
                <a:gd name="connsiteY7" fmla="*/ 415862 h 450627"/>
                <a:gd name="connsiteX8" fmla="*/ 383286 w 641413"/>
                <a:gd name="connsiteY8" fmla="*/ 412147 h 450627"/>
                <a:gd name="connsiteX9" fmla="*/ 374237 w 641413"/>
                <a:gd name="connsiteY9" fmla="*/ 398812 h 450627"/>
                <a:gd name="connsiteX10" fmla="*/ 360140 w 641413"/>
                <a:gd name="connsiteY10" fmla="*/ 375285 h 450627"/>
                <a:gd name="connsiteX11" fmla="*/ 345757 w 641413"/>
                <a:gd name="connsiteY11" fmla="*/ 377190 h 450627"/>
                <a:gd name="connsiteX12" fmla="*/ 325184 w 641413"/>
                <a:gd name="connsiteY12" fmla="*/ 359950 h 450627"/>
                <a:gd name="connsiteX13" fmla="*/ 319850 w 641413"/>
                <a:gd name="connsiteY13" fmla="*/ 360712 h 450627"/>
                <a:gd name="connsiteX14" fmla="*/ 311562 w 641413"/>
                <a:gd name="connsiteY14" fmla="*/ 367189 h 450627"/>
                <a:gd name="connsiteX15" fmla="*/ 301657 w 641413"/>
                <a:gd name="connsiteY15" fmla="*/ 361283 h 450627"/>
                <a:gd name="connsiteX16" fmla="*/ 310039 w 641413"/>
                <a:gd name="connsiteY16" fmla="*/ 342043 h 450627"/>
                <a:gd name="connsiteX17" fmla="*/ 310896 w 641413"/>
                <a:gd name="connsiteY17" fmla="*/ 334709 h 450627"/>
                <a:gd name="connsiteX18" fmla="*/ 314039 w 641413"/>
                <a:gd name="connsiteY18" fmla="*/ 330613 h 450627"/>
                <a:gd name="connsiteX19" fmla="*/ 305657 w 641413"/>
                <a:gd name="connsiteY19" fmla="*/ 322707 h 450627"/>
                <a:gd name="connsiteX20" fmla="*/ 286226 w 641413"/>
                <a:gd name="connsiteY20" fmla="*/ 314325 h 450627"/>
                <a:gd name="connsiteX21" fmla="*/ 274415 w 641413"/>
                <a:gd name="connsiteY21" fmla="*/ 321373 h 450627"/>
                <a:gd name="connsiteX22" fmla="*/ 272129 w 641413"/>
                <a:gd name="connsiteY22" fmla="*/ 318040 h 450627"/>
                <a:gd name="connsiteX23" fmla="*/ 264414 w 641413"/>
                <a:gd name="connsiteY23" fmla="*/ 300895 h 450627"/>
                <a:gd name="connsiteX24" fmla="*/ 263842 w 641413"/>
                <a:gd name="connsiteY24" fmla="*/ 310134 h 450627"/>
                <a:gd name="connsiteX25" fmla="*/ 248126 w 641413"/>
                <a:gd name="connsiteY25" fmla="*/ 315754 h 450627"/>
                <a:gd name="connsiteX26" fmla="*/ 239744 w 641413"/>
                <a:gd name="connsiteY26" fmla="*/ 307848 h 450627"/>
                <a:gd name="connsiteX27" fmla="*/ 236601 w 641413"/>
                <a:gd name="connsiteY27" fmla="*/ 311848 h 450627"/>
                <a:gd name="connsiteX28" fmla="*/ 234315 w 641413"/>
                <a:gd name="connsiteY28" fmla="*/ 308515 h 450627"/>
                <a:gd name="connsiteX29" fmla="*/ 229457 w 641413"/>
                <a:gd name="connsiteY29" fmla="*/ 312801 h 450627"/>
                <a:gd name="connsiteX30" fmla="*/ 227647 w 641413"/>
                <a:gd name="connsiteY30" fmla="*/ 313087 h 450627"/>
                <a:gd name="connsiteX31" fmla="*/ 222504 w 641413"/>
                <a:gd name="connsiteY31" fmla="*/ 315563 h 450627"/>
                <a:gd name="connsiteX32" fmla="*/ 220408 w 641413"/>
                <a:gd name="connsiteY32" fmla="*/ 314039 h 450627"/>
                <a:gd name="connsiteX33" fmla="*/ 205454 w 641413"/>
                <a:gd name="connsiteY33" fmla="*/ 325088 h 450627"/>
                <a:gd name="connsiteX34" fmla="*/ 194786 w 641413"/>
                <a:gd name="connsiteY34" fmla="*/ 313754 h 450627"/>
                <a:gd name="connsiteX35" fmla="*/ 191262 w 641413"/>
                <a:gd name="connsiteY35" fmla="*/ 314230 h 450627"/>
                <a:gd name="connsiteX36" fmla="*/ 180594 w 641413"/>
                <a:gd name="connsiteY36" fmla="*/ 302990 h 450627"/>
                <a:gd name="connsiteX37" fmla="*/ 172498 w 641413"/>
                <a:gd name="connsiteY37" fmla="*/ 296799 h 450627"/>
                <a:gd name="connsiteX38" fmla="*/ 169069 w 641413"/>
                <a:gd name="connsiteY38" fmla="*/ 284512 h 450627"/>
                <a:gd name="connsiteX39" fmla="*/ 156686 w 641413"/>
                <a:gd name="connsiteY39" fmla="*/ 287941 h 450627"/>
                <a:gd name="connsiteX40" fmla="*/ 152495 w 641413"/>
                <a:gd name="connsiteY40" fmla="*/ 297561 h 450627"/>
                <a:gd name="connsiteX41" fmla="*/ 151543 w 641413"/>
                <a:gd name="connsiteY41" fmla="*/ 290513 h 450627"/>
                <a:gd name="connsiteX42" fmla="*/ 148209 w 641413"/>
                <a:gd name="connsiteY42" fmla="*/ 292703 h 450627"/>
                <a:gd name="connsiteX43" fmla="*/ 144304 w 641413"/>
                <a:gd name="connsiteY43" fmla="*/ 291465 h 450627"/>
                <a:gd name="connsiteX44" fmla="*/ 141256 w 641413"/>
                <a:gd name="connsiteY44" fmla="*/ 295466 h 450627"/>
                <a:gd name="connsiteX45" fmla="*/ 133350 w 641413"/>
                <a:gd name="connsiteY45" fmla="*/ 291084 h 450627"/>
                <a:gd name="connsiteX46" fmla="*/ 131350 w 641413"/>
                <a:gd name="connsiteY46" fmla="*/ 289560 h 450627"/>
                <a:gd name="connsiteX47" fmla="*/ 131064 w 641413"/>
                <a:gd name="connsiteY47" fmla="*/ 287750 h 450627"/>
                <a:gd name="connsiteX48" fmla="*/ 132397 w 641413"/>
                <a:gd name="connsiteY48" fmla="*/ 283940 h 450627"/>
                <a:gd name="connsiteX49" fmla="*/ 130397 w 641413"/>
                <a:gd name="connsiteY49" fmla="*/ 282416 h 450627"/>
                <a:gd name="connsiteX50" fmla="*/ 135064 w 641413"/>
                <a:gd name="connsiteY50" fmla="*/ 276320 h 450627"/>
                <a:gd name="connsiteX51" fmla="*/ 134588 w 641413"/>
                <a:gd name="connsiteY51" fmla="*/ 272796 h 450627"/>
                <a:gd name="connsiteX52" fmla="*/ 135636 w 641413"/>
                <a:gd name="connsiteY52" fmla="*/ 267176 h 450627"/>
                <a:gd name="connsiteX53" fmla="*/ 135160 w 641413"/>
                <a:gd name="connsiteY53" fmla="*/ 263652 h 450627"/>
                <a:gd name="connsiteX54" fmla="*/ 137541 w 641413"/>
                <a:gd name="connsiteY54" fmla="*/ 254222 h 450627"/>
                <a:gd name="connsiteX55" fmla="*/ 129730 w 641413"/>
                <a:gd name="connsiteY55" fmla="*/ 249841 h 450627"/>
                <a:gd name="connsiteX56" fmla="*/ 126587 w 641413"/>
                <a:gd name="connsiteY56" fmla="*/ 253841 h 450627"/>
                <a:gd name="connsiteX57" fmla="*/ 120491 w 641413"/>
                <a:gd name="connsiteY57" fmla="*/ 249269 h 450627"/>
                <a:gd name="connsiteX58" fmla="*/ 121825 w 641413"/>
                <a:gd name="connsiteY58" fmla="*/ 245459 h 450627"/>
                <a:gd name="connsiteX59" fmla="*/ 113729 w 641413"/>
                <a:gd name="connsiteY59" fmla="*/ 239268 h 450627"/>
                <a:gd name="connsiteX60" fmla="*/ 103632 w 641413"/>
                <a:gd name="connsiteY60" fmla="*/ 246031 h 450627"/>
                <a:gd name="connsiteX61" fmla="*/ 99536 w 641413"/>
                <a:gd name="connsiteY61" fmla="*/ 242983 h 450627"/>
                <a:gd name="connsiteX62" fmla="*/ 94392 w 641413"/>
                <a:gd name="connsiteY62" fmla="*/ 245459 h 450627"/>
                <a:gd name="connsiteX63" fmla="*/ 91630 w 641413"/>
                <a:gd name="connsiteY63" fmla="*/ 238601 h 450627"/>
                <a:gd name="connsiteX64" fmla="*/ 85820 w 641413"/>
                <a:gd name="connsiteY64" fmla="*/ 235744 h 450627"/>
                <a:gd name="connsiteX65" fmla="*/ 80867 w 641413"/>
                <a:gd name="connsiteY65" fmla="*/ 240030 h 450627"/>
                <a:gd name="connsiteX66" fmla="*/ 73438 w 641413"/>
                <a:gd name="connsiteY66" fmla="*/ 239173 h 450627"/>
                <a:gd name="connsiteX67" fmla="*/ 73723 w 641413"/>
                <a:gd name="connsiteY67" fmla="*/ 240983 h 450627"/>
                <a:gd name="connsiteX68" fmla="*/ 67818 w 641413"/>
                <a:gd name="connsiteY68" fmla="*/ 238125 h 450627"/>
                <a:gd name="connsiteX69" fmla="*/ 64960 w 641413"/>
                <a:gd name="connsiteY69" fmla="*/ 243935 h 450627"/>
                <a:gd name="connsiteX70" fmla="*/ 64675 w 641413"/>
                <a:gd name="connsiteY70" fmla="*/ 242126 h 450627"/>
                <a:gd name="connsiteX71" fmla="*/ 59531 w 641413"/>
                <a:gd name="connsiteY71" fmla="*/ 244602 h 450627"/>
                <a:gd name="connsiteX72" fmla="*/ 59246 w 641413"/>
                <a:gd name="connsiteY72" fmla="*/ 228314 h 450627"/>
                <a:gd name="connsiteX73" fmla="*/ 55150 w 641413"/>
                <a:gd name="connsiteY73" fmla="*/ 225266 h 450627"/>
                <a:gd name="connsiteX74" fmla="*/ 52197 w 641413"/>
                <a:gd name="connsiteY74" fmla="*/ 216598 h 450627"/>
                <a:gd name="connsiteX75" fmla="*/ 46863 w 641413"/>
                <a:gd name="connsiteY75" fmla="*/ 217265 h 450627"/>
                <a:gd name="connsiteX76" fmla="*/ 38100 w 641413"/>
                <a:gd name="connsiteY76" fmla="*/ 220313 h 450627"/>
                <a:gd name="connsiteX77" fmla="*/ 36862 w 641413"/>
                <a:gd name="connsiteY77" fmla="*/ 211360 h 450627"/>
                <a:gd name="connsiteX78" fmla="*/ 16669 w 641413"/>
                <a:gd name="connsiteY78" fmla="*/ 210407 h 450627"/>
                <a:gd name="connsiteX79" fmla="*/ 14002 w 641413"/>
                <a:gd name="connsiteY79" fmla="*/ 218027 h 450627"/>
                <a:gd name="connsiteX80" fmla="*/ 10668 w 641413"/>
                <a:gd name="connsiteY80" fmla="*/ 220313 h 450627"/>
                <a:gd name="connsiteX81" fmla="*/ 8191 w 641413"/>
                <a:gd name="connsiteY81" fmla="*/ 215170 h 450627"/>
                <a:gd name="connsiteX82" fmla="*/ 7620 w 641413"/>
                <a:gd name="connsiteY82" fmla="*/ 211646 h 450627"/>
                <a:gd name="connsiteX83" fmla="*/ 12097 w 641413"/>
                <a:gd name="connsiteY83" fmla="*/ 203740 h 450627"/>
                <a:gd name="connsiteX84" fmla="*/ 11621 w 641413"/>
                <a:gd name="connsiteY84" fmla="*/ 200216 h 450627"/>
                <a:gd name="connsiteX85" fmla="*/ 16383 w 641413"/>
                <a:gd name="connsiteY85" fmla="*/ 194120 h 450627"/>
                <a:gd name="connsiteX86" fmla="*/ 19240 w 641413"/>
                <a:gd name="connsiteY86" fmla="*/ 188309 h 450627"/>
                <a:gd name="connsiteX87" fmla="*/ 17526 w 641413"/>
                <a:gd name="connsiteY87" fmla="*/ 175831 h 450627"/>
                <a:gd name="connsiteX88" fmla="*/ 15335 w 641413"/>
                <a:gd name="connsiteY88" fmla="*/ 172498 h 450627"/>
                <a:gd name="connsiteX89" fmla="*/ 16192 w 641413"/>
                <a:gd name="connsiteY89" fmla="*/ 165163 h 450627"/>
                <a:gd name="connsiteX90" fmla="*/ 12097 w 641413"/>
                <a:gd name="connsiteY90" fmla="*/ 162116 h 450627"/>
                <a:gd name="connsiteX91" fmla="*/ 6477 w 641413"/>
                <a:gd name="connsiteY91" fmla="*/ 160972 h 450627"/>
                <a:gd name="connsiteX92" fmla="*/ 2096 w 641413"/>
                <a:gd name="connsiteY92" fmla="*/ 141637 h 450627"/>
                <a:gd name="connsiteX93" fmla="*/ 0 w 641413"/>
                <a:gd name="connsiteY93" fmla="*/ 140113 h 450627"/>
                <a:gd name="connsiteX94" fmla="*/ 29908 w 641413"/>
                <a:gd name="connsiteY94" fmla="*/ 130683 h 450627"/>
                <a:gd name="connsiteX95" fmla="*/ 27813 w 641413"/>
                <a:gd name="connsiteY95" fmla="*/ 129159 h 450627"/>
                <a:gd name="connsiteX96" fmla="*/ 25336 w 641413"/>
                <a:gd name="connsiteY96" fmla="*/ 124016 h 450627"/>
                <a:gd name="connsiteX97" fmla="*/ 29813 w 641413"/>
                <a:gd name="connsiteY97" fmla="*/ 116205 h 450627"/>
                <a:gd name="connsiteX98" fmla="*/ 28575 w 641413"/>
                <a:gd name="connsiteY98" fmla="*/ 107347 h 450627"/>
                <a:gd name="connsiteX99" fmla="*/ 20288 w 641413"/>
                <a:gd name="connsiteY99" fmla="*/ 99346 h 450627"/>
                <a:gd name="connsiteX100" fmla="*/ 18002 w 641413"/>
                <a:gd name="connsiteY100" fmla="*/ 96012 h 450627"/>
                <a:gd name="connsiteX101" fmla="*/ 19050 w 641413"/>
                <a:gd name="connsiteY101" fmla="*/ 90488 h 450627"/>
                <a:gd name="connsiteX102" fmla="*/ 21717 w 641413"/>
                <a:gd name="connsiteY102" fmla="*/ 82868 h 450627"/>
                <a:gd name="connsiteX103" fmla="*/ 30004 w 641413"/>
                <a:gd name="connsiteY103" fmla="*/ 76295 h 450627"/>
                <a:gd name="connsiteX104" fmla="*/ 38957 w 641413"/>
                <a:gd name="connsiteY104" fmla="*/ 75152 h 450627"/>
                <a:gd name="connsiteX105" fmla="*/ 47054 w 641413"/>
                <a:gd name="connsiteY105" fmla="*/ 66770 h 450627"/>
                <a:gd name="connsiteX106" fmla="*/ 51911 w 641413"/>
                <a:gd name="connsiteY106" fmla="*/ 62579 h 450627"/>
                <a:gd name="connsiteX107" fmla="*/ 54864 w 641413"/>
                <a:gd name="connsiteY107" fmla="*/ 56674 h 450627"/>
                <a:gd name="connsiteX108" fmla="*/ 59722 w 641413"/>
                <a:gd name="connsiteY108" fmla="*/ 52483 h 450627"/>
                <a:gd name="connsiteX109" fmla="*/ 61055 w 641413"/>
                <a:gd name="connsiteY109" fmla="*/ 48578 h 450627"/>
                <a:gd name="connsiteX110" fmla="*/ 62389 w 641413"/>
                <a:gd name="connsiteY110" fmla="*/ 44863 h 450627"/>
                <a:gd name="connsiteX111" fmla="*/ 64675 w 641413"/>
                <a:gd name="connsiteY111" fmla="*/ 48101 h 450627"/>
                <a:gd name="connsiteX112" fmla="*/ 68866 w 641413"/>
                <a:gd name="connsiteY112" fmla="*/ 38576 h 450627"/>
                <a:gd name="connsiteX113" fmla="*/ 75533 w 641413"/>
                <a:gd name="connsiteY113" fmla="*/ 34004 h 450627"/>
                <a:gd name="connsiteX114" fmla="*/ 84296 w 641413"/>
                <a:gd name="connsiteY114" fmla="*/ 31052 h 450627"/>
                <a:gd name="connsiteX115" fmla="*/ 89916 w 641413"/>
                <a:gd name="connsiteY115" fmla="*/ 32099 h 450627"/>
                <a:gd name="connsiteX116" fmla="*/ 101060 w 641413"/>
                <a:gd name="connsiteY116" fmla="*/ 19717 h 450627"/>
                <a:gd name="connsiteX117" fmla="*/ 116776 w 641413"/>
                <a:gd name="connsiteY117" fmla="*/ 14097 h 450627"/>
                <a:gd name="connsiteX118" fmla="*/ 132683 w 641413"/>
                <a:gd name="connsiteY118" fmla="*/ 10096 h 450627"/>
                <a:gd name="connsiteX119" fmla="*/ 148399 w 641413"/>
                <a:gd name="connsiteY119" fmla="*/ 4477 h 450627"/>
                <a:gd name="connsiteX120" fmla="*/ 152686 w 641413"/>
                <a:gd name="connsiteY120" fmla="*/ 9239 h 450627"/>
                <a:gd name="connsiteX121" fmla="*/ 163258 w 641413"/>
                <a:gd name="connsiteY121" fmla="*/ 6096 h 450627"/>
                <a:gd name="connsiteX122" fmla="*/ 164592 w 641413"/>
                <a:gd name="connsiteY122" fmla="*/ 2286 h 450627"/>
                <a:gd name="connsiteX123" fmla="*/ 167926 w 641413"/>
                <a:gd name="connsiteY123" fmla="*/ 0 h 450627"/>
                <a:gd name="connsiteX124" fmla="*/ 180784 w 641413"/>
                <a:gd name="connsiteY124" fmla="*/ 14669 h 450627"/>
                <a:gd name="connsiteX125" fmla="*/ 188976 w 641413"/>
                <a:gd name="connsiteY125" fmla="*/ 20860 h 450627"/>
                <a:gd name="connsiteX126" fmla="*/ 203835 w 641413"/>
                <a:gd name="connsiteY126" fmla="*/ 36957 h 450627"/>
                <a:gd name="connsiteX127" fmla="*/ 202311 w 641413"/>
                <a:gd name="connsiteY127" fmla="*/ 38957 h 450627"/>
                <a:gd name="connsiteX128" fmla="*/ 204311 w 641413"/>
                <a:gd name="connsiteY128" fmla="*/ 40577 h 450627"/>
                <a:gd name="connsiteX129" fmla="*/ 211074 w 641413"/>
                <a:gd name="connsiteY129" fmla="*/ 36004 h 450627"/>
                <a:gd name="connsiteX130" fmla="*/ 214884 w 641413"/>
                <a:gd name="connsiteY130" fmla="*/ 37338 h 450627"/>
                <a:gd name="connsiteX131" fmla="*/ 219456 w 641413"/>
                <a:gd name="connsiteY131" fmla="*/ 44005 h 450627"/>
                <a:gd name="connsiteX132" fmla="*/ 218122 w 641413"/>
                <a:gd name="connsiteY132" fmla="*/ 47816 h 450627"/>
                <a:gd name="connsiteX133" fmla="*/ 222218 w 641413"/>
                <a:gd name="connsiteY133" fmla="*/ 50863 h 450627"/>
                <a:gd name="connsiteX134" fmla="*/ 228981 w 641413"/>
                <a:gd name="connsiteY134" fmla="*/ 60865 h 450627"/>
                <a:gd name="connsiteX135" fmla="*/ 230791 w 641413"/>
                <a:gd name="connsiteY135" fmla="*/ 60579 h 450627"/>
                <a:gd name="connsiteX136" fmla="*/ 232315 w 641413"/>
                <a:gd name="connsiteY136" fmla="*/ 58579 h 450627"/>
                <a:gd name="connsiteX137" fmla="*/ 234601 w 641413"/>
                <a:gd name="connsiteY137" fmla="*/ 61913 h 450627"/>
                <a:gd name="connsiteX138" fmla="*/ 238792 w 641413"/>
                <a:gd name="connsiteY138" fmla="*/ 79534 h 450627"/>
                <a:gd name="connsiteX139" fmla="*/ 243459 w 641413"/>
                <a:gd name="connsiteY139" fmla="*/ 73438 h 450627"/>
                <a:gd name="connsiteX140" fmla="*/ 255365 w 641413"/>
                <a:gd name="connsiteY140" fmla="*/ 80963 h 450627"/>
                <a:gd name="connsiteX141" fmla="*/ 253555 w 641413"/>
                <a:gd name="connsiteY141" fmla="*/ 81153 h 450627"/>
                <a:gd name="connsiteX142" fmla="*/ 255651 w 641413"/>
                <a:gd name="connsiteY142" fmla="*/ 82677 h 450627"/>
                <a:gd name="connsiteX143" fmla="*/ 250984 w 641413"/>
                <a:gd name="connsiteY143" fmla="*/ 88773 h 450627"/>
                <a:gd name="connsiteX144" fmla="*/ 260128 w 641413"/>
                <a:gd name="connsiteY144" fmla="*/ 89345 h 450627"/>
                <a:gd name="connsiteX145" fmla="*/ 263271 w 641413"/>
                <a:gd name="connsiteY145" fmla="*/ 85344 h 450627"/>
                <a:gd name="connsiteX146" fmla="*/ 273367 w 641413"/>
                <a:gd name="connsiteY146" fmla="*/ 78581 h 450627"/>
                <a:gd name="connsiteX147" fmla="*/ 278987 w 641413"/>
                <a:gd name="connsiteY147" fmla="*/ 79629 h 450627"/>
                <a:gd name="connsiteX148" fmla="*/ 287846 w 641413"/>
                <a:gd name="connsiteY148" fmla="*/ 63913 h 450627"/>
                <a:gd name="connsiteX149" fmla="*/ 292989 w 641413"/>
                <a:gd name="connsiteY149" fmla="*/ 61436 h 450627"/>
                <a:gd name="connsiteX150" fmla="*/ 297942 w 641413"/>
                <a:gd name="connsiteY150" fmla="*/ 57150 h 450627"/>
                <a:gd name="connsiteX151" fmla="*/ 308991 w 641413"/>
                <a:gd name="connsiteY151" fmla="*/ 57531 h 450627"/>
                <a:gd name="connsiteX152" fmla="*/ 314801 w 641413"/>
                <a:gd name="connsiteY152" fmla="*/ 60388 h 450627"/>
                <a:gd name="connsiteX153" fmla="*/ 318897 w 641413"/>
                <a:gd name="connsiteY153" fmla="*/ 63437 h 450627"/>
                <a:gd name="connsiteX154" fmla="*/ 323564 w 641413"/>
                <a:gd name="connsiteY154" fmla="*/ 57436 h 450627"/>
                <a:gd name="connsiteX155" fmla="*/ 330708 w 641413"/>
                <a:gd name="connsiteY155" fmla="*/ 56483 h 450627"/>
                <a:gd name="connsiteX156" fmla="*/ 336328 w 641413"/>
                <a:gd name="connsiteY156" fmla="*/ 57531 h 450627"/>
                <a:gd name="connsiteX157" fmla="*/ 336137 w 641413"/>
                <a:gd name="connsiteY157" fmla="*/ 55721 h 450627"/>
                <a:gd name="connsiteX158" fmla="*/ 341281 w 641413"/>
                <a:gd name="connsiteY158" fmla="*/ 53245 h 450627"/>
                <a:gd name="connsiteX159" fmla="*/ 352806 w 641413"/>
                <a:gd name="connsiteY159" fmla="*/ 57150 h 450627"/>
                <a:gd name="connsiteX160" fmla="*/ 353853 w 641413"/>
                <a:gd name="connsiteY160" fmla="*/ 51626 h 450627"/>
                <a:gd name="connsiteX161" fmla="*/ 356711 w 641413"/>
                <a:gd name="connsiteY161" fmla="*/ 45720 h 450627"/>
                <a:gd name="connsiteX162" fmla="*/ 363664 w 641413"/>
                <a:gd name="connsiteY162" fmla="*/ 43053 h 450627"/>
                <a:gd name="connsiteX163" fmla="*/ 373380 w 641413"/>
                <a:gd name="connsiteY163" fmla="*/ 47149 h 450627"/>
                <a:gd name="connsiteX164" fmla="*/ 380333 w 641413"/>
                <a:gd name="connsiteY164" fmla="*/ 44482 h 450627"/>
                <a:gd name="connsiteX165" fmla="*/ 389763 w 641413"/>
                <a:gd name="connsiteY165" fmla="*/ 46863 h 450627"/>
                <a:gd name="connsiteX166" fmla="*/ 394049 w 641413"/>
                <a:gd name="connsiteY166" fmla="*/ 51721 h 450627"/>
                <a:gd name="connsiteX167" fmla="*/ 395478 w 641413"/>
                <a:gd name="connsiteY167" fmla="*/ 62389 h 450627"/>
                <a:gd name="connsiteX168" fmla="*/ 400050 w 641413"/>
                <a:gd name="connsiteY168" fmla="*/ 69056 h 450627"/>
                <a:gd name="connsiteX169" fmla="*/ 384620 w 641413"/>
                <a:gd name="connsiteY169" fmla="*/ 76581 h 450627"/>
                <a:gd name="connsiteX170" fmla="*/ 387096 w 641413"/>
                <a:gd name="connsiteY170" fmla="*/ 81629 h 450627"/>
                <a:gd name="connsiteX171" fmla="*/ 385953 w 641413"/>
                <a:gd name="connsiteY171" fmla="*/ 87249 h 450627"/>
                <a:gd name="connsiteX172" fmla="*/ 383953 w 641413"/>
                <a:gd name="connsiteY172" fmla="*/ 85630 h 450627"/>
                <a:gd name="connsiteX173" fmla="*/ 378809 w 641413"/>
                <a:gd name="connsiteY173" fmla="*/ 88106 h 450627"/>
                <a:gd name="connsiteX174" fmla="*/ 377285 w 641413"/>
                <a:gd name="connsiteY174" fmla="*/ 90202 h 450627"/>
                <a:gd name="connsiteX175" fmla="*/ 379286 w 641413"/>
                <a:gd name="connsiteY175" fmla="*/ 91726 h 450627"/>
                <a:gd name="connsiteX176" fmla="*/ 379762 w 641413"/>
                <a:gd name="connsiteY176" fmla="*/ 95250 h 450627"/>
                <a:gd name="connsiteX177" fmla="*/ 374809 w 641413"/>
                <a:gd name="connsiteY177" fmla="*/ 99536 h 450627"/>
                <a:gd name="connsiteX178" fmla="*/ 378904 w 641413"/>
                <a:gd name="connsiteY178" fmla="*/ 102679 h 450627"/>
                <a:gd name="connsiteX179" fmla="*/ 377571 w 641413"/>
                <a:gd name="connsiteY179" fmla="*/ 106489 h 450627"/>
                <a:gd name="connsiteX180" fmla="*/ 383191 w 641413"/>
                <a:gd name="connsiteY180" fmla="*/ 107537 h 450627"/>
                <a:gd name="connsiteX181" fmla="*/ 386525 w 641413"/>
                <a:gd name="connsiteY181" fmla="*/ 105251 h 450627"/>
                <a:gd name="connsiteX182" fmla="*/ 388811 w 641413"/>
                <a:gd name="connsiteY182" fmla="*/ 108585 h 450627"/>
                <a:gd name="connsiteX183" fmla="*/ 385476 w 641413"/>
                <a:gd name="connsiteY183" fmla="*/ 110871 h 450627"/>
                <a:gd name="connsiteX184" fmla="*/ 391287 w 641413"/>
                <a:gd name="connsiteY184" fmla="*/ 113729 h 450627"/>
                <a:gd name="connsiteX185" fmla="*/ 390239 w 641413"/>
                <a:gd name="connsiteY185" fmla="*/ 119253 h 450627"/>
                <a:gd name="connsiteX186" fmla="*/ 392716 w 641413"/>
                <a:gd name="connsiteY186" fmla="*/ 124396 h 450627"/>
                <a:gd name="connsiteX187" fmla="*/ 395478 w 641413"/>
                <a:gd name="connsiteY187" fmla="*/ 131254 h 450627"/>
                <a:gd name="connsiteX188" fmla="*/ 397287 w 641413"/>
                <a:gd name="connsiteY188" fmla="*/ 131064 h 450627"/>
                <a:gd name="connsiteX189" fmla="*/ 395764 w 641413"/>
                <a:gd name="connsiteY189" fmla="*/ 133064 h 450627"/>
                <a:gd name="connsiteX190" fmla="*/ 399764 w 641413"/>
                <a:gd name="connsiteY190" fmla="*/ 136112 h 450627"/>
                <a:gd name="connsiteX191" fmla="*/ 406718 w 641413"/>
                <a:gd name="connsiteY191" fmla="*/ 133445 h 450627"/>
                <a:gd name="connsiteX192" fmla="*/ 417766 w 641413"/>
                <a:gd name="connsiteY192" fmla="*/ 133826 h 450627"/>
                <a:gd name="connsiteX193" fmla="*/ 419767 w 641413"/>
                <a:gd name="connsiteY193" fmla="*/ 135350 h 450627"/>
                <a:gd name="connsiteX194" fmla="*/ 424053 w 641413"/>
                <a:gd name="connsiteY194" fmla="*/ 140208 h 450627"/>
                <a:gd name="connsiteX195" fmla="*/ 428149 w 641413"/>
                <a:gd name="connsiteY195" fmla="*/ 143256 h 450627"/>
                <a:gd name="connsiteX196" fmla="*/ 427006 w 641413"/>
                <a:gd name="connsiteY196" fmla="*/ 148876 h 450627"/>
                <a:gd name="connsiteX197" fmla="*/ 429577 w 641413"/>
                <a:gd name="connsiteY197" fmla="*/ 154019 h 450627"/>
                <a:gd name="connsiteX198" fmla="*/ 427101 w 641413"/>
                <a:gd name="connsiteY198" fmla="*/ 163354 h 450627"/>
                <a:gd name="connsiteX199" fmla="*/ 428530 w 641413"/>
                <a:gd name="connsiteY199" fmla="*/ 174022 h 450627"/>
                <a:gd name="connsiteX200" fmla="*/ 440912 w 641413"/>
                <a:gd name="connsiteY200" fmla="*/ 170593 h 450627"/>
                <a:gd name="connsiteX201" fmla="*/ 441103 w 641413"/>
                <a:gd name="connsiteY201" fmla="*/ 172403 h 450627"/>
                <a:gd name="connsiteX202" fmla="*/ 446532 w 641413"/>
                <a:gd name="connsiteY202" fmla="*/ 171736 h 450627"/>
                <a:gd name="connsiteX203" fmla="*/ 451390 w 641413"/>
                <a:gd name="connsiteY203" fmla="*/ 167354 h 450627"/>
                <a:gd name="connsiteX204" fmla="*/ 456819 w 641413"/>
                <a:gd name="connsiteY204" fmla="*/ 166688 h 450627"/>
                <a:gd name="connsiteX205" fmla="*/ 456152 w 641413"/>
                <a:gd name="connsiteY205" fmla="*/ 161354 h 450627"/>
                <a:gd name="connsiteX206" fmla="*/ 463105 w 641413"/>
                <a:gd name="connsiteY206" fmla="*/ 158591 h 450627"/>
                <a:gd name="connsiteX207" fmla="*/ 460534 w 641413"/>
                <a:gd name="connsiteY207" fmla="*/ 153543 h 450627"/>
                <a:gd name="connsiteX208" fmla="*/ 463962 w 641413"/>
                <a:gd name="connsiteY208" fmla="*/ 151257 h 450627"/>
                <a:gd name="connsiteX209" fmla="*/ 467773 w 641413"/>
                <a:gd name="connsiteY209" fmla="*/ 152495 h 450627"/>
                <a:gd name="connsiteX210" fmla="*/ 469106 w 641413"/>
                <a:gd name="connsiteY210" fmla="*/ 148780 h 450627"/>
                <a:gd name="connsiteX211" fmla="*/ 474726 w 641413"/>
                <a:gd name="connsiteY211" fmla="*/ 149828 h 450627"/>
                <a:gd name="connsiteX212" fmla="*/ 476726 w 641413"/>
                <a:gd name="connsiteY212" fmla="*/ 151352 h 450627"/>
                <a:gd name="connsiteX213" fmla="*/ 491109 w 641413"/>
                <a:gd name="connsiteY213" fmla="*/ 149447 h 450627"/>
                <a:gd name="connsiteX214" fmla="*/ 497586 w 641413"/>
                <a:gd name="connsiteY214" fmla="*/ 143161 h 450627"/>
                <a:gd name="connsiteX215" fmla="*/ 495109 w 641413"/>
                <a:gd name="connsiteY215" fmla="*/ 138017 h 450627"/>
                <a:gd name="connsiteX216" fmla="*/ 498443 w 641413"/>
                <a:gd name="connsiteY216" fmla="*/ 135827 h 450627"/>
                <a:gd name="connsiteX217" fmla="*/ 502825 w 641413"/>
                <a:gd name="connsiteY217" fmla="*/ 127921 h 450627"/>
                <a:gd name="connsiteX218" fmla="*/ 504634 w 641413"/>
                <a:gd name="connsiteY218" fmla="*/ 127730 h 450627"/>
                <a:gd name="connsiteX219" fmla="*/ 505396 w 641413"/>
                <a:gd name="connsiteY219" fmla="*/ 133064 h 450627"/>
                <a:gd name="connsiteX220" fmla="*/ 511493 w 641413"/>
                <a:gd name="connsiteY220" fmla="*/ 137731 h 450627"/>
                <a:gd name="connsiteX221" fmla="*/ 511683 w 641413"/>
                <a:gd name="connsiteY221" fmla="*/ 139446 h 450627"/>
                <a:gd name="connsiteX222" fmla="*/ 515302 w 641413"/>
                <a:gd name="connsiteY222" fmla="*/ 138970 h 450627"/>
                <a:gd name="connsiteX223" fmla="*/ 515493 w 641413"/>
                <a:gd name="connsiteY223" fmla="*/ 140779 h 450627"/>
                <a:gd name="connsiteX224" fmla="*/ 517112 w 641413"/>
                <a:gd name="connsiteY224" fmla="*/ 138779 h 450627"/>
                <a:gd name="connsiteX225" fmla="*/ 514635 w 641413"/>
                <a:gd name="connsiteY225" fmla="*/ 133636 h 450627"/>
                <a:gd name="connsiteX226" fmla="*/ 522541 w 641413"/>
                <a:gd name="connsiteY226" fmla="*/ 138017 h 450627"/>
                <a:gd name="connsiteX227" fmla="*/ 527018 w 641413"/>
                <a:gd name="connsiteY227" fmla="*/ 144685 h 450627"/>
                <a:gd name="connsiteX228" fmla="*/ 531971 w 641413"/>
                <a:gd name="connsiteY228" fmla="*/ 140398 h 450627"/>
                <a:gd name="connsiteX229" fmla="*/ 535971 w 641413"/>
                <a:gd name="connsiteY229" fmla="*/ 143542 h 450627"/>
                <a:gd name="connsiteX230" fmla="*/ 535114 w 641413"/>
                <a:gd name="connsiteY230" fmla="*/ 150876 h 450627"/>
                <a:gd name="connsiteX231" fmla="*/ 541020 w 641413"/>
                <a:gd name="connsiteY231" fmla="*/ 153734 h 450627"/>
                <a:gd name="connsiteX232" fmla="*/ 539877 w 641413"/>
                <a:gd name="connsiteY232" fmla="*/ 159353 h 450627"/>
                <a:gd name="connsiteX233" fmla="*/ 547306 w 641413"/>
                <a:gd name="connsiteY233" fmla="*/ 160115 h 450627"/>
                <a:gd name="connsiteX234" fmla="*/ 550736 w 641413"/>
                <a:gd name="connsiteY234" fmla="*/ 157925 h 450627"/>
                <a:gd name="connsiteX235" fmla="*/ 554545 w 641413"/>
                <a:gd name="connsiteY235" fmla="*/ 159258 h 450627"/>
                <a:gd name="connsiteX236" fmla="*/ 562165 w 641413"/>
                <a:gd name="connsiteY236" fmla="*/ 161830 h 450627"/>
                <a:gd name="connsiteX237" fmla="*/ 562832 w 641413"/>
                <a:gd name="connsiteY237" fmla="*/ 167164 h 450627"/>
                <a:gd name="connsiteX238" fmla="*/ 569023 w 641413"/>
                <a:gd name="connsiteY238" fmla="*/ 171831 h 450627"/>
                <a:gd name="connsiteX239" fmla="*/ 574167 w 641413"/>
                <a:gd name="connsiteY239" fmla="*/ 169259 h 450627"/>
                <a:gd name="connsiteX240" fmla="*/ 574643 w 641413"/>
                <a:gd name="connsiteY240" fmla="*/ 172879 h 450627"/>
                <a:gd name="connsiteX241" fmla="*/ 578168 w 641413"/>
                <a:gd name="connsiteY241" fmla="*/ 172403 h 450627"/>
                <a:gd name="connsiteX242" fmla="*/ 585121 w 641413"/>
                <a:gd name="connsiteY242" fmla="*/ 169640 h 450627"/>
                <a:gd name="connsiteX243" fmla="*/ 588264 w 641413"/>
                <a:gd name="connsiteY243" fmla="*/ 165640 h 450627"/>
                <a:gd name="connsiteX244" fmla="*/ 588264 w 641413"/>
                <a:gd name="connsiteY244" fmla="*/ 165640 h 450627"/>
                <a:gd name="connsiteX245" fmla="*/ 593693 w 641413"/>
                <a:gd name="connsiteY245" fmla="*/ 164878 h 450627"/>
                <a:gd name="connsiteX246" fmla="*/ 606266 w 641413"/>
                <a:gd name="connsiteY246" fmla="*/ 163259 h 450627"/>
                <a:gd name="connsiteX247" fmla="*/ 613886 w 641413"/>
                <a:gd name="connsiteY247" fmla="*/ 165830 h 450627"/>
                <a:gd name="connsiteX248" fmla="*/ 611505 w 641413"/>
                <a:gd name="connsiteY248" fmla="*/ 175260 h 450627"/>
                <a:gd name="connsiteX249" fmla="*/ 613124 w 641413"/>
                <a:gd name="connsiteY249" fmla="*/ 187738 h 450627"/>
                <a:gd name="connsiteX250" fmla="*/ 610457 w 641413"/>
                <a:gd name="connsiteY250" fmla="*/ 195263 h 450627"/>
                <a:gd name="connsiteX251" fmla="*/ 621125 w 641413"/>
                <a:gd name="connsiteY251" fmla="*/ 206597 h 450627"/>
                <a:gd name="connsiteX252" fmla="*/ 632841 w 641413"/>
                <a:gd name="connsiteY252" fmla="*/ 212312 h 450627"/>
                <a:gd name="connsiteX253" fmla="*/ 633793 w 641413"/>
                <a:gd name="connsiteY253" fmla="*/ 219456 h 450627"/>
                <a:gd name="connsiteX254" fmla="*/ 641413 w 641413"/>
                <a:gd name="connsiteY254" fmla="*/ 222028 h 450627"/>
                <a:gd name="connsiteX255" fmla="*/ 636556 w 641413"/>
                <a:gd name="connsiteY255" fmla="*/ 226314 h 450627"/>
                <a:gd name="connsiteX256" fmla="*/ 635412 w 641413"/>
                <a:gd name="connsiteY256" fmla="*/ 231838 h 450627"/>
                <a:gd name="connsiteX257" fmla="*/ 638842 w 641413"/>
                <a:gd name="connsiteY257" fmla="*/ 244126 h 450627"/>
                <a:gd name="connsiteX258" fmla="*/ 636651 w 641413"/>
                <a:gd name="connsiteY258" fmla="*/ 255270 h 450627"/>
                <a:gd name="connsiteX259" fmla="*/ 630460 w 641413"/>
                <a:gd name="connsiteY259" fmla="*/ 263366 h 450627"/>
                <a:gd name="connsiteX260" fmla="*/ 626745 w 641413"/>
                <a:gd name="connsiteY260" fmla="*/ 276606 h 450627"/>
                <a:gd name="connsiteX261" fmla="*/ 625887 w 641413"/>
                <a:gd name="connsiteY261" fmla="*/ 283940 h 450627"/>
                <a:gd name="connsiteX262" fmla="*/ 629031 w 641413"/>
                <a:gd name="connsiteY262" fmla="*/ 294322 h 450627"/>
                <a:gd name="connsiteX263" fmla="*/ 627983 w 641413"/>
                <a:gd name="connsiteY263" fmla="*/ 299942 h 450627"/>
                <a:gd name="connsiteX264" fmla="*/ 623506 w 641413"/>
                <a:gd name="connsiteY264" fmla="*/ 307753 h 450627"/>
                <a:gd name="connsiteX265" fmla="*/ 617125 w 641413"/>
                <a:gd name="connsiteY265" fmla="*/ 328613 h 450627"/>
                <a:gd name="connsiteX266" fmla="*/ 615219 w 641413"/>
                <a:gd name="connsiteY266" fmla="*/ 341567 h 450627"/>
                <a:gd name="connsiteX267" fmla="*/ 601503 w 641413"/>
                <a:gd name="connsiteY267" fmla="*/ 348805 h 450627"/>
                <a:gd name="connsiteX268" fmla="*/ 586264 w 641413"/>
                <a:gd name="connsiteY268" fmla="*/ 343567 h 450627"/>
                <a:gd name="connsiteX269" fmla="*/ 573691 w 641413"/>
                <a:gd name="connsiteY269" fmla="*/ 345186 h 450627"/>
                <a:gd name="connsiteX270" fmla="*/ 555212 w 641413"/>
                <a:gd name="connsiteY270" fmla="*/ 344043 h 450627"/>
                <a:gd name="connsiteX271" fmla="*/ 553688 w 641413"/>
                <a:gd name="connsiteY271" fmla="*/ 346043 h 450627"/>
                <a:gd name="connsiteX272" fmla="*/ 550354 w 641413"/>
                <a:gd name="connsiteY272" fmla="*/ 348329 h 450627"/>
                <a:gd name="connsiteX273" fmla="*/ 522922 w 641413"/>
                <a:gd name="connsiteY273" fmla="*/ 348329 h 450627"/>
                <a:gd name="connsiteX274" fmla="*/ 522732 w 641413"/>
                <a:gd name="connsiteY274" fmla="*/ 360997 h 450627"/>
                <a:gd name="connsiteX275" fmla="*/ 517874 w 641413"/>
                <a:gd name="connsiteY275" fmla="*/ 365284 h 450627"/>
                <a:gd name="connsiteX276" fmla="*/ 512445 w 641413"/>
                <a:gd name="connsiteY276" fmla="*/ 366046 h 450627"/>
                <a:gd name="connsiteX277" fmla="*/ 499681 w 641413"/>
                <a:gd name="connsiteY277" fmla="*/ 380429 h 450627"/>
                <a:gd name="connsiteX278" fmla="*/ 492347 w 641413"/>
                <a:gd name="connsiteY278" fmla="*/ 394049 h 450627"/>
                <a:gd name="connsiteX279" fmla="*/ 492823 w 641413"/>
                <a:gd name="connsiteY279" fmla="*/ 397573 h 450627"/>
                <a:gd name="connsiteX280" fmla="*/ 487966 w 641413"/>
                <a:gd name="connsiteY280" fmla="*/ 401860 h 450627"/>
                <a:gd name="connsiteX281" fmla="*/ 486632 w 641413"/>
                <a:gd name="connsiteY281" fmla="*/ 405670 h 450627"/>
                <a:gd name="connsiteX282" fmla="*/ 481965 w 641413"/>
                <a:gd name="connsiteY282" fmla="*/ 411766 h 450627"/>
                <a:gd name="connsiteX283" fmla="*/ 468725 w 641413"/>
                <a:gd name="connsiteY283" fmla="*/ 422529 h 450627"/>
                <a:gd name="connsiteX284" fmla="*/ 464344 w 641413"/>
                <a:gd name="connsiteY284" fmla="*/ 430435 h 450627"/>
                <a:gd name="connsiteX285" fmla="*/ 454723 w 641413"/>
                <a:gd name="connsiteY285" fmla="*/ 440722 h 450627"/>
                <a:gd name="connsiteX286" fmla="*/ 441674 w 641413"/>
                <a:gd name="connsiteY286" fmla="*/ 438817 h 450627"/>
                <a:gd name="connsiteX287" fmla="*/ 436245 w 641413"/>
                <a:gd name="connsiteY287" fmla="*/ 439484 h 450627"/>
                <a:gd name="connsiteX288" fmla="*/ 433101 w 641413"/>
                <a:gd name="connsiteY288" fmla="*/ 443579 h 450627"/>
                <a:gd name="connsiteX289" fmla="*/ 427768 w 641413"/>
                <a:gd name="connsiteY289" fmla="*/ 444246 h 450627"/>
                <a:gd name="connsiteX290" fmla="*/ 421291 w 641413"/>
                <a:gd name="connsiteY290" fmla="*/ 450628 h 450627"/>
                <a:gd name="connsiteX291" fmla="*/ 411861 w 641413"/>
                <a:gd name="connsiteY291" fmla="*/ 448246 h 450627"/>
                <a:gd name="connsiteX292" fmla="*/ 402812 w 641413"/>
                <a:gd name="connsiteY292" fmla="*/ 449389 h 45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</a:cxnLst>
              <a:rect l="l" t="t" r="r" b="b"/>
              <a:pathLst>
                <a:path w="641413" h="450627">
                  <a:moveTo>
                    <a:pt x="402812" y="449389"/>
                  </a:moveTo>
                  <a:lnTo>
                    <a:pt x="393096" y="430721"/>
                  </a:lnTo>
                  <a:lnTo>
                    <a:pt x="392144" y="423577"/>
                  </a:lnTo>
                  <a:lnTo>
                    <a:pt x="393954" y="423386"/>
                  </a:lnTo>
                  <a:lnTo>
                    <a:pt x="393668" y="421577"/>
                  </a:lnTo>
                  <a:lnTo>
                    <a:pt x="395001" y="417862"/>
                  </a:lnTo>
                  <a:lnTo>
                    <a:pt x="386048" y="419005"/>
                  </a:lnTo>
                  <a:lnTo>
                    <a:pt x="381952" y="415862"/>
                  </a:lnTo>
                  <a:lnTo>
                    <a:pt x="383286" y="412147"/>
                  </a:lnTo>
                  <a:lnTo>
                    <a:pt x="374237" y="398812"/>
                  </a:lnTo>
                  <a:lnTo>
                    <a:pt x="360140" y="375285"/>
                  </a:lnTo>
                  <a:lnTo>
                    <a:pt x="345757" y="377190"/>
                  </a:lnTo>
                  <a:lnTo>
                    <a:pt x="325184" y="359950"/>
                  </a:lnTo>
                  <a:lnTo>
                    <a:pt x="319850" y="360712"/>
                  </a:lnTo>
                  <a:lnTo>
                    <a:pt x="311562" y="367189"/>
                  </a:lnTo>
                  <a:lnTo>
                    <a:pt x="301657" y="361283"/>
                  </a:lnTo>
                  <a:lnTo>
                    <a:pt x="310039" y="342043"/>
                  </a:lnTo>
                  <a:lnTo>
                    <a:pt x="310896" y="334709"/>
                  </a:lnTo>
                  <a:lnTo>
                    <a:pt x="314039" y="330613"/>
                  </a:lnTo>
                  <a:lnTo>
                    <a:pt x="305657" y="322707"/>
                  </a:lnTo>
                  <a:lnTo>
                    <a:pt x="286226" y="314325"/>
                  </a:lnTo>
                  <a:lnTo>
                    <a:pt x="274415" y="321373"/>
                  </a:lnTo>
                  <a:lnTo>
                    <a:pt x="272129" y="318040"/>
                  </a:lnTo>
                  <a:lnTo>
                    <a:pt x="264414" y="300895"/>
                  </a:lnTo>
                  <a:lnTo>
                    <a:pt x="263842" y="310134"/>
                  </a:lnTo>
                  <a:lnTo>
                    <a:pt x="248126" y="315754"/>
                  </a:lnTo>
                  <a:lnTo>
                    <a:pt x="239744" y="307848"/>
                  </a:lnTo>
                  <a:lnTo>
                    <a:pt x="236601" y="311848"/>
                  </a:lnTo>
                  <a:lnTo>
                    <a:pt x="234315" y="308515"/>
                  </a:lnTo>
                  <a:lnTo>
                    <a:pt x="229457" y="312801"/>
                  </a:lnTo>
                  <a:lnTo>
                    <a:pt x="227647" y="313087"/>
                  </a:lnTo>
                  <a:lnTo>
                    <a:pt x="222504" y="315563"/>
                  </a:lnTo>
                  <a:lnTo>
                    <a:pt x="220408" y="314039"/>
                  </a:lnTo>
                  <a:lnTo>
                    <a:pt x="205454" y="325088"/>
                  </a:lnTo>
                  <a:lnTo>
                    <a:pt x="194786" y="313754"/>
                  </a:lnTo>
                  <a:lnTo>
                    <a:pt x="191262" y="314230"/>
                  </a:lnTo>
                  <a:lnTo>
                    <a:pt x="180594" y="302990"/>
                  </a:lnTo>
                  <a:lnTo>
                    <a:pt x="172498" y="296799"/>
                  </a:lnTo>
                  <a:lnTo>
                    <a:pt x="169069" y="284512"/>
                  </a:lnTo>
                  <a:lnTo>
                    <a:pt x="156686" y="287941"/>
                  </a:lnTo>
                  <a:lnTo>
                    <a:pt x="152495" y="297561"/>
                  </a:lnTo>
                  <a:lnTo>
                    <a:pt x="151543" y="290513"/>
                  </a:lnTo>
                  <a:lnTo>
                    <a:pt x="148209" y="292703"/>
                  </a:lnTo>
                  <a:lnTo>
                    <a:pt x="144304" y="291465"/>
                  </a:lnTo>
                  <a:lnTo>
                    <a:pt x="141256" y="295466"/>
                  </a:lnTo>
                  <a:lnTo>
                    <a:pt x="133350" y="291084"/>
                  </a:lnTo>
                  <a:lnTo>
                    <a:pt x="131350" y="289560"/>
                  </a:lnTo>
                  <a:lnTo>
                    <a:pt x="131064" y="287750"/>
                  </a:lnTo>
                  <a:lnTo>
                    <a:pt x="132397" y="283940"/>
                  </a:lnTo>
                  <a:lnTo>
                    <a:pt x="130397" y="282416"/>
                  </a:lnTo>
                  <a:lnTo>
                    <a:pt x="135064" y="276320"/>
                  </a:lnTo>
                  <a:lnTo>
                    <a:pt x="134588" y="272796"/>
                  </a:lnTo>
                  <a:lnTo>
                    <a:pt x="135636" y="267176"/>
                  </a:lnTo>
                  <a:lnTo>
                    <a:pt x="135160" y="263652"/>
                  </a:lnTo>
                  <a:lnTo>
                    <a:pt x="137541" y="254222"/>
                  </a:lnTo>
                  <a:lnTo>
                    <a:pt x="129730" y="249841"/>
                  </a:lnTo>
                  <a:lnTo>
                    <a:pt x="126587" y="253841"/>
                  </a:lnTo>
                  <a:lnTo>
                    <a:pt x="120491" y="249269"/>
                  </a:lnTo>
                  <a:lnTo>
                    <a:pt x="121825" y="245459"/>
                  </a:lnTo>
                  <a:lnTo>
                    <a:pt x="113729" y="239268"/>
                  </a:lnTo>
                  <a:lnTo>
                    <a:pt x="103632" y="246031"/>
                  </a:lnTo>
                  <a:lnTo>
                    <a:pt x="99536" y="242983"/>
                  </a:lnTo>
                  <a:lnTo>
                    <a:pt x="94392" y="245459"/>
                  </a:lnTo>
                  <a:lnTo>
                    <a:pt x="91630" y="238601"/>
                  </a:lnTo>
                  <a:lnTo>
                    <a:pt x="85820" y="235744"/>
                  </a:lnTo>
                  <a:lnTo>
                    <a:pt x="80867" y="240030"/>
                  </a:lnTo>
                  <a:lnTo>
                    <a:pt x="73438" y="239173"/>
                  </a:lnTo>
                  <a:lnTo>
                    <a:pt x="73723" y="240983"/>
                  </a:lnTo>
                  <a:lnTo>
                    <a:pt x="67818" y="238125"/>
                  </a:lnTo>
                  <a:lnTo>
                    <a:pt x="64960" y="243935"/>
                  </a:lnTo>
                  <a:lnTo>
                    <a:pt x="64675" y="242126"/>
                  </a:lnTo>
                  <a:lnTo>
                    <a:pt x="59531" y="244602"/>
                  </a:lnTo>
                  <a:lnTo>
                    <a:pt x="59246" y="228314"/>
                  </a:lnTo>
                  <a:lnTo>
                    <a:pt x="55150" y="225266"/>
                  </a:lnTo>
                  <a:lnTo>
                    <a:pt x="52197" y="216598"/>
                  </a:lnTo>
                  <a:lnTo>
                    <a:pt x="46863" y="217265"/>
                  </a:lnTo>
                  <a:lnTo>
                    <a:pt x="38100" y="220313"/>
                  </a:lnTo>
                  <a:lnTo>
                    <a:pt x="36862" y="211360"/>
                  </a:lnTo>
                  <a:lnTo>
                    <a:pt x="16669" y="210407"/>
                  </a:lnTo>
                  <a:lnTo>
                    <a:pt x="14002" y="218027"/>
                  </a:lnTo>
                  <a:lnTo>
                    <a:pt x="10668" y="220313"/>
                  </a:lnTo>
                  <a:lnTo>
                    <a:pt x="8191" y="215170"/>
                  </a:lnTo>
                  <a:lnTo>
                    <a:pt x="7620" y="211646"/>
                  </a:lnTo>
                  <a:lnTo>
                    <a:pt x="12097" y="203740"/>
                  </a:lnTo>
                  <a:lnTo>
                    <a:pt x="11621" y="200216"/>
                  </a:lnTo>
                  <a:lnTo>
                    <a:pt x="16383" y="194120"/>
                  </a:lnTo>
                  <a:lnTo>
                    <a:pt x="19240" y="188309"/>
                  </a:lnTo>
                  <a:lnTo>
                    <a:pt x="17526" y="175831"/>
                  </a:lnTo>
                  <a:lnTo>
                    <a:pt x="15335" y="172498"/>
                  </a:lnTo>
                  <a:lnTo>
                    <a:pt x="16192" y="165163"/>
                  </a:lnTo>
                  <a:lnTo>
                    <a:pt x="12097" y="162116"/>
                  </a:lnTo>
                  <a:lnTo>
                    <a:pt x="6477" y="160972"/>
                  </a:lnTo>
                  <a:lnTo>
                    <a:pt x="2096" y="141637"/>
                  </a:lnTo>
                  <a:lnTo>
                    <a:pt x="0" y="140113"/>
                  </a:lnTo>
                  <a:lnTo>
                    <a:pt x="29908" y="130683"/>
                  </a:lnTo>
                  <a:lnTo>
                    <a:pt x="27813" y="129159"/>
                  </a:lnTo>
                  <a:lnTo>
                    <a:pt x="25336" y="124016"/>
                  </a:lnTo>
                  <a:lnTo>
                    <a:pt x="29813" y="116205"/>
                  </a:lnTo>
                  <a:lnTo>
                    <a:pt x="28575" y="107347"/>
                  </a:lnTo>
                  <a:lnTo>
                    <a:pt x="20288" y="99346"/>
                  </a:lnTo>
                  <a:lnTo>
                    <a:pt x="18002" y="96012"/>
                  </a:lnTo>
                  <a:lnTo>
                    <a:pt x="19050" y="90488"/>
                  </a:lnTo>
                  <a:lnTo>
                    <a:pt x="21717" y="82868"/>
                  </a:lnTo>
                  <a:lnTo>
                    <a:pt x="30004" y="76295"/>
                  </a:lnTo>
                  <a:lnTo>
                    <a:pt x="38957" y="75152"/>
                  </a:lnTo>
                  <a:lnTo>
                    <a:pt x="47054" y="66770"/>
                  </a:lnTo>
                  <a:lnTo>
                    <a:pt x="51911" y="62579"/>
                  </a:lnTo>
                  <a:lnTo>
                    <a:pt x="54864" y="56674"/>
                  </a:lnTo>
                  <a:lnTo>
                    <a:pt x="59722" y="52483"/>
                  </a:lnTo>
                  <a:lnTo>
                    <a:pt x="61055" y="48578"/>
                  </a:lnTo>
                  <a:lnTo>
                    <a:pt x="62389" y="44863"/>
                  </a:lnTo>
                  <a:lnTo>
                    <a:pt x="64675" y="48101"/>
                  </a:lnTo>
                  <a:lnTo>
                    <a:pt x="68866" y="38576"/>
                  </a:lnTo>
                  <a:lnTo>
                    <a:pt x="75533" y="34004"/>
                  </a:lnTo>
                  <a:lnTo>
                    <a:pt x="84296" y="31052"/>
                  </a:lnTo>
                  <a:lnTo>
                    <a:pt x="89916" y="32099"/>
                  </a:lnTo>
                  <a:lnTo>
                    <a:pt x="101060" y="19717"/>
                  </a:lnTo>
                  <a:lnTo>
                    <a:pt x="116776" y="14097"/>
                  </a:lnTo>
                  <a:lnTo>
                    <a:pt x="132683" y="10096"/>
                  </a:lnTo>
                  <a:lnTo>
                    <a:pt x="148399" y="4477"/>
                  </a:lnTo>
                  <a:lnTo>
                    <a:pt x="152686" y="9239"/>
                  </a:lnTo>
                  <a:lnTo>
                    <a:pt x="163258" y="6096"/>
                  </a:lnTo>
                  <a:lnTo>
                    <a:pt x="164592" y="2286"/>
                  </a:lnTo>
                  <a:lnTo>
                    <a:pt x="167926" y="0"/>
                  </a:lnTo>
                  <a:lnTo>
                    <a:pt x="180784" y="14669"/>
                  </a:lnTo>
                  <a:lnTo>
                    <a:pt x="188976" y="20860"/>
                  </a:lnTo>
                  <a:lnTo>
                    <a:pt x="203835" y="36957"/>
                  </a:lnTo>
                  <a:lnTo>
                    <a:pt x="202311" y="38957"/>
                  </a:lnTo>
                  <a:lnTo>
                    <a:pt x="204311" y="40577"/>
                  </a:lnTo>
                  <a:lnTo>
                    <a:pt x="211074" y="36004"/>
                  </a:lnTo>
                  <a:lnTo>
                    <a:pt x="214884" y="37338"/>
                  </a:lnTo>
                  <a:lnTo>
                    <a:pt x="219456" y="44005"/>
                  </a:lnTo>
                  <a:lnTo>
                    <a:pt x="218122" y="47816"/>
                  </a:lnTo>
                  <a:lnTo>
                    <a:pt x="222218" y="50863"/>
                  </a:lnTo>
                  <a:lnTo>
                    <a:pt x="228981" y="60865"/>
                  </a:lnTo>
                  <a:lnTo>
                    <a:pt x="230791" y="60579"/>
                  </a:lnTo>
                  <a:lnTo>
                    <a:pt x="232315" y="58579"/>
                  </a:lnTo>
                  <a:lnTo>
                    <a:pt x="234601" y="61913"/>
                  </a:lnTo>
                  <a:lnTo>
                    <a:pt x="238792" y="79534"/>
                  </a:lnTo>
                  <a:lnTo>
                    <a:pt x="243459" y="73438"/>
                  </a:lnTo>
                  <a:lnTo>
                    <a:pt x="255365" y="80963"/>
                  </a:lnTo>
                  <a:lnTo>
                    <a:pt x="253555" y="81153"/>
                  </a:lnTo>
                  <a:lnTo>
                    <a:pt x="255651" y="82677"/>
                  </a:lnTo>
                  <a:lnTo>
                    <a:pt x="250984" y="88773"/>
                  </a:lnTo>
                  <a:lnTo>
                    <a:pt x="260128" y="89345"/>
                  </a:lnTo>
                  <a:lnTo>
                    <a:pt x="263271" y="85344"/>
                  </a:lnTo>
                  <a:lnTo>
                    <a:pt x="273367" y="78581"/>
                  </a:lnTo>
                  <a:lnTo>
                    <a:pt x="278987" y="79629"/>
                  </a:lnTo>
                  <a:lnTo>
                    <a:pt x="287846" y="63913"/>
                  </a:lnTo>
                  <a:lnTo>
                    <a:pt x="292989" y="61436"/>
                  </a:lnTo>
                  <a:lnTo>
                    <a:pt x="297942" y="57150"/>
                  </a:lnTo>
                  <a:lnTo>
                    <a:pt x="308991" y="57531"/>
                  </a:lnTo>
                  <a:lnTo>
                    <a:pt x="314801" y="60388"/>
                  </a:lnTo>
                  <a:lnTo>
                    <a:pt x="318897" y="63437"/>
                  </a:lnTo>
                  <a:lnTo>
                    <a:pt x="323564" y="57436"/>
                  </a:lnTo>
                  <a:lnTo>
                    <a:pt x="330708" y="56483"/>
                  </a:lnTo>
                  <a:lnTo>
                    <a:pt x="336328" y="57531"/>
                  </a:lnTo>
                  <a:lnTo>
                    <a:pt x="336137" y="55721"/>
                  </a:lnTo>
                  <a:lnTo>
                    <a:pt x="341281" y="53245"/>
                  </a:lnTo>
                  <a:lnTo>
                    <a:pt x="352806" y="57150"/>
                  </a:lnTo>
                  <a:lnTo>
                    <a:pt x="353853" y="51626"/>
                  </a:lnTo>
                  <a:lnTo>
                    <a:pt x="356711" y="45720"/>
                  </a:lnTo>
                  <a:lnTo>
                    <a:pt x="363664" y="43053"/>
                  </a:lnTo>
                  <a:lnTo>
                    <a:pt x="373380" y="47149"/>
                  </a:lnTo>
                  <a:lnTo>
                    <a:pt x="380333" y="44482"/>
                  </a:lnTo>
                  <a:lnTo>
                    <a:pt x="389763" y="46863"/>
                  </a:lnTo>
                  <a:lnTo>
                    <a:pt x="394049" y="51721"/>
                  </a:lnTo>
                  <a:lnTo>
                    <a:pt x="395478" y="62389"/>
                  </a:lnTo>
                  <a:lnTo>
                    <a:pt x="400050" y="69056"/>
                  </a:lnTo>
                  <a:lnTo>
                    <a:pt x="384620" y="76581"/>
                  </a:lnTo>
                  <a:lnTo>
                    <a:pt x="387096" y="81629"/>
                  </a:lnTo>
                  <a:lnTo>
                    <a:pt x="385953" y="87249"/>
                  </a:lnTo>
                  <a:lnTo>
                    <a:pt x="383953" y="85630"/>
                  </a:lnTo>
                  <a:lnTo>
                    <a:pt x="378809" y="88106"/>
                  </a:lnTo>
                  <a:lnTo>
                    <a:pt x="377285" y="90202"/>
                  </a:lnTo>
                  <a:lnTo>
                    <a:pt x="379286" y="91726"/>
                  </a:lnTo>
                  <a:lnTo>
                    <a:pt x="379762" y="95250"/>
                  </a:lnTo>
                  <a:lnTo>
                    <a:pt x="374809" y="99536"/>
                  </a:lnTo>
                  <a:lnTo>
                    <a:pt x="378904" y="102679"/>
                  </a:lnTo>
                  <a:lnTo>
                    <a:pt x="377571" y="106489"/>
                  </a:lnTo>
                  <a:lnTo>
                    <a:pt x="383191" y="107537"/>
                  </a:lnTo>
                  <a:lnTo>
                    <a:pt x="386525" y="105251"/>
                  </a:lnTo>
                  <a:lnTo>
                    <a:pt x="388811" y="108585"/>
                  </a:lnTo>
                  <a:lnTo>
                    <a:pt x="385476" y="110871"/>
                  </a:lnTo>
                  <a:lnTo>
                    <a:pt x="391287" y="113729"/>
                  </a:lnTo>
                  <a:lnTo>
                    <a:pt x="390239" y="119253"/>
                  </a:lnTo>
                  <a:lnTo>
                    <a:pt x="392716" y="124396"/>
                  </a:lnTo>
                  <a:lnTo>
                    <a:pt x="395478" y="131254"/>
                  </a:lnTo>
                  <a:lnTo>
                    <a:pt x="397287" y="131064"/>
                  </a:lnTo>
                  <a:lnTo>
                    <a:pt x="395764" y="133064"/>
                  </a:lnTo>
                  <a:lnTo>
                    <a:pt x="399764" y="136112"/>
                  </a:lnTo>
                  <a:lnTo>
                    <a:pt x="406718" y="133445"/>
                  </a:lnTo>
                  <a:lnTo>
                    <a:pt x="417766" y="133826"/>
                  </a:lnTo>
                  <a:lnTo>
                    <a:pt x="419767" y="135350"/>
                  </a:lnTo>
                  <a:lnTo>
                    <a:pt x="424053" y="140208"/>
                  </a:lnTo>
                  <a:lnTo>
                    <a:pt x="428149" y="143256"/>
                  </a:lnTo>
                  <a:lnTo>
                    <a:pt x="427006" y="148876"/>
                  </a:lnTo>
                  <a:lnTo>
                    <a:pt x="429577" y="154019"/>
                  </a:lnTo>
                  <a:lnTo>
                    <a:pt x="427101" y="163354"/>
                  </a:lnTo>
                  <a:lnTo>
                    <a:pt x="428530" y="174022"/>
                  </a:lnTo>
                  <a:lnTo>
                    <a:pt x="440912" y="170593"/>
                  </a:lnTo>
                  <a:lnTo>
                    <a:pt x="441103" y="172403"/>
                  </a:lnTo>
                  <a:lnTo>
                    <a:pt x="446532" y="171736"/>
                  </a:lnTo>
                  <a:lnTo>
                    <a:pt x="451390" y="167354"/>
                  </a:lnTo>
                  <a:lnTo>
                    <a:pt x="456819" y="166688"/>
                  </a:lnTo>
                  <a:lnTo>
                    <a:pt x="456152" y="161354"/>
                  </a:lnTo>
                  <a:lnTo>
                    <a:pt x="463105" y="158591"/>
                  </a:lnTo>
                  <a:lnTo>
                    <a:pt x="460534" y="153543"/>
                  </a:lnTo>
                  <a:lnTo>
                    <a:pt x="463962" y="151257"/>
                  </a:lnTo>
                  <a:lnTo>
                    <a:pt x="467773" y="152495"/>
                  </a:lnTo>
                  <a:lnTo>
                    <a:pt x="469106" y="148780"/>
                  </a:lnTo>
                  <a:lnTo>
                    <a:pt x="474726" y="149828"/>
                  </a:lnTo>
                  <a:lnTo>
                    <a:pt x="476726" y="151352"/>
                  </a:lnTo>
                  <a:lnTo>
                    <a:pt x="491109" y="149447"/>
                  </a:lnTo>
                  <a:lnTo>
                    <a:pt x="497586" y="143161"/>
                  </a:lnTo>
                  <a:lnTo>
                    <a:pt x="495109" y="138017"/>
                  </a:lnTo>
                  <a:lnTo>
                    <a:pt x="498443" y="135827"/>
                  </a:lnTo>
                  <a:lnTo>
                    <a:pt x="502825" y="127921"/>
                  </a:lnTo>
                  <a:lnTo>
                    <a:pt x="504634" y="127730"/>
                  </a:lnTo>
                  <a:lnTo>
                    <a:pt x="505396" y="133064"/>
                  </a:lnTo>
                  <a:lnTo>
                    <a:pt x="511493" y="137731"/>
                  </a:lnTo>
                  <a:lnTo>
                    <a:pt x="511683" y="139446"/>
                  </a:lnTo>
                  <a:lnTo>
                    <a:pt x="515302" y="138970"/>
                  </a:lnTo>
                  <a:lnTo>
                    <a:pt x="515493" y="140779"/>
                  </a:lnTo>
                  <a:lnTo>
                    <a:pt x="517112" y="138779"/>
                  </a:lnTo>
                  <a:lnTo>
                    <a:pt x="514635" y="133636"/>
                  </a:lnTo>
                  <a:lnTo>
                    <a:pt x="522541" y="138017"/>
                  </a:lnTo>
                  <a:lnTo>
                    <a:pt x="527018" y="144685"/>
                  </a:lnTo>
                  <a:lnTo>
                    <a:pt x="531971" y="140398"/>
                  </a:lnTo>
                  <a:lnTo>
                    <a:pt x="535971" y="143542"/>
                  </a:lnTo>
                  <a:lnTo>
                    <a:pt x="535114" y="150876"/>
                  </a:lnTo>
                  <a:lnTo>
                    <a:pt x="541020" y="153734"/>
                  </a:lnTo>
                  <a:lnTo>
                    <a:pt x="539877" y="159353"/>
                  </a:lnTo>
                  <a:lnTo>
                    <a:pt x="547306" y="160115"/>
                  </a:lnTo>
                  <a:lnTo>
                    <a:pt x="550736" y="157925"/>
                  </a:lnTo>
                  <a:lnTo>
                    <a:pt x="554545" y="159258"/>
                  </a:lnTo>
                  <a:lnTo>
                    <a:pt x="562165" y="161830"/>
                  </a:lnTo>
                  <a:lnTo>
                    <a:pt x="562832" y="167164"/>
                  </a:lnTo>
                  <a:lnTo>
                    <a:pt x="569023" y="171831"/>
                  </a:lnTo>
                  <a:lnTo>
                    <a:pt x="574167" y="169259"/>
                  </a:lnTo>
                  <a:lnTo>
                    <a:pt x="574643" y="172879"/>
                  </a:lnTo>
                  <a:lnTo>
                    <a:pt x="578168" y="172403"/>
                  </a:lnTo>
                  <a:lnTo>
                    <a:pt x="585121" y="169640"/>
                  </a:lnTo>
                  <a:lnTo>
                    <a:pt x="588264" y="165640"/>
                  </a:lnTo>
                  <a:lnTo>
                    <a:pt x="588264" y="165640"/>
                  </a:lnTo>
                  <a:lnTo>
                    <a:pt x="593693" y="164878"/>
                  </a:lnTo>
                  <a:lnTo>
                    <a:pt x="606266" y="163259"/>
                  </a:lnTo>
                  <a:lnTo>
                    <a:pt x="613886" y="165830"/>
                  </a:lnTo>
                  <a:lnTo>
                    <a:pt x="611505" y="175260"/>
                  </a:lnTo>
                  <a:lnTo>
                    <a:pt x="613124" y="187738"/>
                  </a:lnTo>
                  <a:lnTo>
                    <a:pt x="610457" y="195263"/>
                  </a:lnTo>
                  <a:lnTo>
                    <a:pt x="621125" y="206597"/>
                  </a:lnTo>
                  <a:lnTo>
                    <a:pt x="632841" y="212312"/>
                  </a:lnTo>
                  <a:lnTo>
                    <a:pt x="633793" y="219456"/>
                  </a:lnTo>
                  <a:lnTo>
                    <a:pt x="641413" y="222028"/>
                  </a:lnTo>
                  <a:lnTo>
                    <a:pt x="636556" y="226314"/>
                  </a:lnTo>
                  <a:lnTo>
                    <a:pt x="635412" y="231838"/>
                  </a:lnTo>
                  <a:lnTo>
                    <a:pt x="638842" y="244126"/>
                  </a:lnTo>
                  <a:lnTo>
                    <a:pt x="636651" y="255270"/>
                  </a:lnTo>
                  <a:lnTo>
                    <a:pt x="630460" y="263366"/>
                  </a:lnTo>
                  <a:lnTo>
                    <a:pt x="626745" y="276606"/>
                  </a:lnTo>
                  <a:lnTo>
                    <a:pt x="625887" y="283940"/>
                  </a:lnTo>
                  <a:lnTo>
                    <a:pt x="629031" y="294322"/>
                  </a:lnTo>
                  <a:lnTo>
                    <a:pt x="627983" y="299942"/>
                  </a:lnTo>
                  <a:lnTo>
                    <a:pt x="623506" y="307753"/>
                  </a:lnTo>
                  <a:lnTo>
                    <a:pt x="617125" y="328613"/>
                  </a:lnTo>
                  <a:lnTo>
                    <a:pt x="615219" y="341567"/>
                  </a:lnTo>
                  <a:lnTo>
                    <a:pt x="601503" y="348805"/>
                  </a:lnTo>
                  <a:lnTo>
                    <a:pt x="586264" y="343567"/>
                  </a:lnTo>
                  <a:lnTo>
                    <a:pt x="573691" y="345186"/>
                  </a:lnTo>
                  <a:lnTo>
                    <a:pt x="555212" y="344043"/>
                  </a:lnTo>
                  <a:lnTo>
                    <a:pt x="553688" y="346043"/>
                  </a:lnTo>
                  <a:lnTo>
                    <a:pt x="550354" y="348329"/>
                  </a:lnTo>
                  <a:lnTo>
                    <a:pt x="522922" y="348329"/>
                  </a:lnTo>
                  <a:lnTo>
                    <a:pt x="522732" y="360997"/>
                  </a:lnTo>
                  <a:lnTo>
                    <a:pt x="517874" y="365284"/>
                  </a:lnTo>
                  <a:lnTo>
                    <a:pt x="512445" y="366046"/>
                  </a:lnTo>
                  <a:lnTo>
                    <a:pt x="499681" y="380429"/>
                  </a:lnTo>
                  <a:lnTo>
                    <a:pt x="492347" y="394049"/>
                  </a:lnTo>
                  <a:lnTo>
                    <a:pt x="492823" y="397573"/>
                  </a:lnTo>
                  <a:lnTo>
                    <a:pt x="487966" y="401860"/>
                  </a:lnTo>
                  <a:lnTo>
                    <a:pt x="486632" y="405670"/>
                  </a:lnTo>
                  <a:lnTo>
                    <a:pt x="481965" y="411766"/>
                  </a:lnTo>
                  <a:lnTo>
                    <a:pt x="468725" y="422529"/>
                  </a:lnTo>
                  <a:lnTo>
                    <a:pt x="464344" y="430435"/>
                  </a:lnTo>
                  <a:lnTo>
                    <a:pt x="454723" y="440722"/>
                  </a:lnTo>
                  <a:lnTo>
                    <a:pt x="441674" y="438817"/>
                  </a:lnTo>
                  <a:lnTo>
                    <a:pt x="436245" y="439484"/>
                  </a:lnTo>
                  <a:lnTo>
                    <a:pt x="433101" y="443579"/>
                  </a:lnTo>
                  <a:lnTo>
                    <a:pt x="427768" y="444246"/>
                  </a:lnTo>
                  <a:lnTo>
                    <a:pt x="421291" y="450628"/>
                  </a:lnTo>
                  <a:lnTo>
                    <a:pt x="411861" y="448246"/>
                  </a:lnTo>
                  <a:lnTo>
                    <a:pt x="402812" y="449389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pic>
        <p:nvPicPr>
          <p:cNvPr id="4" name="Obrázek 9">
            <a:extLst>
              <a:ext uri="{FF2B5EF4-FFF2-40B4-BE49-F238E27FC236}">
                <a16:creationId xmlns:a16="http://schemas.microsoft.com/office/drawing/2014/main" id="{5CB65D8B-E5CD-281D-C17D-B64BCCE114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02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74512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5491" y="1425173"/>
            <a:ext cx="9841018" cy="400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9322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rázek 22">
            <a:extLst>
              <a:ext uri="{FF2B5EF4-FFF2-40B4-BE49-F238E27FC236}">
                <a16:creationId xmlns:a16="http://schemas.microsoft.com/office/drawing/2014/main" id="{BF98E95A-825F-49DE-B35C-874CA66CDE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99687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0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34" name="TextovéPole 33"/>
          <p:cNvSpPr txBox="1"/>
          <p:nvPr userDrawn="1"/>
        </p:nvSpPr>
        <p:spPr>
          <a:xfrm>
            <a:off x="1658606" y="6269165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sp>
        <p:nvSpPr>
          <p:cNvPr id="26" name="TextovéPole 25"/>
          <p:cNvSpPr txBox="1"/>
          <p:nvPr userDrawn="1"/>
        </p:nvSpPr>
        <p:spPr>
          <a:xfrm>
            <a:off x="5781501" y="151329"/>
            <a:ext cx="563170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Datová základna realizace screeningových programů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CZ.03.2.63/0.0/0.0/15_039/0007216</a:t>
            </a:r>
            <a:endParaRPr lang="cs-CZ" sz="1050" b="1" dirty="0">
              <a:solidFill>
                <a:srgbClr val="274073"/>
              </a:solidFill>
              <a:effectLst/>
            </a:endParaRPr>
          </a:p>
        </p:txBody>
      </p:sp>
      <p:sp>
        <p:nvSpPr>
          <p:cNvPr id="4" name="Obdélník 3"/>
          <p:cNvSpPr/>
          <p:nvPr userDrawn="1"/>
        </p:nvSpPr>
        <p:spPr>
          <a:xfrm>
            <a:off x="10127275" y="6229898"/>
            <a:ext cx="12859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000" b="1" u="none" dirty="0">
                <a:solidFill>
                  <a:srgbClr val="DA2B4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sc.uzis.cz</a:t>
            </a:r>
            <a:endParaRPr lang="cs-CZ" sz="2000" b="1" u="none" dirty="0">
              <a:solidFill>
                <a:srgbClr val="DA2B46"/>
              </a:solidFill>
            </a:endParaRP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4A600299-36FF-4880-809A-3B53106E65E2}"/>
              </a:ext>
            </a:extLst>
          </p:cNvPr>
          <p:cNvGrpSpPr/>
          <p:nvPr userDrawn="1"/>
        </p:nvGrpSpPr>
        <p:grpSpPr>
          <a:xfrm>
            <a:off x="977527" y="99403"/>
            <a:ext cx="2394526" cy="521285"/>
            <a:chOff x="-3635511" y="3808741"/>
            <a:chExt cx="2394526" cy="521285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1EEB21A1-63BE-4C27-AC1C-7C0ED736F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5F85FAA7-4B5E-4124-8503-9019B35E4E98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Obrázek 21">
            <a:extLst>
              <a:ext uri="{FF2B5EF4-FFF2-40B4-BE49-F238E27FC236}">
                <a16:creationId xmlns:a16="http://schemas.microsoft.com/office/drawing/2014/main" id="{3AADB460-D02C-4410-A107-36A71631A2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59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5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109588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5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898152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2414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C16814E-93D7-8660-9E4B-EF5C17EF945B}"/>
              </a:ext>
            </a:extLst>
          </p:cNvPr>
          <p:cNvGrpSpPr/>
          <p:nvPr userDrawn="1"/>
        </p:nvGrpSpPr>
        <p:grpSpPr>
          <a:xfrm>
            <a:off x="9504000" y="3888000"/>
            <a:ext cx="1270751" cy="2016807"/>
            <a:chOff x="9573906" y="3839890"/>
            <a:chExt cx="1270751" cy="2016807"/>
          </a:xfrm>
        </p:grpSpPr>
        <p:sp>
          <p:nvSpPr>
            <p:cNvPr id="47" name="Rovnoramenný trojúhelník 4">
              <a:extLst>
                <a:ext uri="{FF2B5EF4-FFF2-40B4-BE49-F238E27FC236}">
                  <a16:creationId xmlns:a16="http://schemas.microsoft.com/office/drawing/2014/main" id="{C5474CA9-DC43-C5C2-60B4-16339D814A8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8CEA53F-7430-B159-526A-7A9F3A1D7EDB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9" name="Ovál 22">
                <a:extLst>
                  <a:ext uri="{FF2B5EF4-FFF2-40B4-BE49-F238E27FC236}">
                    <a16:creationId xmlns:a16="http://schemas.microsoft.com/office/drawing/2014/main" id="{4BA847E0-413E-514E-A6AF-56E616FAF048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0" name="Ovál 23">
                <a:extLst>
                  <a:ext uri="{FF2B5EF4-FFF2-40B4-BE49-F238E27FC236}">
                    <a16:creationId xmlns:a16="http://schemas.microsoft.com/office/drawing/2014/main" id="{88A794EE-DDBB-9DBE-6259-495A40034396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grpSp>
        <p:nvGrpSpPr>
          <p:cNvPr id="2" name="Skupina 1">
            <a:extLst>
              <a:ext uri="{FF2B5EF4-FFF2-40B4-BE49-F238E27FC236}">
                <a16:creationId xmlns:a16="http://schemas.microsoft.com/office/drawing/2014/main" id="{8CAFD279-737F-7CC8-355E-A876A8AACB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08400" y="5069760"/>
            <a:ext cx="824351" cy="594000"/>
            <a:chOff x="6152149" y="3638168"/>
            <a:chExt cx="1913285" cy="1378648"/>
          </a:xfrm>
          <a:noFill/>
        </p:grpSpPr>
        <p:sp>
          <p:nvSpPr>
            <p:cNvPr id="52" name="Volný tvar: obrazec 51">
              <a:extLst>
                <a:ext uri="{FF2B5EF4-FFF2-40B4-BE49-F238E27FC236}">
                  <a16:creationId xmlns:a16="http://schemas.microsoft.com/office/drawing/2014/main" id="{C88A9181-2B03-9EEA-7996-CB9E236CE8D1}"/>
                </a:ext>
              </a:extLst>
            </p:cNvPr>
            <p:cNvSpPr/>
            <p:nvPr userDrawn="1"/>
          </p:nvSpPr>
          <p:spPr>
            <a:xfrm>
              <a:off x="6875573" y="3638168"/>
              <a:ext cx="458152" cy="493775"/>
            </a:xfrm>
            <a:custGeom>
              <a:avLst/>
              <a:gdLst>
                <a:gd name="connsiteX0" fmla="*/ 24670 w 458152"/>
                <a:gd name="connsiteY0" fmla="*/ 334137 h 493775"/>
                <a:gd name="connsiteX1" fmla="*/ 25337 w 458152"/>
                <a:gd name="connsiteY1" fmla="*/ 325088 h 493775"/>
                <a:gd name="connsiteX2" fmla="*/ 24384 w 458152"/>
                <a:gd name="connsiteY2" fmla="*/ 317945 h 493775"/>
                <a:gd name="connsiteX3" fmla="*/ 27241 w 458152"/>
                <a:gd name="connsiteY3" fmla="*/ 312039 h 493775"/>
                <a:gd name="connsiteX4" fmla="*/ 30671 w 458152"/>
                <a:gd name="connsiteY4" fmla="*/ 309848 h 493775"/>
                <a:gd name="connsiteX5" fmla="*/ 27908 w 458152"/>
                <a:gd name="connsiteY5" fmla="*/ 302990 h 493775"/>
                <a:gd name="connsiteX6" fmla="*/ 20955 w 458152"/>
                <a:gd name="connsiteY6" fmla="*/ 305657 h 493775"/>
                <a:gd name="connsiteX7" fmla="*/ 17145 w 458152"/>
                <a:gd name="connsiteY7" fmla="*/ 304324 h 493775"/>
                <a:gd name="connsiteX8" fmla="*/ 14668 w 458152"/>
                <a:gd name="connsiteY8" fmla="*/ 299275 h 493775"/>
                <a:gd name="connsiteX9" fmla="*/ 19526 w 458152"/>
                <a:gd name="connsiteY9" fmla="*/ 294989 h 493775"/>
                <a:gd name="connsiteX10" fmla="*/ 15430 w 458152"/>
                <a:gd name="connsiteY10" fmla="*/ 291941 h 493775"/>
                <a:gd name="connsiteX11" fmla="*/ 16573 w 458152"/>
                <a:gd name="connsiteY11" fmla="*/ 286321 h 493775"/>
                <a:gd name="connsiteX12" fmla="*/ 21717 w 458152"/>
                <a:gd name="connsiteY12" fmla="*/ 283845 h 493775"/>
                <a:gd name="connsiteX13" fmla="*/ 11049 w 458152"/>
                <a:gd name="connsiteY13" fmla="*/ 272510 h 493775"/>
                <a:gd name="connsiteX14" fmla="*/ 11716 w 458152"/>
                <a:gd name="connsiteY14" fmla="*/ 263366 h 493775"/>
                <a:gd name="connsiteX15" fmla="*/ 14573 w 458152"/>
                <a:gd name="connsiteY15" fmla="*/ 257556 h 493775"/>
                <a:gd name="connsiteX16" fmla="*/ 22860 w 458152"/>
                <a:gd name="connsiteY16" fmla="*/ 251079 h 493775"/>
                <a:gd name="connsiteX17" fmla="*/ 25717 w 458152"/>
                <a:gd name="connsiteY17" fmla="*/ 245173 h 493775"/>
                <a:gd name="connsiteX18" fmla="*/ 18955 w 458152"/>
                <a:gd name="connsiteY18" fmla="*/ 235267 h 493775"/>
                <a:gd name="connsiteX19" fmla="*/ 32575 w 458152"/>
                <a:gd name="connsiteY19" fmla="*/ 228029 h 493775"/>
                <a:gd name="connsiteX20" fmla="*/ 33242 w 458152"/>
                <a:gd name="connsiteY20" fmla="*/ 218884 h 493775"/>
                <a:gd name="connsiteX21" fmla="*/ 26003 w 458152"/>
                <a:gd name="connsiteY21" fmla="*/ 219742 h 493775"/>
                <a:gd name="connsiteX22" fmla="*/ 22003 w 458152"/>
                <a:gd name="connsiteY22" fmla="*/ 216694 h 493775"/>
                <a:gd name="connsiteX23" fmla="*/ 23336 w 458152"/>
                <a:gd name="connsiteY23" fmla="*/ 212884 h 493775"/>
                <a:gd name="connsiteX24" fmla="*/ 26194 w 458152"/>
                <a:gd name="connsiteY24" fmla="*/ 207073 h 493775"/>
                <a:gd name="connsiteX25" fmla="*/ 20764 w 458152"/>
                <a:gd name="connsiteY25" fmla="*/ 207835 h 493775"/>
                <a:gd name="connsiteX26" fmla="*/ 21241 w 458152"/>
                <a:gd name="connsiteY26" fmla="*/ 211360 h 493775"/>
                <a:gd name="connsiteX27" fmla="*/ 17431 w 458152"/>
                <a:gd name="connsiteY27" fmla="*/ 210026 h 493775"/>
                <a:gd name="connsiteX28" fmla="*/ 9239 w 458152"/>
                <a:gd name="connsiteY28" fmla="*/ 203835 h 493775"/>
                <a:gd name="connsiteX29" fmla="*/ 6763 w 458152"/>
                <a:gd name="connsiteY29" fmla="*/ 198787 h 493775"/>
                <a:gd name="connsiteX30" fmla="*/ 8382 w 458152"/>
                <a:gd name="connsiteY30" fmla="*/ 196787 h 493775"/>
                <a:gd name="connsiteX31" fmla="*/ 7906 w 458152"/>
                <a:gd name="connsiteY31" fmla="*/ 193167 h 493775"/>
                <a:gd name="connsiteX32" fmla="*/ 0 w 458152"/>
                <a:gd name="connsiteY32" fmla="*/ 188785 h 493775"/>
                <a:gd name="connsiteX33" fmla="*/ 1524 w 458152"/>
                <a:gd name="connsiteY33" fmla="*/ 186785 h 493775"/>
                <a:gd name="connsiteX34" fmla="*/ 8763 w 458152"/>
                <a:gd name="connsiteY34" fmla="*/ 185833 h 493775"/>
                <a:gd name="connsiteX35" fmla="*/ 12763 w 458152"/>
                <a:gd name="connsiteY35" fmla="*/ 188881 h 493775"/>
                <a:gd name="connsiteX36" fmla="*/ 17812 w 458152"/>
                <a:gd name="connsiteY36" fmla="*/ 199072 h 493775"/>
                <a:gd name="connsiteX37" fmla="*/ 28384 w 458152"/>
                <a:gd name="connsiteY37" fmla="*/ 195929 h 493775"/>
                <a:gd name="connsiteX38" fmla="*/ 31528 w 458152"/>
                <a:gd name="connsiteY38" fmla="*/ 191929 h 493775"/>
                <a:gd name="connsiteX39" fmla="*/ 31051 w 458152"/>
                <a:gd name="connsiteY39" fmla="*/ 188309 h 493775"/>
                <a:gd name="connsiteX40" fmla="*/ 35909 w 458152"/>
                <a:gd name="connsiteY40" fmla="*/ 184023 h 493775"/>
                <a:gd name="connsiteX41" fmla="*/ 43529 w 458152"/>
                <a:gd name="connsiteY41" fmla="*/ 172212 h 493775"/>
                <a:gd name="connsiteX42" fmla="*/ 48863 w 458152"/>
                <a:gd name="connsiteY42" fmla="*/ 171450 h 493775"/>
                <a:gd name="connsiteX43" fmla="*/ 57531 w 458152"/>
                <a:gd name="connsiteY43" fmla="*/ 154019 h 493775"/>
                <a:gd name="connsiteX44" fmla="*/ 54292 w 458152"/>
                <a:gd name="connsiteY44" fmla="*/ 143542 h 493775"/>
                <a:gd name="connsiteX45" fmla="*/ 49339 w 458152"/>
                <a:gd name="connsiteY45" fmla="*/ 133350 h 493775"/>
                <a:gd name="connsiteX46" fmla="*/ 36481 w 458152"/>
                <a:gd name="connsiteY46" fmla="*/ 133159 h 493775"/>
                <a:gd name="connsiteX47" fmla="*/ 34480 w 458152"/>
                <a:gd name="connsiteY47" fmla="*/ 131635 h 493775"/>
                <a:gd name="connsiteX48" fmla="*/ 29051 w 458152"/>
                <a:gd name="connsiteY48" fmla="*/ 132397 h 493775"/>
                <a:gd name="connsiteX49" fmla="*/ 28575 w 458152"/>
                <a:gd name="connsiteY49" fmla="*/ 128778 h 493775"/>
                <a:gd name="connsiteX50" fmla="*/ 22955 w 458152"/>
                <a:gd name="connsiteY50" fmla="*/ 127730 h 493775"/>
                <a:gd name="connsiteX51" fmla="*/ 22765 w 458152"/>
                <a:gd name="connsiteY51" fmla="*/ 126016 h 493775"/>
                <a:gd name="connsiteX52" fmla="*/ 18955 w 458152"/>
                <a:gd name="connsiteY52" fmla="*/ 124682 h 493775"/>
                <a:gd name="connsiteX53" fmla="*/ 18193 w 458152"/>
                <a:gd name="connsiteY53" fmla="*/ 119348 h 493775"/>
                <a:gd name="connsiteX54" fmla="*/ 16192 w 458152"/>
                <a:gd name="connsiteY54" fmla="*/ 117729 h 493775"/>
                <a:gd name="connsiteX55" fmla="*/ 15716 w 458152"/>
                <a:gd name="connsiteY55" fmla="*/ 114205 h 493775"/>
                <a:gd name="connsiteX56" fmla="*/ 24670 w 458152"/>
                <a:gd name="connsiteY56" fmla="*/ 112967 h 493775"/>
                <a:gd name="connsiteX57" fmla="*/ 26003 w 458152"/>
                <a:gd name="connsiteY57" fmla="*/ 109156 h 493775"/>
                <a:gd name="connsiteX58" fmla="*/ 30480 w 458152"/>
                <a:gd name="connsiteY58" fmla="*/ 101346 h 493775"/>
                <a:gd name="connsiteX59" fmla="*/ 29337 w 458152"/>
                <a:gd name="connsiteY59" fmla="*/ 92488 h 493775"/>
                <a:gd name="connsiteX60" fmla="*/ 31337 w 458152"/>
                <a:gd name="connsiteY60" fmla="*/ 94012 h 493775"/>
                <a:gd name="connsiteX61" fmla="*/ 32671 w 458152"/>
                <a:gd name="connsiteY61" fmla="*/ 90202 h 493775"/>
                <a:gd name="connsiteX62" fmla="*/ 33242 w 458152"/>
                <a:gd name="connsiteY62" fmla="*/ 81058 h 493775"/>
                <a:gd name="connsiteX63" fmla="*/ 30766 w 458152"/>
                <a:gd name="connsiteY63" fmla="*/ 75914 h 493775"/>
                <a:gd name="connsiteX64" fmla="*/ 34576 w 458152"/>
                <a:gd name="connsiteY64" fmla="*/ 77248 h 493775"/>
                <a:gd name="connsiteX65" fmla="*/ 39338 w 458152"/>
                <a:gd name="connsiteY65" fmla="*/ 85630 h 493775"/>
                <a:gd name="connsiteX66" fmla="*/ 46768 w 458152"/>
                <a:gd name="connsiteY66" fmla="*/ 86487 h 493775"/>
                <a:gd name="connsiteX67" fmla="*/ 45815 w 458152"/>
                <a:gd name="connsiteY67" fmla="*/ 79343 h 493775"/>
                <a:gd name="connsiteX68" fmla="*/ 55626 w 458152"/>
                <a:gd name="connsiteY68" fmla="*/ 70866 h 493775"/>
                <a:gd name="connsiteX69" fmla="*/ 52673 w 458152"/>
                <a:gd name="connsiteY69" fmla="*/ 62103 h 493775"/>
                <a:gd name="connsiteX70" fmla="*/ 55626 w 458152"/>
                <a:gd name="connsiteY70" fmla="*/ 56388 h 493775"/>
                <a:gd name="connsiteX71" fmla="*/ 61436 w 458152"/>
                <a:gd name="connsiteY71" fmla="*/ 59150 h 493775"/>
                <a:gd name="connsiteX72" fmla="*/ 68389 w 458152"/>
                <a:gd name="connsiteY72" fmla="*/ 56483 h 493775"/>
                <a:gd name="connsiteX73" fmla="*/ 71247 w 458152"/>
                <a:gd name="connsiteY73" fmla="*/ 50673 h 493775"/>
                <a:gd name="connsiteX74" fmla="*/ 75152 w 458152"/>
                <a:gd name="connsiteY74" fmla="*/ 51911 h 493775"/>
                <a:gd name="connsiteX75" fmla="*/ 74866 w 458152"/>
                <a:gd name="connsiteY75" fmla="*/ 50197 h 493775"/>
                <a:gd name="connsiteX76" fmla="*/ 82772 w 458152"/>
                <a:gd name="connsiteY76" fmla="*/ 54578 h 493775"/>
                <a:gd name="connsiteX77" fmla="*/ 80581 w 458152"/>
                <a:gd name="connsiteY77" fmla="*/ 65722 h 493775"/>
                <a:gd name="connsiteX78" fmla="*/ 82391 w 458152"/>
                <a:gd name="connsiteY78" fmla="*/ 65532 h 493775"/>
                <a:gd name="connsiteX79" fmla="*/ 87249 w 458152"/>
                <a:gd name="connsiteY79" fmla="*/ 61150 h 493775"/>
                <a:gd name="connsiteX80" fmla="*/ 91154 w 458152"/>
                <a:gd name="connsiteY80" fmla="*/ 62484 h 493775"/>
                <a:gd name="connsiteX81" fmla="*/ 94202 w 458152"/>
                <a:gd name="connsiteY81" fmla="*/ 58483 h 493775"/>
                <a:gd name="connsiteX82" fmla="*/ 103441 w 458152"/>
                <a:gd name="connsiteY82" fmla="*/ 59055 h 493775"/>
                <a:gd name="connsiteX83" fmla="*/ 116681 w 458152"/>
                <a:gd name="connsiteY83" fmla="*/ 48292 h 493775"/>
                <a:gd name="connsiteX84" fmla="*/ 120301 w 458152"/>
                <a:gd name="connsiteY84" fmla="*/ 47816 h 493775"/>
                <a:gd name="connsiteX85" fmla="*/ 129064 w 458152"/>
                <a:gd name="connsiteY85" fmla="*/ 59341 h 493775"/>
                <a:gd name="connsiteX86" fmla="*/ 132874 w 458152"/>
                <a:gd name="connsiteY86" fmla="*/ 60579 h 493775"/>
                <a:gd name="connsiteX87" fmla="*/ 136303 w 458152"/>
                <a:gd name="connsiteY87" fmla="*/ 58388 h 493775"/>
                <a:gd name="connsiteX88" fmla="*/ 138303 w 458152"/>
                <a:gd name="connsiteY88" fmla="*/ 59912 h 493775"/>
                <a:gd name="connsiteX89" fmla="*/ 143923 w 458152"/>
                <a:gd name="connsiteY89" fmla="*/ 60960 h 493775"/>
                <a:gd name="connsiteX90" fmla="*/ 143446 w 458152"/>
                <a:gd name="connsiteY90" fmla="*/ 57436 h 493775"/>
                <a:gd name="connsiteX91" fmla="*/ 158305 w 458152"/>
                <a:gd name="connsiteY91" fmla="*/ 59055 h 493775"/>
                <a:gd name="connsiteX92" fmla="*/ 161639 w 458152"/>
                <a:gd name="connsiteY92" fmla="*/ 56769 h 493775"/>
                <a:gd name="connsiteX93" fmla="*/ 163925 w 458152"/>
                <a:gd name="connsiteY93" fmla="*/ 60103 h 493775"/>
                <a:gd name="connsiteX94" fmla="*/ 167259 w 458152"/>
                <a:gd name="connsiteY94" fmla="*/ 57912 h 493775"/>
                <a:gd name="connsiteX95" fmla="*/ 164782 w 458152"/>
                <a:gd name="connsiteY95" fmla="*/ 52768 h 493775"/>
                <a:gd name="connsiteX96" fmla="*/ 164021 w 458152"/>
                <a:gd name="connsiteY96" fmla="*/ 47434 h 493775"/>
                <a:gd name="connsiteX97" fmla="*/ 168497 w 458152"/>
                <a:gd name="connsiteY97" fmla="*/ 39624 h 493775"/>
                <a:gd name="connsiteX98" fmla="*/ 168021 w 458152"/>
                <a:gd name="connsiteY98" fmla="*/ 36004 h 493775"/>
                <a:gd name="connsiteX99" fmla="*/ 169545 w 458152"/>
                <a:gd name="connsiteY99" fmla="*/ 34004 h 493775"/>
                <a:gd name="connsiteX100" fmla="*/ 168878 w 458152"/>
                <a:gd name="connsiteY100" fmla="*/ 28670 h 493775"/>
                <a:gd name="connsiteX101" fmla="*/ 167449 w 458152"/>
                <a:gd name="connsiteY101" fmla="*/ 17907 h 493775"/>
                <a:gd name="connsiteX102" fmla="*/ 174212 w 458152"/>
                <a:gd name="connsiteY102" fmla="*/ 13430 h 493775"/>
                <a:gd name="connsiteX103" fmla="*/ 171736 w 458152"/>
                <a:gd name="connsiteY103" fmla="*/ 8382 h 493775"/>
                <a:gd name="connsiteX104" fmla="*/ 176879 w 458152"/>
                <a:gd name="connsiteY104" fmla="*/ 5810 h 493775"/>
                <a:gd name="connsiteX105" fmla="*/ 182213 w 458152"/>
                <a:gd name="connsiteY105" fmla="*/ 5143 h 493775"/>
                <a:gd name="connsiteX106" fmla="*/ 184499 w 458152"/>
                <a:gd name="connsiteY106" fmla="*/ 8477 h 493775"/>
                <a:gd name="connsiteX107" fmla="*/ 188119 w 458152"/>
                <a:gd name="connsiteY107" fmla="*/ 8001 h 493775"/>
                <a:gd name="connsiteX108" fmla="*/ 192976 w 458152"/>
                <a:gd name="connsiteY108" fmla="*/ 3715 h 493775"/>
                <a:gd name="connsiteX109" fmla="*/ 195739 w 458152"/>
                <a:gd name="connsiteY109" fmla="*/ 10573 h 493775"/>
                <a:gd name="connsiteX110" fmla="*/ 205454 w 458152"/>
                <a:gd name="connsiteY110" fmla="*/ 14764 h 493775"/>
                <a:gd name="connsiteX111" fmla="*/ 210312 w 458152"/>
                <a:gd name="connsiteY111" fmla="*/ 10477 h 493775"/>
                <a:gd name="connsiteX112" fmla="*/ 214408 w 458152"/>
                <a:gd name="connsiteY112" fmla="*/ 13621 h 493775"/>
                <a:gd name="connsiteX113" fmla="*/ 219837 w 458152"/>
                <a:gd name="connsiteY113" fmla="*/ 12859 h 493775"/>
                <a:gd name="connsiteX114" fmla="*/ 220028 w 458152"/>
                <a:gd name="connsiteY114" fmla="*/ 14668 h 493775"/>
                <a:gd name="connsiteX115" fmla="*/ 221837 w 458152"/>
                <a:gd name="connsiteY115" fmla="*/ 14383 h 493775"/>
                <a:gd name="connsiteX116" fmla="*/ 230314 w 458152"/>
                <a:gd name="connsiteY116" fmla="*/ 9620 h 493775"/>
                <a:gd name="connsiteX117" fmla="*/ 233934 w 458152"/>
                <a:gd name="connsiteY117" fmla="*/ 9144 h 493775"/>
                <a:gd name="connsiteX118" fmla="*/ 231934 w 458152"/>
                <a:gd name="connsiteY118" fmla="*/ 7620 h 493775"/>
                <a:gd name="connsiteX119" fmla="*/ 232981 w 458152"/>
                <a:gd name="connsiteY119" fmla="*/ 2000 h 493775"/>
                <a:gd name="connsiteX120" fmla="*/ 234601 w 458152"/>
                <a:gd name="connsiteY120" fmla="*/ 0 h 493775"/>
                <a:gd name="connsiteX121" fmla="*/ 247840 w 458152"/>
                <a:gd name="connsiteY121" fmla="*/ 3715 h 493775"/>
                <a:gd name="connsiteX122" fmla="*/ 262509 w 458152"/>
                <a:gd name="connsiteY122" fmla="*/ 18097 h 493775"/>
                <a:gd name="connsiteX123" fmla="*/ 270605 w 458152"/>
                <a:gd name="connsiteY123" fmla="*/ 9811 h 493775"/>
                <a:gd name="connsiteX124" fmla="*/ 280035 w 458152"/>
                <a:gd name="connsiteY124" fmla="*/ 12192 h 493775"/>
                <a:gd name="connsiteX125" fmla="*/ 279559 w 458152"/>
                <a:gd name="connsiteY125" fmla="*/ 8572 h 493775"/>
                <a:gd name="connsiteX126" fmla="*/ 273939 w 458152"/>
                <a:gd name="connsiteY126" fmla="*/ 7525 h 493775"/>
                <a:gd name="connsiteX127" fmla="*/ 275463 w 458152"/>
                <a:gd name="connsiteY127" fmla="*/ 5429 h 493775"/>
                <a:gd name="connsiteX128" fmla="*/ 287179 w 458152"/>
                <a:gd name="connsiteY128" fmla="*/ 11239 h 493775"/>
                <a:gd name="connsiteX129" fmla="*/ 290989 w 458152"/>
                <a:gd name="connsiteY129" fmla="*/ 12478 h 493775"/>
                <a:gd name="connsiteX130" fmla="*/ 294418 w 458152"/>
                <a:gd name="connsiteY130" fmla="*/ 10192 h 493775"/>
                <a:gd name="connsiteX131" fmla="*/ 298228 w 458152"/>
                <a:gd name="connsiteY131" fmla="*/ 11525 h 493775"/>
                <a:gd name="connsiteX132" fmla="*/ 303086 w 458152"/>
                <a:gd name="connsiteY132" fmla="*/ 7239 h 493775"/>
                <a:gd name="connsiteX133" fmla="*/ 301562 w 458152"/>
                <a:gd name="connsiteY133" fmla="*/ 9334 h 493775"/>
                <a:gd name="connsiteX134" fmla="*/ 320421 w 458152"/>
                <a:gd name="connsiteY134" fmla="*/ 14002 h 493775"/>
                <a:gd name="connsiteX135" fmla="*/ 323469 w 458152"/>
                <a:gd name="connsiteY135" fmla="*/ 22670 h 493775"/>
                <a:gd name="connsiteX136" fmla="*/ 328803 w 458152"/>
                <a:gd name="connsiteY136" fmla="*/ 22003 h 493775"/>
                <a:gd name="connsiteX137" fmla="*/ 330613 w 458152"/>
                <a:gd name="connsiteY137" fmla="*/ 21717 h 493775"/>
                <a:gd name="connsiteX138" fmla="*/ 354044 w 458152"/>
                <a:gd name="connsiteY138" fmla="*/ 33147 h 493775"/>
                <a:gd name="connsiteX139" fmla="*/ 359664 w 458152"/>
                <a:gd name="connsiteY139" fmla="*/ 34195 h 493775"/>
                <a:gd name="connsiteX140" fmla="*/ 371856 w 458152"/>
                <a:gd name="connsiteY140" fmla="*/ 43529 h 493775"/>
                <a:gd name="connsiteX141" fmla="*/ 381381 w 458152"/>
                <a:gd name="connsiteY141" fmla="*/ 45910 h 493775"/>
                <a:gd name="connsiteX142" fmla="*/ 400812 w 458152"/>
                <a:gd name="connsiteY142" fmla="*/ 41434 h 493775"/>
                <a:gd name="connsiteX143" fmla="*/ 401098 w 458152"/>
                <a:gd name="connsiteY143" fmla="*/ 43243 h 493775"/>
                <a:gd name="connsiteX144" fmla="*/ 394145 w 458152"/>
                <a:gd name="connsiteY144" fmla="*/ 46006 h 493775"/>
                <a:gd name="connsiteX145" fmla="*/ 392811 w 458152"/>
                <a:gd name="connsiteY145" fmla="*/ 49816 h 493775"/>
                <a:gd name="connsiteX146" fmla="*/ 389477 w 458152"/>
                <a:gd name="connsiteY146" fmla="*/ 52006 h 493775"/>
                <a:gd name="connsiteX147" fmla="*/ 387667 w 458152"/>
                <a:gd name="connsiteY147" fmla="*/ 52292 h 493775"/>
                <a:gd name="connsiteX148" fmla="*/ 386620 w 458152"/>
                <a:gd name="connsiteY148" fmla="*/ 57817 h 493775"/>
                <a:gd name="connsiteX149" fmla="*/ 390430 w 458152"/>
                <a:gd name="connsiteY149" fmla="*/ 59150 h 493775"/>
                <a:gd name="connsiteX150" fmla="*/ 395192 w 458152"/>
                <a:gd name="connsiteY150" fmla="*/ 67627 h 493775"/>
                <a:gd name="connsiteX151" fmla="*/ 399002 w 458152"/>
                <a:gd name="connsiteY151" fmla="*/ 68961 h 493775"/>
                <a:gd name="connsiteX152" fmla="*/ 397955 w 458152"/>
                <a:gd name="connsiteY152" fmla="*/ 74485 h 493775"/>
                <a:gd name="connsiteX153" fmla="*/ 390715 w 458152"/>
                <a:gd name="connsiteY153" fmla="*/ 75438 h 493775"/>
                <a:gd name="connsiteX154" fmla="*/ 382048 w 458152"/>
                <a:gd name="connsiteY154" fmla="*/ 78391 h 493775"/>
                <a:gd name="connsiteX155" fmla="*/ 379952 w 458152"/>
                <a:gd name="connsiteY155" fmla="*/ 76867 h 493775"/>
                <a:gd name="connsiteX156" fmla="*/ 377476 w 458152"/>
                <a:gd name="connsiteY156" fmla="*/ 71723 h 493775"/>
                <a:gd name="connsiteX157" fmla="*/ 371570 w 458152"/>
                <a:gd name="connsiteY157" fmla="*/ 68866 h 493775"/>
                <a:gd name="connsiteX158" fmla="*/ 368237 w 458152"/>
                <a:gd name="connsiteY158" fmla="*/ 71152 h 493775"/>
                <a:gd name="connsiteX159" fmla="*/ 365760 w 458152"/>
                <a:gd name="connsiteY159" fmla="*/ 66104 h 493775"/>
                <a:gd name="connsiteX160" fmla="*/ 364617 w 458152"/>
                <a:gd name="connsiteY160" fmla="*/ 71628 h 493775"/>
                <a:gd name="connsiteX161" fmla="*/ 362426 w 458152"/>
                <a:gd name="connsiteY161" fmla="*/ 68294 h 493775"/>
                <a:gd name="connsiteX162" fmla="*/ 354711 w 458152"/>
                <a:gd name="connsiteY162" fmla="*/ 65722 h 493775"/>
                <a:gd name="connsiteX163" fmla="*/ 348424 w 458152"/>
                <a:gd name="connsiteY163" fmla="*/ 59246 h 493775"/>
                <a:gd name="connsiteX164" fmla="*/ 351187 w 458152"/>
                <a:gd name="connsiteY164" fmla="*/ 66199 h 493775"/>
                <a:gd name="connsiteX165" fmla="*/ 349377 w 458152"/>
                <a:gd name="connsiteY165" fmla="*/ 66389 h 493775"/>
                <a:gd name="connsiteX166" fmla="*/ 350044 w 458152"/>
                <a:gd name="connsiteY166" fmla="*/ 71723 h 493775"/>
                <a:gd name="connsiteX167" fmla="*/ 346615 w 458152"/>
                <a:gd name="connsiteY167" fmla="*/ 74009 h 493775"/>
                <a:gd name="connsiteX168" fmla="*/ 346900 w 458152"/>
                <a:gd name="connsiteY168" fmla="*/ 75819 h 493775"/>
                <a:gd name="connsiteX169" fmla="*/ 349853 w 458152"/>
                <a:gd name="connsiteY169" fmla="*/ 84487 h 493775"/>
                <a:gd name="connsiteX170" fmla="*/ 348805 w 458152"/>
                <a:gd name="connsiteY170" fmla="*/ 90011 h 493775"/>
                <a:gd name="connsiteX171" fmla="*/ 350806 w 458152"/>
                <a:gd name="connsiteY171" fmla="*/ 91630 h 493775"/>
                <a:gd name="connsiteX172" fmla="*/ 356235 w 458152"/>
                <a:gd name="connsiteY172" fmla="*/ 90868 h 493775"/>
                <a:gd name="connsiteX173" fmla="*/ 354711 w 458152"/>
                <a:gd name="connsiteY173" fmla="*/ 92869 h 493775"/>
                <a:gd name="connsiteX174" fmla="*/ 355187 w 458152"/>
                <a:gd name="connsiteY174" fmla="*/ 96488 h 493775"/>
                <a:gd name="connsiteX175" fmla="*/ 352044 w 458152"/>
                <a:gd name="connsiteY175" fmla="*/ 100489 h 493775"/>
                <a:gd name="connsiteX176" fmla="*/ 349377 w 458152"/>
                <a:gd name="connsiteY176" fmla="*/ 108109 h 493775"/>
                <a:gd name="connsiteX177" fmla="*/ 344424 w 458152"/>
                <a:gd name="connsiteY177" fmla="*/ 112395 h 493775"/>
                <a:gd name="connsiteX178" fmla="*/ 341852 w 458152"/>
                <a:gd name="connsiteY178" fmla="*/ 120015 h 493775"/>
                <a:gd name="connsiteX179" fmla="*/ 350996 w 458152"/>
                <a:gd name="connsiteY179" fmla="*/ 120587 h 493775"/>
                <a:gd name="connsiteX180" fmla="*/ 359759 w 458152"/>
                <a:gd name="connsiteY180" fmla="*/ 117634 h 493775"/>
                <a:gd name="connsiteX181" fmla="*/ 362045 w 458152"/>
                <a:gd name="connsiteY181" fmla="*/ 120967 h 493775"/>
                <a:gd name="connsiteX182" fmla="*/ 369189 w 458152"/>
                <a:gd name="connsiteY182" fmla="*/ 120015 h 493775"/>
                <a:gd name="connsiteX183" fmla="*/ 372808 w 458152"/>
                <a:gd name="connsiteY183" fmla="*/ 119539 h 493775"/>
                <a:gd name="connsiteX184" fmla="*/ 382048 w 458152"/>
                <a:gd name="connsiteY184" fmla="*/ 120110 h 493775"/>
                <a:gd name="connsiteX185" fmla="*/ 384524 w 458152"/>
                <a:gd name="connsiteY185" fmla="*/ 125254 h 493775"/>
                <a:gd name="connsiteX186" fmla="*/ 394430 w 458152"/>
                <a:gd name="connsiteY186" fmla="*/ 131159 h 493775"/>
                <a:gd name="connsiteX187" fmla="*/ 405479 w 458152"/>
                <a:gd name="connsiteY187" fmla="*/ 131540 h 493775"/>
                <a:gd name="connsiteX188" fmla="*/ 407003 w 458152"/>
                <a:gd name="connsiteY188" fmla="*/ 129540 h 493775"/>
                <a:gd name="connsiteX189" fmla="*/ 409289 w 458152"/>
                <a:gd name="connsiteY189" fmla="*/ 132779 h 493775"/>
                <a:gd name="connsiteX190" fmla="*/ 412432 w 458152"/>
                <a:gd name="connsiteY190" fmla="*/ 128778 h 493775"/>
                <a:gd name="connsiteX191" fmla="*/ 412623 w 458152"/>
                <a:gd name="connsiteY191" fmla="*/ 130588 h 493775"/>
                <a:gd name="connsiteX192" fmla="*/ 418052 w 458152"/>
                <a:gd name="connsiteY192" fmla="*/ 129826 h 493775"/>
                <a:gd name="connsiteX193" fmla="*/ 418529 w 458152"/>
                <a:gd name="connsiteY193" fmla="*/ 133445 h 493775"/>
                <a:gd name="connsiteX194" fmla="*/ 423481 w 458152"/>
                <a:gd name="connsiteY194" fmla="*/ 129159 h 493775"/>
                <a:gd name="connsiteX195" fmla="*/ 427291 w 458152"/>
                <a:gd name="connsiteY195" fmla="*/ 130397 h 493775"/>
                <a:gd name="connsiteX196" fmla="*/ 429292 w 458152"/>
                <a:gd name="connsiteY196" fmla="*/ 132017 h 493775"/>
                <a:gd name="connsiteX197" fmla="*/ 425958 w 458152"/>
                <a:gd name="connsiteY197" fmla="*/ 134207 h 493775"/>
                <a:gd name="connsiteX198" fmla="*/ 416909 w 458152"/>
                <a:gd name="connsiteY198" fmla="*/ 135446 h 493775"/>
                <a:gd name="connsiteX199" fmla="*/ 412909 w 458152"/>
                <a:gd name="connsiteY199" fmla="*/ 132302 h 493775"/>
                <a:gd name="connsiteX200" fmla="*/ 405955 w 458152"/>
                <a:gd name="connsiteY200" fmla="*/ 135064 h 493775"/>
                <a:gd name="connsiteX201" fmla="*/ 399955 w 458152"/>
                <a:gd name="connsiteY201" fmla="*/ 144971 h 493775"/>
                <a:gd name="connsiteX202" fmla="*/ 403765 w 458152"/>
                <a:gd name="connsiteY202" fmla="*/ 146209 h 493775"/>
                <a:gd name="connsiteX203" fmla="*/ 405193 w 458152"/>
                <a:gd name="connsiteY203" fmla="*/ 156972 h 493775"/>
                <a:gd name="connsiteX204" fmla="*/ 403670 w 458152"/>
                <a:gd name="connsiteY204" fmla="*/ 158972 h 493775"/>
                <a:gd name="connsiteX205" fmla="*/ 398431 w 458152"/>
                <a:gd name="connsiteY205" fmla="*/ 161449 h 493775"/>
                <a:gd name="connsiteX206" fmla="*/ 392811 w 458152"/>
                <a:gd name="connsiteY206" fmla="*/ 160401 h 493775"/>
                <a:gd name="connsiteX207" fmla="*/ 387953 w 458152"/>
                <a:gd name="connsiteY207" fmla="*/ 164687 h 493775"/>
                <a:gd name="connsiteX208" fmla="*/ 390430 w 458152"/>
                <a:gd name="connsiteY208" fmla="*/ 169735 h 493775"/>
                <a:gd name="connsiteX209" fmla="*/ 384905 w 458152"/>
                <a:gd name="connsiteY209" fmla="*/ 183166 h 493775"/>
                <a:gd name="connsiteX210" fmla="*/ 391192 w 458152"/>
                <a:gd name="connsiteY210" fmla="*/ 189643 h 493775"/>
                <a:gd name="connsiteX211" fmla="*/ 390144 w 458152"/>
                <a:gd name="connsiteY211" fmla="*/ 195167 h 493775"/>
                <a:gd name="connsiteX212" fmla="*/ 394430 w 458152"/>
                <a:gd name="connsiteY212" fmla="*/ 200025 h 493775"/>
                <a:gd name="connsiteX213" fmla="*/ 393382 w 458152"/>
                <a:gd name="connsiteY213" fmla="*/ 205645 h 493775"/>
                <a:gd name="connsiteX214" fmla="*/ 399669 w 458152"/>
                <a:gd name="connsiteY214" fmla="*/ 212026 h 493775"/>
                <a:gd name="connsiteX215" fmla="*/ 399955 w 458152"/>
                <a:gd name="connsiteY215" fmla="*/ 213836 h 493775"/>
                <a:gd name="connsiteX216" fmla="*/ 396335 w 458152"/>
                <a:gd name="connsiteY216" fmla="*/ 214313 h 493775"/>
                <a:gd name="connsiteX217" fmla="*/ 398336 w 458152"/>
                <a:gd name="connsiteY217" fmla="*/ 215837 h 493775"/>
                <a:gd name="connsiteX218" fmla="*/ 399383 w 458152"/>
                <a:gd name="connsiteY218" fmla="*/ 237458 h 493775"/>
                <a:gd name="connsiteX219" fmla="*/ 405003 w 458152"/>
                <a:gd name="connsiteY219" fmla="*/ 238506 h 493775"/>
                <a:gd name="connsiteX220" fmla="*/ 407289 w 458152"/>
                <a:gd name="connsiteY220" fmla="*/ 241840 h 493775"/>
                <a:gd name="connsiteX221" fmla="*/ 414433 w 458152"/>
                <a:gd name="connsiteY221" fmla="*/ 240887 h 493775"/>
                <a:gd name="connsiteX222" fmla="*/ 418529 w 458152"/>
                <a:gd name="connsiteY222" fmla="*/ 244030 h 493775"/>
                <a:gd name="connsiteX223" fmla="*/ 415862 w 458152"/>
                <a:gd name="connsiteY223" fmla="*/ 251650 h 493775"/>
                <a:gd name="connsiteX224" fmla="*/ 419671 w 458152"/>
                <a:gd name="connsiteY224" fmla="*/ 252889 h 493775"/>
                <a:gd name="connsiteX225" fmla="*/ 422148 w 458152"/>
                <a:gd name="connsiteY225" fmla="*/ 258032 h 493775"/>
                <a:gd name="connsiteX226" fmla="*/ 418814 w 458152"/>
                <a:gd name="connsiteY226" fmla="*/ 260318 h 493775"/>
                <a:gd name="connsiteX227" fmla="*/ 426053 w 458152"/>
                <a:gd name="connsiteY227" fmla="*/ 259366 h 493775"/>
                <a:gd name="connsiteX228" fmla="*/ 428530 w 458152"/>
                <a:gd name="connsiteY228" fmla="*/ 264414 h 493775"/>
                <a:gd name="connsiteX229" fmla="*/ 425672 w 458152"/>
                <a:gd name="connsiteY229" fmla="*/ 270320 h 493775"/>
                <a:gd name="connsiteX230" fmla="*/ 423577 w 458152"/>
                <a:gd name="connsiteY230" fmla="*/ 268700 h 493775"/>
                <a:gd name="connsiteX231" fmla="*/ 420243 w 458152"/>
                <a:gd name="connsiteY231" fmla="*/ 270986 h 493775"/>
                <a:gd name="connsiteX232" fmla="*/ 414909 w 458152"/>
                <a:gd name="connsiteY232" fmla="*/ 271748 h 493775"/>
                <a:gd name="connsiteX233" fmla="*/ 411575 w 458152"/>
                <a:gd name="connsiteY233" fmla="*/ 273939 h 493775"/>
                <a:gd name="connsiteX234" fmla="*/ 404146 w 458152"/>
                <a:gd name="connsiteY234" fmla="*/ 273082 h 493775"/>
                <a:gd name="connsiteX235" fmla="*/ 401193 w 458152"/>
                <a:gd name="connsiteY235" fmla="*/ 278892 h 493775"/>
                <a:gd name="connsiteX236" fmla="*/ 401955 w 458152"/>
                <a:gd name="connsiteY236" fmla="*/ 284321 h 493775"/>
                <a:gd name="connsiteX237" fmla="*/ 397478 w 458152"/>
                <a:gd name="connsiteY237" fmla="*/ 292132 h 493775"/>
                <a:gd name="connsiteX238" fmla="*/ 398431 w 458152"/>
                <a:gd name="connsiteY238" fmla="*/ 299275 h 493775"/>
                <a:gd name="connsiteX239" fmla="*/ 403765 w 458152"/>
                <a:gd name="connsiteY239" fmla="*/ 298513 h 493775"/>
                <a:gd name="connsiteX240" fmla="*/ 405384 w 458152"/>
                <a:gd name="connsiteY240" fmla="*/ 296513 h 493775"/>
                <a:gd name="connsiteX241" fmla="*/ 409004 w 458152"/>
                <a:gd name="connsiteY241" fmla="*/ 296037 h 493775"/>
                <a:gd name="connsiteX242" fmla="*/ 408337 w 458152"/>
                <a:gd name="connsiteY242" fmla="*/ 305181 h 493775"/>
                <a:gd name="connsiteX243" fmla="*/ 429768 w 458152"/>
                <a:gd name="connsiteY243" fmla="*/ 315087 h 493775"/>
                <a:gd name="connsiteX244" fmla="*/ 438340 w 458152"/>
                <a:gd name="connsiteY244" fmla="*/ 324802 h 493775"/>
                <a:gd name="connsiteX245" fmla="*/ 451866 w 458152"/>
                <a:gd name="connsiteY245" fmla="*/ 330232 h 493775"/>
                <a:gd name="connsiteX246" fmla="*/ 458153 w 458152"/>
                <a:gd name="connsiteY246" fmla="*/ 336613 h 493775"/>
                <a:gd name="connsiteX247" fmla="*/ 457390 w 458152"/>
                <a:gd name="connsiteY247" fmla="*/ 344043 h 493775"/>
                <a:gd name="connsiteX248" fmla="*/ 455771 w 458152"/>
                <a:gd name="connsiteY248" fmla="*/ 346043 h 493775"/>
                <a:gd name="connsiteX249" fmla="*/ 453962 w 458152"/>
                <a:gd name="connsiteY249" fmla="*/ 346329 h 493775"/>
                <a:gd name="connsiteX250" fmla="*/ 456438 w 458152"/>
                <a:gd name="connsiteY250" fmla="*/ 351377 h 493775"/>
                <a:gd name="connsiteX251" fmla="*/ 451771 w 458152"/>
                <a:gd name="connsiteY251" fmla="*/ 357473 h 493775"/>
                <a:gd name="connsiteX252" fmla="*/ 439674 w 458152"/>
                <a:gd name="connsiteY252" fmla="*/ 348139 h 493775"/>
                <a:gd name="connsiteX253" fmla="*/ 435292 w 458152"/>
                <a:gd name="connsiteY253" fmla="*/ 343281 h 493775"/>
                <a:gd name="connsiteX254" fmla="*/ 427672 w 458152"/>
                <a:gd name="connsiteY254" fmla="*/ 340709 h 493775"/>
                <a:gd name="connsiteX255" fmla="*/ 419386 w 458152"/>
                <a:gd name="connsiteY255" fmla="*/ 347281 h 493775"/>
                <a:gd name="connsiteX256" fmla="*/ 418338 w 458152"/>
                <a:gd name="connsiteY256" fmla="*/ 352806 h 493775"/>
                <a:gd name="connsiteX257" fmla="*/ 416719 w 458152"/>
                <a:gd name="connsiteY257" fmla="*/ 354806 h 493775"/>
                <a:gd name="connsiteX258" fmla="*/ 421481 w 458152"/>
                <a:gd name="connsiteY258" fmla="*/ 363284 h 493775"/>
                <a:gd name="connsiteX259" fmla="*/ 425577 w 458152"/>
                <a:gd name="connsiteY259" fmla="*/ 366331 h 493775"/>
                <a:gd name="connsiteX260" fmla="*/ 430339 w 458152"/>
                <a:gd name="connsiteY260" fmla="*/ 374809 h 493775"/>
                <a:gd name="connsiteX261" fmla="*/ 434245 w 458152"/>
                <a:gd name="connsiteY261" fmla="*/ 390620 h 493775"/>
                <a:gd name="connsiteX262" fmla="*/ 431101 w 458152"/>
                <a:gd name="connsiteY262" fmla="*/ 394621 h 493775"/>
                <a:gd name="connsiteX263" fmla="*/ 438626 w 458152"/>
                <a:gd name="connsiteY263" fmla="*/ 395478 h 493775"/>
                <a:gd name="connsiteX264" fmla="*/ 442627 w 458152"/>
                <a:gd name="connsiteY264" fmla="*/ 398526 h 493775"/>
                <a:gd name="connsiteX265" fmla="*/ 441103 w 458152"/>
                <a:gd name="connsiteY265" fmla="*/ 400621 h 493775"/>
                <a:gd name="connsiteX266" fmla="*/ 432054 w 458152"/>
                <a:gd name="connsiteY266" fmla="*/ 401764 h 493775"/>
                <a:gd name="connsiteX267" fmla="*/ 422243 w 458152"/>
                <a:gd name="connsiteY267" fmla="*/ 410337 h 493775"/>
                <a:gd name="connsiteX268" fmla="*/ 420338 w 458152"/>
                <a:gd name="connsiteY268" fmla="*/ 423291 h 493775"/>
                <a:gd name="connsiteX269" fmla="*/ 415195 w 458152"/>
                <a:gd name="connsiteY269" fmla="*/ 425767 h 493775"/>
                <a:gd name="connsiteX270" fmla="*/ 412528 w 458152"/>
                <a:gd name="connsiteY270" fmla="*/ 433388 h 493775"/>
                <a:gd name="connsiteX271" fmla="*/ 414528 w 458152"/>
                <a:gd name="connsiteY271" fmla="*/ 434912 h 493775"/>
                <a:gd name="connsiteX272" fmla="*/ 419957 w 458152"/>
                <a:gd name="connsiteY272" fmla="*/ 434150 h 493775"/>
                <a:gd name="connsiteX273" fmla="*/ 422434 w 458152"/>
                <a:gd name="connsiteY273" fmla="*/ 439293 h 493775"/>
                <a:gd name="connsiteX274" fmla="*/ 428815 w 458152"/>
                <a:gd name="connsiteY274" fmla="*/ 445675 h 493775"/>
                <a:gd name="connsiteX275" fmla="*/ 434149 w 458152"/>
                <a:gd name="connsiteY275" fmla="*/ 445008 h 493775"/>
                <a:gd name="connsiteX276" fmla="*/ 442055 w 458152"/>
                <a:gd name="connsiteY276" fmla="*/ 449389 h 493775"/>
                <a:gd name="connsiteX277" fmla="*/ 447865 w 458152"/>
                <a:gd name="connsiteY277" fmla="*/ 452247 h 493775"/>
                <a:gd name="connsiteX278" fmla="*/ 439864 w 458152"/>
                <a:gd name="connsiteY278" fmla="*/ 460534 h 493775"/>
                <a:gd name="connsiteX279" fmla="*/ 427101 w 458152"/>
                <a:gd name="connsiteY279" fmla="*/ 460438 h 493775"/>
                <a:gd name="connsiteX280" fmla="*/ 415195 w 458152"/>
                <a:gd name="connsiteY280" fmla="*/ 467487 h 493775"/>
                <a:gd name="connsiteX281" fmla="*/ 414147 w 458152"/>
                <a:gd name="connsiteY281" fmla="*/ 473012 h 493775"/>
                <a:gd name="connsiteX282" fmla="*/ 410528 w 458152"/>
                <a:gd name="connsiteY282" fmla="*/ 473488 h 493775"/>
                <a:gd name="connsiteX283" fmla="*/ 405765 w 458152"/>
                <a:gd name="connsiteY283" fmla="*/ 465106 h 493775"/>
                <a:gd name="connsiteX284" fmla="*/ 395002 w 458152"/>
                <a:gd name="connsiteY284" fmla="*/ 466534 h 493775"/>
                <a:gd name="connsiteX285" fmla="*/ 390906 w 458152"/>
                <a:gd name="connsiteY285" fmla="*/ 463391 h 493775"/>
                <a:gd name="connsiteX286" fmla="*/ 385286 w 458152"/>
                <a:gd name="connsiteY286" fmla="*/ 462343 h 493775"/>
                <a:gd name="connsiteX287" fmla="*/ 383953 w 458152"/>
                <a:gd name="connsiteY287" fmla="*/ 466154 h 493775"/>
                <a:gd name="connsiteX288" fmla="*/ 386429 w 458152"/>
                <a:gd name="connsiteY288" fmla="*/ 471297 h 493775"/>
                <a:gd name="connsiteX289" fmla="*/ 385096 w 458152"/>
                <a:gd name="connsiteY289" fmla="*/ 475107 h 493775"/>
                <a:gd name="connsiteX290" fmla="*/ 367474 w 458152"/>
                <a:gd name="connsiteY290" fmla="*/ 493776 h 493775"/>
                <a:gd name="connsiteX291" fmla="*/ 361855 w 458152"/>
                <a:gd name="connsiteY291" fmla="*/ 492633 h 493775"/>
                <a:gd name="connsiteX292" fmla="*/ 351187 w 458152"/>
                <a:gd name="connsiteY292" fmla="*/ 481298 h 493775"/>
                <a:gd name="connsiteX293" fmla="*/ 345186 w 458152"/>
                <a:gd name="connsiteY293" fmla="*/ 476726 h 493775"/>
                <a:gd name="connsiteX294" fmla="*/ 339757 w 458152"/>
                <a:gd name="connsiteY294" fmla="*/ 477393 h 493775"/>
                <a:gd name="connsiteX295" fmla="*/ 338804 w 458152"/>
                <a:gd name="connsiteY295" fmla="*/ 470345 h 493775"/>
                <a:gd name="connsiteX296" fmla="*/ 329851 w 458152"/>
                <a:gd name="connsiteY296" fmla="*/ 471488 h 493775"/>
                <a:gd name="connsiteX297" fmla="*/ 325088 w 458152"/>
                <a:gd name="connsiteY297" fmla="*/ 463105 h 493775"/>
                <a:gd name="connsiteX298" fmla="*/ 326422 w 458152"/>
                <a:gd name="connsiteY298" fmla="*/ 459296 h 493775"/>
                <a:gd name="connsiteX299" fmla="*/ 318230 w 458152"/>
                <a:gd name="connsiteY299" fmla="*/ 453104 h 493775"/>
                <a:gd name="connsiteX300" fmla="*/ 315754 w 458152"/>
                <a:gd name="connsiteY300" fmla="*/ 447961 h 493775"/>
                <a:gd name="connsiteX301" fmla="*/ 309943 w 458152"/>
                <a:gd name="connsiteY301" fmla="*/ 445103 h 493775"/>
                <a:gd name="connsiteX302" fmla="*/ 307372 w 458152"/>
                <a:gd name="connsiteY302" fmla="*/ 440055 h 493775"/>
                <a:gd name="connsiteX303" fmla="*/ 294989 w 458152"/>
                <a:gd name="connsiteY303" fmla="*/ 443484 h 493775"/>
                <a:gd name="connsiteX304" fmla="*/ 292608 w 458152"/>
                <a:gd name="connsiteY304" fmla="*/ 438341 h 493775"/>
                <a:gd name="connsiteX305" fmla="*/ 288703 w 458152"/>
                <a:gd name="connsiteY305" fmla="*/ 437102 h 493775"/>
                <a:gd name="connsiteX306" fmla="*/ 287655 w 458152"/>
                <a:gd name="connsiteY306" fmla="*/ 442627 h 493775"/>
                <a:gd name="connsiteX307" fmla="*/ 279368 w 458152"/>
                <a:gd name="connsiteY307" fmla="*/ 449199 h 493775"/>
                <a:gd name="connsiteX308" fmla="*/ 277368 w 458152"/>
                <a:gd name="connsiteY308" fmla="*/ 447580 h 493775"/>
                <a:gd name="connsiteX309" fmla="*/ 292513 w 458152"/>
                <a:gd name="connsiteY309" fmla="*/ 465582 h 493775"/>
                <a:gd name="connsiteX310" fmla="*/ 288036 w 458152"/>
                <a:gd name="connsiteY310" fmla="*/ 473392 h 493775"/>
                <a:gd name="connsiteX311" fmla="*/ 277273 w 458152"/>
                <a:gd name="connsiteY311" fmla="*/ 474821 h 493775"/>
                <a:gd name="connsiteX312" fmla="*/ 271367 w 458152"/>
                <a:gd name="connsiteY312" fmla="*/ 471964 h 493775"/>
                <a:gd name="connsiteX313" fmla="*/ 268700 w 458152"/>
                <a:gd name="connsiteY313" fmla="*/ 465106 h 493775"/>
                <a:gd name="connsiteX314" fmla="*/ 272605 w 458152"/>
                <a:gd name="connsiteY314" fmla="*/ 453676 h 493775"/>
                <a:gd name="connsiteX315" fmla="*/ 262509 w 458152"/>
                <a:gd name="connsiteY315" fmla="*/ 445960 h 493775"/>
                <a:gd name="connsiteX316" fmla="*/ 264700 w 458152"/>
                <a:gd name="connsiteY316" fmla="*/ 434816 h 493775"/>
                <a:gd name="connsiteX317" fmla="*/ 261461 w 458152"/>
                <a:gd name="connsiteY317" fmla="*/ 424339 h 493775"/>
                <a:gd name="connsiteX318" fmla="*/ 256032 w 458152"/>
                <a:gd name="connsiteY318" fmla="*/ 425101 h 493775"/>
                <a:gd name="connsiteX319" fmla="*/ 257365 w 458152"/>
                <a:gd name="connsiteY319" fmla="*/ 421291 h 493775"/>
                <a:gd name="connsiteX320" fmla="*/ 253365 w 458152"/>
                <a:gd name="connsiteY320" fmla="*/ 418147 h 493775"/>
                <a:gd name="connsiteX321" fmla="*/ 249936 w 458152"/>
                <a:gd name="connsiteY321" fmla="*/ 420434 h 493775"/>
                <a:gd name="connsiteX322" fmla="*/ 238125 w 458152"/>
                <a:gd name="connsiteY322" fmla="*/ 427387 h 493775"/>
                <a:gd name="connsiteX323" fmla="*/ 238601 w 458152"/>
                <a:gd name="connsiteY323" fmla="*/ 431006 h 493775"/>
                <a:gd name="connsiteX324" fmla="*/ 231172 w 458152"/>
                <a:gd name="connsiteY324" fmla="*/ 430149 h 493775"/>
                <a:gd name="connsiteX325" fmla="*/ 227743 w 458152"/>
                <a:gd name="connsiteY325" fmla="*/ 432435 h 493775"/>
                <a:gd name="connsiteX326" fmla="*/ 224409 w 458152"/>
                <a:gd name="connsiteY326" fmla="*/ 434626 h 493775"/>
                <a:gd name="connsiteX327" fmla="*/ 219075 w 458152"/>
                <a:gd name="connsiteY327" fmla="*/ 435388 h 493775"/>
                <a:gd name="connsiteX328" fmla="*/ 217456 w 458152"/>
                <a:gd name="connsiteY328" fmla="*/ 437388 h 493775"/>
                <a:gd name="connsiteX329" fmla="*/ 215932 w 458152"/>
                <a:gd name="connsiteY329" fmla="*/ 439388 h 493775"/>
                <a:gd name="connsiteX330" fmla="*/ 196215 w 458152"/>
                <a:gd name="connsiteY330" fmla="*/ 442055 h 493775"/>
                <a:gd name="connsiteX331" fmla="*/ 194120 w 458152"/>
                <a:gd name="connsiteY331" fmla="*/ 440531 h 493775"/>
                <a:gd name="connsiteX332" fmla="*/ 192596 w 458152"/>
                <a:gd name="connsiteY332" fmla="*/ 442531 h 493775"/>
                <a:gd name="connsiteX333" fmla="*/ 186690 w 458152"/>
                <a:gd name="connsiteY333" fmla="*/ 439674 h 493775"/>
                <a:gd name="connsiteX334" fmla="*/ 189643 w 458152"/>
                <a:gd name="connsiteY334" fmla="*/ 433864 h 493775"/>
                <a:gd name="connsiteX335" fmla="*/ 187833 w 458152"/>
                <a:gd name="connsiteY335" fmla="*/ 434054 h 493775"/>
                <a:gd name="connsiteX336" fmla="*/ 182404 w 458152"/>
                <a:gd name="connsiteY336" fmla="*/ 434816 h 493775"/>
                <a:gd name="connsiteX337" fmla="*/ 185928 w 458152"/>
                <a:gd name="connsiteY337" fmla="*/ 419862 h 493775"/>
                <a:gd name="connsiteX338" fmla="*/ 182308 w 458152"/>
                <a:gd name="connsiteY338" fmla="*/ 420338 h 493775"/>
                <a:gd name="connsiteX339" fmla="*/ 180022 w 458152"/>
                <a:gd name="connsiteY339" fmla="*/ 417005 h 493775"/>
                <a:gd name="connsiteX340" fmla="*/ 176498 w 458152"/>
                <a:gd name="connsiteY340" fmla="*/ 417481 h 493775"/>
                <a:gd name="connsiteX341" fmla="*/ 173926 w 458152"/>
                <a:gd name="connsiteY341" fmla="*/ 412337 h 493775"/>
                <a:gd name="connsiteX342" fmla="*/ 168307 w 458152"/>
                <a:gd name="connsiteY342" fmla="*/ 411289 h 493775"/>
                <a:gd name="connsiteX343" fmla="*/ 162211 w 458152"/>
                <a:gd name="connsiteY343" fmla="*/ 406622 h 493775"/>
                <a:gd name="connsiteX344" fmla="*/ 163544 w 458152"/>
                <a:gd name="connsiteY344" fmla="*/ 402812 h 493775"/>
                <a:gd name="connsiteX345" fmla="*/ 168688 w 458152"/>
                <a:gd name="connsiteY345" fmla="*/ 400336 h 493775"/>
                <a:gd name="connsiteX346" fmla="*/ 169069 w 458152"/>
                <a:gd name="connsiteY346" fmla="*/ 389382 h 493775"/>
                <a:gd name="connsiteX347" fmla="*/ 172498 w 458152"/>
                <a:gd name="connsiteY347" fmla="*/ 387191 h 493775"/>
                <a:gd name="connsiteX348" fmla="*/ 169736 w 458152"/>
                <a:gd name="connsiteY348" fmla="*/ 380238 h 493775"/>
                <a:gd name="connsiteX349" fmla="*/ 156400 w 458152"/>
                <a:gd name="connsiteY349" fmla="*/ 376618 h 493775"/>
                <a:gd name="connsiteX350" fmla="*/ 154400 w 458152"/>
                <a:gd name="connsiteY350" fmla="*/ 374999 h 493775"/>
                <a:gd name="connsiteX351" fmla="*/ 159067 w 458152"/>
                <a:gd name="connsiteY351" fmla="*/ 368998 h 493775"/>
                <a:gd name="connsiteX352" fmla="*/ 158591 w 458152"/>
                <a:gd name="connsiteY352" fmla="*/ 365474 h 493775"/>
                <a:gd name="connsiteX353" fmla="*/ 159734 w 458152"/>
                <a:gd name="connsiteY353" fmla="*/ 359855 h 493775"/>
                <a:gd name="connsiteX354" fmla="*/ 159448 w 458152"/>
                <a:gd name="connsiteY354" fmla="*/ 358045 h 493775"/>
                <a:gd name="connsiteX355" fmla="*/ 152019 w 458152"/>
                <a:gd name="connsiteY355" fmla="*/ 357188 h 493775"/>
                <a:gd name="connsiteX356" fmla="*/ 144494 w 458152"/>
                <a:gd name="connsiteY356" fmla="*/ 369094 h 493775"/>
                <a:gd name="connsiteX357" fmla="*/ 141732 w 458152"/>
                <a:gd name="connsiteY357" fmla="*/ 362236 h 493775"/>
                <a:gd name="connsiteX358" fmla="*/ 137731 w 458152"/>
                <a:gd name="connsiteY358" fmla="*/ 359092 h 493775"/>
                <a:gd name="connsiteX359" fmla="*/ 133159 w 458152"/>
                <a:gd name="connsiteY359" fmla="*/ 352520 h 493775"/>
                <a:gd name="connsiteX360" fmla="*/ 124396 w 458152"/>
                <a:gd name="connsiteY360" fmla="*/ 355473 h 493775"/>
                <a:gd name="connsiteX361" fmla="*/ 120587 w 458152"/>
                <a:gd name="connsiteY361" fmla="*/ 354139 h 493775"/>
                <a:gd name="connsiteX362" fmla="*/ 114490 w 458152"/>
                <a:gd name="connsiteY362" fmla="*/ 349472 h 493775"/>
                <a:gd name="connsiteX363" fmla="*/ 107728 w 458152"/>
                <a:gd name="connsiteY363" fmla="*/ 354044 h 493775"/>
                <a:gd name="connsiteX364" fmla="*/ 103251 w 458152"/>
                <a:gd name="connsiteY364" fmla="*/ 347377 h 493775"/>
                <a:gd name="connsiteX365" fmla="*/ 106108 w 458152"/>
                <a:gd name="connsiteY365" fmla="*/ 341567 h 493775"/>
                <a:gd name="connsiteX366" fmla="*/ 112586 w 458152"/>
                <a:gd name="connsiteY366" fmla="*/ 335280 h 493775"/>
                <a:gd name="connsiteX367" fmla="*/ 112109 w 458152"/>
                <a:gd name="connsiteY367" fmla="*/ 331660 h 493775"/>
                <a:gd name="connsiteX368" fmla="*/ 98870 w 458152"/>
                <a:gd name="connsiteY368" fmla="*/ 328041 h 493775"/>
                <a:gd name="connsiteX369" fmla="*/ 98774 w 458152"/>
                <a:gd name="connsiteY369" fmla="*/ 313563 h 493775"/>
                <a:gd name="connsiteX370" fmla="*/ 96488 w 458152"/>
                <a:gd name="connsiteY370" fmla="*/ 310229 h 493775"/>
                <a:gd name="connsiteX371" fmla="*/ 93154 w 458152"/>
                <a:gd name="connsiteY371" fmla="*/ 312420 h 493775"/>
                <a:gd name="connsiteX372" fmla="*/ 97250 w 458152"/>
                <a:gd name="connsiteY372" fmla="*/ 315563 h 493775"/>
                <a:gd name="connsiteX373" fmla="*/ 92297 w 458152"/>
                <a:gd name="connsiteY373" fmla="*/ 319850 h 493775"/>
                <a:gd name="connsiteX374" fmla="*/ 91154 w 458152"/>
                <a:gd name="connsiteY374" fmla="*/ 325374 h 493775"/>
                <a:gd name="connsiteX375" fmla="*/ 87630 w 458152"/>
                <a:gd name="connsiteY375" fmla="*/ 325850 h 493775"/>
                <a:gd name="connsiteX376" fmla="*/ 86868 w 458152"/>
                <a:gd name="connsiteY376" fmla="*/ 320516 h 493775"/>
                <a:gd name="connsiteX377" fmla="*/ 83534 w 458152"/>
                <a:gd name="connsiteY377" fmla="*/ 322802 h 493775"/>
                <a:gd name="connsiteX378" fmla="*/ 82677 w 458152"/>
                <a:gd name="connsiteY378" fmla="*/ 330137 h 493775"/>
                <a:gd name="connsiteX379" fmla="*/ 80867 w 458152"/>
                <a:gd name="connsiteY379" fmla="*/ 330422 h 493775"/>
                <a:gd name="connsiteX380" fmla="*/ 80391 w 458152"/>
                <a:gd name="connsiteY380" fmla="*/ 326803 h 493775"/>
                <a:gd name="connsiteX381" fmla="*/ 81534 w 458152"/>
                <a:gd name="connsiteY381" fmla="*/ 321278 h 493775"/>
                <a:gd name="connsiteX382" fmla="*/ 80772 w 458152"/>
                <a:gd name="connsiteY382" fmla="*/ 315944 h 493775"/>
                <a:gd name="connsiteX383" fmla="*/ 76962 w 458152"/>
                <a:gd name="connsiteY383" fmla="*/ 314611 h 493775"/>
                <a:gd name="connsiteX384" fmla="*/ 73342 w 458152"/>
                <a:gd name="connsiteY384" fmla="*/ 315087 h 493775"/>
                <a:gd name="connsiteX385" fmla="*/ 72962 w 458152"/>
                <a:gd name="connsiteY385" fmla="*/ 325946 h 493775"/>
                <a:gd name="connsiteX386" fmla="*/ 69151 w 458152"/>
                <a:gd name="connsiteY386" fmla="*/ 324707 h 493775"/>
                <a:gd name="connsiteX387" fmla="*/ 68675 w 458152"/>
                <a:gd name="connsiteY387" fmla="*/ 321088 h 493775"/>
                <a:gd name="connsiteX388" fmla="*/ 65341 w 458152"/>
                <a:gd name="connsiteY388" fmla="*/ 323374 h 493775"/>
                <a:gd name="connsiteX389" fmla="*/ 71628 w 458152"/>
                <a:gd name="connsiteY389" fmla="*/ 329755 h 493775"/>
                <a:gd name="connsiteX390" fmla="*/ 70580 w 458152"/>
                <a:gd name="connsiteY390" fmla="*/ 335375 h 493775"/>
                <a:gd name="connsiteX391" fmla="*/ 70771 w 458152"/>
                <a:gd name="connsiteY391" fmla="*/ 337185 h 493775"/>
                <a:gd name="connsiteX392" fmla="*/ 66484 w 458152"/>
                <a:gd name="connsiteY392" fmla="*/ 332327 h 493775"/>
                <a:gd name="connsiteX393" fmla="*/ 60007 w 458152"/>
                <a:gd name="connsiteY393" fmla="*/ 338614 h 493775"/>
                <a:gd name="connsiteX394" fmla="*/ 67723 w 458152"/>
                <a:gd name="connsiteY394" fmla="*/ 341185 h 493775"/>
                <a:gd name="connsiteX395" fmla="*/ 68104 w 458152"/>
                <a:gd name="connsiteY395" fmla="*/ 344805 h 493775"/>
                <a:gd name="connsiteX396" fmla="*/ 68389 w 458152"/>
                <a:gd name="connsiteY396" fmla="*/ 346520 h 493775"/>
                <a:gd name="connsiteX397" fmla="*/ 61246 w 458152"/>
                <a:gd name="connsiteY397" fmla="*/ 347472 h 493775"/>
                <a:gd name="connsiteX398" fmla="*/ 62389 w 458152"/>
                <a:gd name="connsiteY398" fmla="*/ 356425 h 493775"/>
                <a:gd name="connsiteX399" fmla="*/ 56959 w 458152"/>
                <a:gd name="connsiteY399" fmla="*/ 357092 h 493775"/>
                <a:gd name="connsiteX400" fmla="*/ 42577 w 458152"/>
                <a:gd name="connsiteY400" fmla="*/ 344519 h 493775"/>
                <a:gd name="connsiteX401" fmla="*/ 33052 w 458152"/>
                <a:gd name="connsiteY401" fmla="*/ 342138 h 493775"/>
                <a:gd name="connsiteX402" fmla="*/ 30385 w 458152"/>
                <a:gd name="connsiteY402" fmla="*/ 335280 h 493775"/>
                <a:gd name="connsiteX403" fmla="*/ 24670 w 458152"/>
                <a:gd name="connsiteY403" fmla="*/ 334137 h 49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</a:cxnLst>
              <a:rect l="l" t="t" r="r" b="b"/>
              <a:pathLst>
                <a:path w="458152" h="493775">
                  <a:moveTo>
                    <a:pt x="24670" y="334137"/>
                  </a:moveTo>
                  <a:lnTo>
                    <a:pt x="25337" y="325088"/>
                  </a:lnTo>
                  <a:lnTo>
                    <a:pt x="24384" y="317945"/>
                  </a:lnTo>
                  <a:lnTo>
                    <a:pt x="27241" y="312039"/>
                  </a:lnTo>
                  <a:lnTo>
                    <a:pt x="30671" y="309848"/>
                  </a:lnTo>
                  <a:lnTo>
                    <a:pt x="27908" y="302990"/>
                  </a:lnTo>
                  <a:lnTo>
                    <a:pt x="20955" y="305657"/>
                  </a:lnTo>
                  <a:lnTo>
                    <a:pt x="17145" y="304324"/>
                  </a:lnTo>
                  <a:lnTo>
                    <a:pt x="14668" y="299275"/>
                  </a:lnTo>
                  <a:lnTo>
                    <a:pt x="19526" y="294989"/>
                  </a:lnTo>
                  <a:lnTo>
                    <a:pt x="15430" y="291941"/>
                  </a:lnTo>
                  <a:lnTo>
                    <a:pt x="16573" y="286321"/>
                  </a:lnTo>
                  <a:lnTo>
                    <a:pt x="21717" y="283845"/>
                  </a:lnTo>
                  <a:lnTo>
                    <a:pt x="11049" y="272510"/>
                  </a:lnTo>
                  <a:lnTo>
                    <a:pt x="11716" y="263366"/>
                  </a:lnTo>
                  <a:lnTo>
                    <a:pt x="14573" y="257556"/>
                  </a:lnTo>
                  <a:lnTo>
                    <a:pt x="22860" y="251079"/>
                  </a:lnTo>
                  <a:lnTo>
                    <a:pt x="25717" y="245173"/>
                  </a:lnTo>
                  <a:lnTo>
                    <a:pt x="18955" y="235267"/>
                  </a:lnTo>
                  <a:lnTo>
                    <a:pt x="32575" y="228029"/>
                  </a:lnTo>
                  <a:lnTo>
                    <a:pt x="33242" y="218884"/>
                  </a:lnTo>
                  <a:lnTo>
                    <a:pt x="26003" y="219742"/>
                  </a:lnTo>
                  <a:lnTo>
                    <a:pt x="22003" y="216694"/>
                  </a:lnTo>
                  <a:lnTo>
                    <a:pt x="23336" y="212884"/>
                  </a:lnTo>
                  <a:lnTo>
                    <a:pt x="26194" y="207073"/>
                  </a:lnTo>
                  <a:lnTo>
                    <a:pt x="20764" y="207835"/>
                  </a:lnTo>
                  <a:lnTo>
                    <a:pt x="21241" y="211360"/>
                  </a:lnTo>
                  <a:lnTo>
                    <a:pt x="17431" y="210026"/>
                  </a:lnTo>
                  <a:lnTo>
                    <a:pt x="9239" y="203835"/>
                  </a:lnTo>
                  <a:lnTo>
                    <a:pt x="6763" y="198787"/>
                  </a:lnTo>
                  <a:lnTo>
                    <a:pt x="8382" y="196787"/>
                  </a:lnTo>
                  <a:lnTo>
                    <a:pt x="7906" y="193167"/>
                  </a:lnTo>
                  <a:lnTo>
                    <a:pt x="0" y="188785"/>
                  </a:lnTo>
                  <a:lnTo>
                    <a:pt x="1524" y="186785"/>
                  </a:lnTo>
                  <a:lnTo>
                    <a:pt x="8763" y="185833"/>
                  </a:lnTo>
                  <a:lnTo>
                    <a:pt x="12763" y="188881"/>
                  </a:lnTo>
                  <a:lnTo>
                    <a:pt x="17812" y="199072"/>
                  </a:lnTo>
                  <a:lnTo>
                    <a:pt x="28384" y="195929"/>
                  </a:lnTo>
                  <a:lnTo>
                    <a:pt x="31528" y="191929"/>
                  </a:lnTo>
                  <a:lnTo>
                    <a:pt x="31051" y="188309"/>
                  </a:lnTo>
                  <a:lnTo>
                    <a:pt x="35909" y="184023"/>
                  </a:lnTo>
                  <a:lnTo>
                    <a:pt x="43529" y="172212"/>
                  </a:lnTo>
                  <a:lnTo>
                    <a:pt x="48863" y="171450"/>
                  </a:lnTo>
                  <a:lnTo>
                    <a:pt x="57531" y="154019"/>
                  </a:lnTo>
                  <a:lnTo>
                    <a:pt x="54292" y="143542"/>
                  </a:lnTo>
                  <a:lnTo>
                    <a:pt x="49339" y="133350"/>
                  </a:lnTo>
                  <a:lnTo>
                    <a:pt x="36481" y="133159"/>
                  </a:lnTo>
                  <a:lnTo>
                    <a:pt x="34480" y="131635"/>
                  </a:lnTo>
                  <a:lnTo>
                    <a:pt x="29051" y="132397"/>
                  </a:lnTo>
                  <a:lnTo>
                    <a:pt x="28575" y="128778"/>
                  </a:lnTo>
                  <a:lnTo>
                    <a:pt x="22955" y="127730"/>
                  </a:lnTo>
                  <a:lnTo>
                    <a:pt x="22765" y="126016"/>
                  </a:lnTo>
                  <a:lnTo>
                    <a:pt x="18955" y="124682"/>
                  </a:lnTo>
                  <a:lnTo>
                    <a:pt x="18193" y="119348"/>
                  </a:lnTo>
                  <a:lnTo>
                    <a:pt x="16192" y="117729"/>
                  </a:lnTo>
                  <a:lnTo>
                    <a:pt x="15716" y="114205"/>
                  </a:lnTo>
                  <a:lnTo>
                    <a:pt x="24670" y="112967"/>
                  </a:lnTo>
                  <a:lnTo>
                    <a:pt x="26003" y="109156"/>
                  </a:lnTo>
                  <a:lnTo>
                    <a:pt x="30480" y="101346"/>
                  </a:lnTo>
                  <a:lnTo>
                    <a:pt x="29337" y="92488"/>
                  </a:lnTo>
                  <a:lnTo>
                    <a:pt x="31337" y="94012"/>
                  </a:lnTo>
                  <a:lnTo>
                    <a:pt x="32671" y="90202"/>
                  </a:lnTo>
                  <a:lnTo>
                    <a:pt x="33242" y="81058"/>
                  </a:lnTo>
                  <a:lnTo>
                    <a:pt x="30766" y="75914"/>
                  </a:lnTo>
                  <a:lnTo>
                    <a:pt x="34576" y="77248"/>
                  </a:lnTo>
                  <a:lnTo>
                    <a:pt x="39338" y="85630"/>
                  </a:lnTo>
                  <a:lnTo>
                    <a:pt x="46768" y="86487"/>
                  </a:lnTo>
                  <a:lnTo>
                    <a:pt x="45815" y="79343"/>
                  </a:lnTo>
                  <a:lnTo>
                    <a:pt x="55626" y="70866"/>
                  </a:lnTo>
                  <a:lnTo>
                    <a:pt x="52673" y="62103"/>
                  </a:lnTo>
                  <a:lnTo>
                    <a:pt x="55626" y="56388"/>
                  </a:lnTo>
                  <a:lnTo>
                    <a:pt x="61436" y="59150"/>
                  </a:lnTo>
                  <a:lnTo>
                    <a:pt x="68389" y="56483"/>
                  </a:lnTo>
                  <a:lnTo>
                    <a:pt x="71247" y="50673"/>
                  </a:lnTo>
                  <a:lnTo>
                    <a:pt x="75152" y="51911"/>
                  </a:lnTo>
                  <a:lnTo>
                    <a:pt x="74866" y="50197"/>
                  </a:lnTo>
                  <a:lnTo>
                    <a:pt x="82772" y="54578"/>
                  </a:lnTo>
                  <a:lnTo>
                    <a:pt x="80581" y="65722"/>
                  </a:lnTo>
                  <a:lnTo>
                    <a:pt x="82391" y="65532"/>
                  </a:lnTo>
                  <a:lnTo>
                    <a:pt x="87249" y="61150"/>
                  </a:lnTo>
                  <a:lnTo>
                    <a:pt x="91154" y="62484"/>
                  </a:lnTo>
                  <a:lnTo>
                    <a:pt x="94202" y="58483"/>
                  </a:lnTo>
                  <a:lnTo>
                    <a:pt x="103441" y="59055"/>
                  </a:lnTo>
                  <a:lnTo>
                    <a:pt x="116681" y="48292"/>
                  </a:lnTo>
                  <a:lnTo>
                    <a:pt x="120301" y="47816"/>
                  </a:lnTo>
                  <a:lnTo>
                    <a:pt x="129064" y="59341"/>
                  </a:lnTo>
                  <a:lnTo>
                    <a:pt x="132874" y="60579"/>
                  </a:lnTo>
                  <a:lnTo>
                    <a:pt x="136303" y="58388"/>
                  </a:lnTo>
                  <a:lnTo>
                    <a:pt x="138303" y="59912"/>
                  </a:lnTo>
                  <a:lnTo>
                    <a:pt x="143923" y="60960"/>
                  </a:lnTo>
                  <a:lnTo>
                    <a:pt x="143446" y="57436"/>
                  </a:lnTo>
                  <a:lnTo>
                    <a:pt x="158305" y="59055"/>
                  </a:lnTo>
                  <a:lnTo>
                    <a:pt x="161639" y="56769"/>
                  </a:lnTo>
                  <a:lnTo>
                    <a:pt x="163925" y="60103"/>
                  </a:lnTo>
                  <a:lnTo>
                    <a:pt x="167259" y="57912"/>
                  </a:lnTo>
                  <a:lnTo>
                    <a:pt x="164782" y="52768"/>
                  </a:lnTo>
                  <a:lnTo>
                    <a:pt x="164021" y="47434"/>
                  </a:lnTo>
                  <a:lnTo>
                    <a:pt x="168497" y="39624"/>
                  </a:lnTo>
                  <a:lnTo>
                    <a:pt x="168021" y="36004"/>
                  </a:lnTo>
                  <a:lnTo>
                    <a:pt x="169545" y="34004"/>
                  </a:lnTo>
                  <a:lnTo>
                    <a:pt x="168878" y="28670"/>
                  </a:lnTo>
                  <a:lnTo>
                    <a:pt x="167449" y="17907"/>
                  </a:lnTo>
                  <a:lnTo>
                    <a:pt x="174212" y="13430"/>
                  </a:lnTo>
                  <a:lnTo>
                    <a:pt x="171736" y="8382"/>
                  </a:lnTo>
                  <a:lnTo>
                    <a:pt x="176879" y="5810"/>
                  </a:lnTo>
                  <a:lnTo>
                    <a:pt x="182213" y="5143"/>
                  </a:lnTo>
                  <a:lnTo>
                    <a:pt x="184499" y="8477"/>
                  </a:lnTo>
                  <a:lnTo>
                    <a:pt x="188119" y="8001"/>
                  </a:lnTo>
                  <a:lnTo>
                    <a:pt x="192976" y="3715"/>
                  </a:lnTo>
                  <a:lnTo>
                    <a:pt x="195739" y="10573"/>
                  </a:lnTo>
                  <a:lnTo>
                    <a:pt x="205454" y="14764"/>
                  </a:lnTo>
                  <a:lnTo>
                    <a:pt x="210312" y="10477"/>
                  </a:lnTo>
                  <a:lnTo>
                    <a:pt x="214408" y="13621"/>
                  </a:lnTo>
                  <a:lnTo>
                    <a:pt x="219837" y="12859"/>
                  </a:lnTo>
                  <a:lnTo>
                    <a:pt x="220028" y="14668"/>
                  </a:lnTo>
                  <a:lnTo>
                    <a:pt x="221837" y="14383"/>
                  </a:lnTo>
                  <a:lnTo>
                    <a:pt x="230314" y="9620"/>
                  </a:lnTo>
                  <a:lnTo>
                    <a:pt x="233934" y="9144"/>
                  </a:lnTo>
                  <a:lnTo>
                    <a:pt x="231934" y="7620"/>
                  </a:lnTo>
                  <a:lnTo>
                    <a:pt x="232981" y="2000"/>
                  </a:lnTo>
                  <a:lnTo>
                    <a:pt x="234601" y="0"/>
                  </a:lnTo>
                  <a:lnTo>
                    <a:pt x="247840" y="3715"/>
                  </a:lnTo>
                  <a:lnTo>
                    <a:pt x="262509" y="18097"/>
                  </a:lnTo>
                  <a:lnTo>
                    <a:pt x="270605" y="9811"/>
                  </a:lnTo>
                  <a:lnTo>
                    <a:pt x="280035" y="12192"/>
                  </a:lnTo>
                  <a:lnTo>
                    <a:pt x="279559" y="8572"/>
                  </a:lnTo>
                  <a:lnTo>
                    <a:pt x="273939" y="7525"/>
                  </a:lnTo>
                  <a:lnTo>
                    <a:pt x="275463" y="5429"/>
                  </a:lnTo>
                  <a:lnTo>
                    <a:pt x="287179" y="11239"/>
                  </a:lnTo>
                  <a:lnTo>
                    <a:pt x="290989" y="12478"/>
                  </a:lnTo>
                  <a:lnTo>
                    <a:pt x="294418" y="10192"/>
                  </a:lnTo>
                  <a:lnTo>
                    <a:pt x="298228" y="11525"/>
                  </a:lnTo>
                  <a:lnTo>
                    <a:pt x="303086" y="7239"/>
                  </a:lnTo>
                  <a:lnTo>
                    <a:pt x="301562" y="9334"/>
                  </a:lnTo>
                  <a:lnTo>
                    <a:pt x="320421" y="14002"/>
                  </a:lnTo>
                  <a:lnTo>
                    <a:pt x="323469" y="22670"/>
                  </a:lnTo>
                  <a:lnTo>
                    <a:pt x="328803" y="22003"/>
                  </a:lnTo>
                  <a:lnTo>
                    <a:pt x="330613" y="21717"/>
                  </a:lnTo>
                  <a:lnTo>
                    <a:pt x="354044" y="33147"/>
                  </a:lnTo>
                  <a:lnTo>
                    <a:pt x="359664" y="34195"/>
                  </a:lnTo>
                  <a:lnTo>
                    <a:pt x="371856" y="43529"/>
                  </a:lnTo>
                  <a:lnTo>
                    <a:pt x="381381" y="45910"/>
                  </a:lnTo>
                  <a:lnTo>
                    <a:pt x="400812" y="41434"/>
                  </a:lnTo>
                  <a:lnTo>
                    <a:pt x="401098" y="43243"/>
                  </a:lnTo>
                  <a:lnTo>
                    <a:pt x="394145" y="46006"/>
                  </a:lnTo>
                  <a:lnTo>
                    <a:pt x="392811" y="49816"/>
                  </a:lnTo>
                  <a:lnTo>
                    <a:pt x="389477" y="52006"/>
                  </a:lnTo>
                  <a:lnTo>
                    <a:pt x="387667" y="52292"/>
                  </a:lnTo>
                  <a:lnTo>
                    <a:pt x="386620" y="57817"/>
                  </a:lnTo>
                  <a:lnTo>
                    <a:pt x="390430" y="59150"/>
                  </a:lnTo>
                  <a:lnTo>
                    <a:pt x="395192" y="67627"/>
                  </a:lnTo>
                  <a:lnTo>
                    <a:pt x="399002" y="68961"/>
                  </a:lnTo>
                  <a:lnTo>
                    <a:pt x="397955" y="74485"/>
                  </a:lnTo>
                  <a:lnTo>
                    <a:pt x="390715" y="75438"/>
                  </a:lnTo>
                  <a:lnTo>
                    <a:pt x="382048" y="78391"/>
                  </a:lnTo>
                  <a:lnTo>
                    <a:pt x="379952" y="76867"/>
                  </a:lnTo>
                  <a:lnTo>
                    <a:pt x="377476" y="71723"/>
                  </a:lnTo>
                  <a:lnTo>
                    <a:pt x="371570" y="68866"/>
                  </a:lnTo>
                  <a:lnTo>
                    <a:pt x="368237" y="71152"/>
                  </a:lnTo>
                  <a:lnTo>
                    <a:pt x="365760" y="66104"/>
                  </a:lnTo>
                  <a:lnTo>
                    <a:pt x="364617" y="71628"/>
                  </a:lnTo>
                  <a:lnTo>
                    <a:pt x="362426" y="68294"/>
                  </a:lnTo>
                  <a:lnTo>
                    <a:pt x="354711" y="65722"/>
                  </a:lnTo>
                  <a:lnTo>
                    <a:pt x="348424" y="59246"/>
                  </a:lnTo>
                  <a:lnTo>
                    <a:pt x="351187" y="66199"/>
                  </a:lnTo>
                  <a:lnTo>
                    <a:pt x="349377" y="66389"/>
                  </a:lnTo>
                  <a:lnTo>
                    <a:pt x="350044" y="71723"/>
                  </a:lnTo>
                  <a:lnTo>
                    <a:pt x="346615" y="74009"/>
                  </a:lnTo>
                  <a:lnTo>
                    <a:pt x="346900" y="75819"/>
                  </a:lnTo>
                  <a:lnTo>
                    <a:pt x="349853" y="84487"/>
                  </a:lnTo>
                  <a:lnTo>
                    <a:pt x="348805" y="90011"/>
                  </a:lnTo>
                  <a:lnTo>
                    <a:pt x="350806" y="91630"/>
                  </a:lnTo>
                  <a:lnTo>
                    <a:pt x="356235" y="90868"/>
                  </a:lnTo>
                  <a:lnTo>
                    <a:pt x="354711" y="92869"/>
                  </a:lnTo>
                  <a:lnTo>
                    <a:pt x="355187" y="96488"/>
                  </a:lnTo>
                  <a:lnTo>
                    <a:pt x="352044" y="100489"/>
                  </a:lnTo>
                  <a:lnTo>
                    <a:pt x="349377" y="108109"/>
                  </a:lnTo>
                  <a:lnTo>
                    <a:pt x="344424" y="112395"/>
                  </a:lnTo>
                  <a:lnTo>
                    <a:pt x="341852" y="120015"/>
                  </a:lnTo>
                  <a:lnTo>
                    <a:pt x="350996" y="120587"/>
                  </a:lnTo>
                  <a:lnTo>
                    <a:pt x="359759" y="117634"/>
                  </a:lnTo>
                  <a:lnTo>
                    <a:pt x="362045" y="120967"/>
                  </a:lnTo>
                  <a:lnTo>
                    <a:pt x="369189" y="120015"/>
                  </a:lnTo>
                  <a:lnTo>
                    <a:pt x="372808" y="119539"/>
                  </a:lnTo>
                  <a:lnTo>
                    <a:pt x="382048" y="120110"/>
                  </a:lnTo>
                  <a:lnTo>
                    <a:pt x="384524" y="125254"/>
                  </a:lnTo>
                  <a:lnTo>
                    <a:pt x="394430" y="131159"/>
                  </a:lnTo>
                  <a:lnTo>
                    <a:pt x="405479" y="131540"/>
                  </a:lnTo>
                  <a:lnTo>
                    <a:pt x="407003" y="129540"/>
                  </a:lnTo>
                  <a:lnTo>
                    <a:pt x="409289" y="132779"/>
                  </a:lnTo>
                  <a:lnTo>
                    <a:pt x="412432" y="128778"/>
                  </a:lnTo>
                  <a:lnTo>
                    <a:pt x="412623" y="130588"/>
                  </a:lnTo>
                  <a:lnTo>
                    <a:pt x="418052" y="129826"/>
                  </a:lnTo>
                  <a:lnTo>
                    <a:pt x="418529" y="133445"/>
                  </a:lnTo>
                  <a:lnTo>
                    <a:pt x="423481" y="129159"/>
                  </a:lnTo>
                  <a:lnTo>
                    <a:pt x="427291" y="130397"/>
                  </a:lnTo>
                  <a:lnTo>
                    <a:pt x="429292" y="132017"/>
                  </a:lnTo>
                  <a:lnTo>
                    <a:pt x="425958" y="134207"/>
                  </a:lnTo>
                  <a:lnTo>
                    <a:pt x="416909" y="135446"/>
                  </a:lnTo>
                  <a:lnTo>
                    <a:pt x="412909" y="132302"/>
                  </a:lnTo>
                  <a:lnTo>
                    <a:pt x="405955" y="135064"/>
                  </a:lnTo>
                  <a:lnTo>
                    <a:pt x="399955" y="144971"/>
                  </a:lnTo>
                  <a:lnTo>
                    <a:pt x="403765" y="146209"/>
                  </a:lnTo>
                  <a:lnTo>
                    <a:pt x="405193" y="156972"/>
                  </a:lnTo>
                  <a:lnTo>
                    <a:pt x="403670" y="158972"/>
                  </a:lnTo>
                  <a:lnTo>
                    <a:pt x="398431" y="161449"/>
                  </a:lnTo>
                  <a:lnTo>
                    <a:pt x="392811" y="160401"/>
                  </a:lnTo>
                  <a:lnTo>
                    <a:pt x="387953" y="164687"/>
                  </a:lnTo>
                  <a:lnTo>
                    <a:pt x="390430" y="169735"/>
                  </a:lnTo>
                  <a:lnTo>
                    <a:pt x="384905" y="183166"/>
                  </a:lnTo>
                  <a:lnTo>
                    <a:pt x="391192" y="189643"/>
                  </a:lnTo>
                  <a:lnTo>
                    <a:pt x="390144" y="195167"/>
                  </a:lnTo>
                  <a:lnTo>
                    <a:pt x="394430" y="200025"/>
                  </a:lnTo>
                  <a:lnTo>
                    <a:pt x="393382" y="205645"/>
                  </a:lnTo>
                  <a:lnTo>
                    <a:pt x="399669" y="212026"/>
                  </a:lnTo>
                  <a:lnTo>
                    <a:pt x="399955" y="213836"/>
                  </a:lnTo>
                  <a:lnTo>
                    <a:pt x="396335" y="214313"/>
                  </a:lnTo>
                  <a:lnTo>
                    <a:pt x="398336" y="215837"/>
                  </a:lnTo>
                  <a:lnTo>
                    <a:pt x="399383" y="237458"/>
                  </a:lnTo>
                  <a:lnTo>
                    <a:pt x="405003" y="238506"/>
                  </a:lnTo>
                  <a:lnTo>
                    <a:pt x="407289" y="241840"/>
                  </a:lnTo>
                  <a:lnTo>
                    <a:pt x="414433" y="240887"/>
                  </a:lnTo>
                  <a:lnTo>
                    <a:pt x="418529" y="244030"/>
                  </a:lnTo>
                  <a:lnTo>
                    <a:pt x="415862" y="251650"/>
                  </a:lnTo>
                  <a:lnTo>
                    <a:pt x="419671" y="252889"/>
                  </a:lnTo>
                  <a:lnTo>
                    <a:pt x="422148" y="258032"/>
                  </a:lnTo>
                  <a:lnTo>
                    <a:pt x="418814" y="260318"/>
                  </a:lnTo>
                  <a:lnTo>
                    <a:pt x="426053" y="259366"/>
                  </a:lnTo>
                  <a:lnTo>
                    <a:pt x="428530" y="264414"/>
                  </a:lnTo>
                  <a:lnTo>
                    <a:pt x="425672" y="270320"/>
                  </a:lnTo>
                  <a:lnTo>
                    <a:pt x="423577" y="268700"/>
                  </a:lnTo>
                  <a:lnTo>
                    <a:pt x="420243" y="270986"/>
                  </a:lnTo>
                  <a:lnTo>
                    <a:pt x="414909" y="271748"/>
                  </a:lnTo>
                  <a:lnTo>
                    <a:pt x="411575" y="273939"/>
                  </a:lnTo>
                  <a:lnTo>
                    <a:pt x="404146" y="273082"/>
                  </a:lnTo>
                  <a:lnTo>
                    <a:pt x="401193" y="278892"/>
                  </a:lnTo>
                  <a:lnTo>
                    <a:pt x="401955" y="284321"/>
                  </a:lnTo>
                  <a:lnTo>
                    <a:pt x="397478" y="292132"/>
                  </a:lnTo>
                  <a:lnTo>
                    <a:pt x="398431" y="299275"/>
                  </a:lnTo>
                  <a:lnTo>
                    <a:pt x="403765" y="298513"/>
                  </a:lnTo>
                  <a:lnTo>
                    <a:pt x="405384" y="296513"/>
                  </a:lnTo>
                  <a:lnTo>
                    <a:pt x="409004" y="296037"/>
                  </a:lnTo>
                  <a:lnTo>
                    <a:pt x="408337" y="305181"/>
                  </a:lnTo>
                  <a:lnTo>
                    <a:pt x="429768" y="315087"/>
                  </a:lnTo>
                  <a:lnTo>
                    <a:pt x="438340" y="324802"/>
                  </a:lnTo>
                  <a:lnTo>
                    <a:pt x="451866" y="330232"/>
                  </a:lnTo>
                  <a:lnTo>
                    <a:pt x="458153" y="336613"/>
                  </a:lnTo>
                  <a:lnTo>
                    <a:pt x="457390" y="344043"/>
                  </a:lnTo>
                  <a:lnTo>
                    <a:pt x="455771" y="346043"/>
                  </a:lnTo>
                  <a:lnTo>
                    <a:pt x="453962" y="346329"/>
                  </a:lnTo>
                  <a:lnTo>
                    <a:pt x="456438" y="351377"/>
                  </a:lnTo>
                  <a:lnTo>
                    <a:pt x="451771" y="357473"/>
                  </a:lnTo>
                  <a:lnTo>
                    <a:pt x="439674" y="348139"/>
                  </a:lnTo>
                  <a:lnTo>
                    <a:pt x="435292" y="343281"/>
                  </a:lnTo>
                  <a:lnTo>
                    <a:pt x="427672" y="340709"/>
                  </a:lnTo>
                  <a:lnTo>
                    <a:pt x="419386" y="347281"/>
                  </a:lnTo>
                  <a:lnTo>
                    <a:pt x="418338" y="352806"/>
                  </a:lnTo>
                  <a:lnTo>
                    <a:pt x="416719" y="354806"/>
                  </a:lnTo>
                  <a:lnTo>
                    <a:pt x="421481" y="363284"/>
                  </a:lnTo>
                  <a:lnTo>
                    <a:pt x="425577" y="366331"/>
                  </a:lnTo>
                  <a:lnTo>
                    <a:pt x="430339" y="374809"/>
                  </a:lnTo>
                  <a:lnTo>
                    <a:pt x="434245" y="390620"/>
                  </a:lnTo>
                  <a:lnTo>
                    <a:pt x="431101" y="394621"/>
                  </a:lnTo>
                  <a:lnTo>
                    <a:pt x="438626" y="395478"/>
                  </a:lnTo>
                  <a:lnTo>
                    <a:pt x="442627" y="398526"/>
                  </a:lnTo>
                  <a:lnTo>
                    <a:pt x="441103" y="400621"/>
                  </a:lnTo>
                  <a:lnTo>
                    <a:pt x="432054" y="401764"/>
                  </a:lnTo>
                  <a:lnTo>
                    <a:pt x="422243" y="410337"/>
                  </a:lnTo>
                  <a:lnTo>
                    <a:pt x="420338" y="423291"/>
                  </a:lnTo>
                  <a:lnTo>
                    <a:pt x="415195" y="425767"/>
                  </a:lnTo>
                  <a:lnTo>
                    <a:pt x="412528" y="433388"/>
                  </a:lnTo>
                  <a:lnTo>
                    <a:pt x="414528" y="434912"/>
                  </a:lnTo>
                  <a:lnTo>
                    <a:pt x="419957" y="434150"/>
                  </a:lnTo>
                  <a:lnTo>
                    <a:pt x="422434" y="439293"/>
                  </a:lnTo>
                  <a:lnTo>
                    <a:pt x="428815" y="445675"/>
                  </a:lnTo>
                  <a:lnTo>
                    <a:pt x="434149" y="445008"/>
                  </a:lnTo>
                  <a:lnTo>
                    <a:pt x="442055" y="449389"/>
                  </a:lnTo>
                  <a:lnTo>
                    <a:pt x="447865" y="452247"/>
                  </a:lnTo>
                  <a:lnTo>
                    <a:pt x="439864" y="460534"/>
                  </a:lnTo>
                  <a:lnTo>
                    <a:pt x="427101" y="460438"/>
                  </a:lnTo>
                  <a:lnTo>
                    <a:pt x="415195" y="467487"/>
                  </a:lnTo>
                  <a:lnTo>
                    <a:pt x="414147" y="473012"/>
                  </a:lnTo>
                  <a:lnTo>
                    <a:pt x="410528" y="473488"/>
                  </a:lnTo>
                  <a:lnTo>
                    <a:pt x="405765" y="465106"/>
                  </a:lnTo>
                  <a:lnTo>
                    <a:pt x="395002" y="466534"/>
                  </a:lnTo>
                  <a:lnTo>
                    <a:pt x="390906" y="463391"/>
                  </a:lnTo>
                  <a:lnTo>
                    <a:pt x="385286" y="462343"/>
                  </a:lnTo>
                  <a:lnTo>
                    <a:pt x="383953" y="466154"/>
                  </a:lnTo>
                  <a:lnTo>
                    <a:pt x="386429" y="471297"/>
                  </a:lnTo>
                  <a:lnTo>
                    <a:pt x="385096" y="475107"/>
                  </a:lnTo>
                  <a:lnTo>
                    <a:pt x="367474" y="493776"/>
                  </a:lnTo>
                  <a:lnTo>
                    <a:pt x="361855" y="492633"/>
                  </a:lnTo>
                  <a:lnTo>
                    <a:pt x="351187" y="481298"/>
                  </a:lnTo>
                  <a:lnTo>
                    <a:pt x="345186" y="476726"/>
                  </a:lnTo>
                  <a:lnTo>
                    <a:pt x="339757" y="477393"/>
                  </a:lnTo>
                  <a:lnTo>
                    <a:pt x="338804" y="470345"/>
                  </a:lnTo>
                  <a:lnTo>
                    <a:pt x="329851" y="471488"/>
                  </a:lnTo>
                  <a:lnTo>
                    <a:pt x="325088" y="463105"/>
                  </a:lnTo>
                  <a:lnTo>
                    <a:pt x="326422" y="459296"/>
                  </a:lnTo>
                  <a:lnTo>
                    <a:pt x="318230" y="453104"/>
                  </a:lnTo>
                  <a:lnTo>
                    <a:pt x="315754" y="447961"/>
                  </a:lnTo>
                  <a:lnTo>
                    <a:pt x="309943" y="445103"/>
                  </a:lnTo>
                  <a:lnTo>
                    <a:pt x="307372" y="440055"/>
                  </a:lnTo>
                  <a:lnTo>
                    <a:pt x="294989" y="443484"/>
                  </a:lnTo>
                  <a:lnTo>
                    <a:pt x="292608" y="438341"/>
                  </a:lnTo>
                  <a:lnTo>
                    <a:pt x="288703" y="437102"/>
                  </a:lnTo>
                  <a:lnTo>
                    <a:pt x="287655" y="442627"/>
                  </a:lnTo>
                  <a:lnTo>
                    <a:pt x="279368" y="449199"/>
                  </a:lnTo>
                  <a:lnTo>
                    <a:pt x="277368" y="447580"/>
                  </a:lnTo>
                  <a:lnTo>
                    <a:pt x="292513" y="465582"/>
                  </a:lnTo>
                  <a:lnTo>
                    <a:pt x="288036" y="473392"/>
                  </a:lnTo>
                  <a:lnTo>
                    <a:pt x="277273" y="474821"/>
                  </a:lnTo>
                  <a:lnTo>
                    <a:pt x="271367" y="471964"/>
                  </a:lnTo>
                  <a:lnTo>
                    <a:pt x="268700" y="465106"/>
                  </a:lnTo>
                  <a:lnTo>
                    <a:pt x="272605" y="453676"/>
                  </a:lnTo>
                  <a:lnTo>
                    <a:pt x="262509" y="445960"/>
                  </a:lnTo>
                  <a:lnTo>
                    <a:pt x="264700" y="434816"/>
                  </a:lnTo>
                  <a:lnTo>
                    <a:pt x="261461" y="424339"/>
                  </a:lnTo>
                  <a:lnTo>
                    <a:pt x="256032" y="425101"/>
                  </a:lnTo>
                  <a:lnTo>
                    <a:pt x="257365" y="421291"/>
                  </a:lnTo>
                  <a:lnTo>
                    <a:pt x="253365" y="418147"/>
                  </a:lnTo>
                  <a:lnTo>
                    <a:pt x="249936" y="420434"/>
                  </a:lnTo>
                  <a:lnTo>
                    <a:pt x="238125" y="427387"/>
                  </a:lnTo>
                  <a:lnTo>
                    <a:pt x="238601" y="431006"/>
                  </a:lnTo>
                  <a:lnTo>
                    <a:pt x="231172" y="430149"/>
                  </a:lnTo>
                  <a:lnTo>
                    <a:pt x="227743" y="432435"/>
                  </a:lnTo>
                  <a:lnTo>
                    <a:pt x="224409" y="434626"/>
                  </a:lnTo>
                  <a:lnTo>
                    <a:pt x="219075" y="435388"/>
                  </a:lnTo>
                  <a:lnTo>
                    <a:pt x="217456" y="437388"/>
                  </a:lnTo>
                  <a:lnTo>
                    <a:pt x="215932" y="439388"/>
                  </a:lnTo>
                  <a:lnTo>
                    <a:pt x="196215" y="442055"/>
                  </a:lnTo>
                  <a:lnTo>
                    <a:pt x="194120" y="440531"/>
                  </a:lnTo>
                  <a:lnTo>
                    <a:pt x="192596" y="442531"/>
                  </a:lnTo>
                  <a:lnTo>
                    <a:pt x="186690" y="439674"/>
                  </a:lnTo>
                  <a:lnTo>
                    <a:pt x="189643" y="433864"/>
                  </a:lnTo>
                  <a:lnTo>
                    <a:pt x="187833" y="434054"/>
                  </a:lnTo>
                  <a:lnTo>
                    <a:pt x="182404" y="434816"/>
                  </a:lnTo>
                  <a:lnTo>
                    <a:pt x="185928" y="419862"/>
                  </a:lnTo>
                  <a:lnTo>
                    <a:pt x="182308" y="420338"/>
                  </a:lnTo>
                  <a:lnTo>
                    <a:pt x="180022" y="417005"/>
                  </a:lnTo>
                  <a:lnTo>
                    <a:pt x="176498" y="417481"/>
                  </a:lnTo>
                  <a:lnTo>
                    <a:pt x="173926" y="412337"/>
                  </a:lnTo>
                  <a:lnTo>
                    <a:pt x="168307" y="411289"/>
                  </a:lnTo>
                  <a:lnTo>
                    <a:pt x="162211" y="406622"/>
                  </a:lnTo>
                  <a:lnTo>
                    <a:pt x="163544" y="402812"/>
                  </a:lnTo>
                  <a:lnTo>
                    <a:pt x="168688" y="400336"/>
                  </a:lnTo>
                  <a:lnTo>
                    <a:pt x="169069" y="389382"/>
                  </a:lnTo>
                  <a:lnTo>
                    <a:pt x="172498" y="387191"/>
                  </a:lnTo>
                  <a:lnTo>
                    <a:pt x="169736" y="380238"/>
                  </a:lnTo>
                  <a:lnTo>
                    <a:pt x="156400" y="376618"/>
                  </a:lnTo>
                  <a:lnTo>
                    <a:pt x="154400" y="374999"/>
                  </a:lnTo>
                  <a:lnTo>
                    <a:pt x="159067" y="368998"/>
                  </a:lnTo>
                  <a:lnTo>
                    <a:pt x="158591" y="365474"/>
                  </a:lnTo>
                  <a:lnTo>
                    <a:pt x="159734" y="359855"/>
                  </a:lnTo>
                  <a:lnTo>
                    <a:pt x="159448" y="358045"/>
                  </a:lnTo>
                  <a:lnTo>
                    <a:pt x="152019" y="357188"/>
                  </a:lnTo>
                  <a:lnTo>
                    <a:pt x="144494" y="369094"/>
                  </a:lnTo>
                  <a:lnTo>
                    <a:pt x="141732" y="362236"/>
                  </a:lnTo>
                  <a:lnTo>
                    <a:pt x="137731" y="359092"/>
                  </a:lnTo>
                  <a:lnTo>
                    <a:pt x="133159" y="352520"/>
                  </a:lnTo>
                  <a:lnTo>
                    <a:pt x="124396" y="355473"/>
                  </a:lnTo>
                  <a:lnTo>
                    <a:pt x="120587" y="354139"/>
                  </a:lnTo>
                  <a:lnTo>
                    <a:pt x="114490" y="349472"/>
                  </a:lnTo>
                  <a:lnTo>
                    <a:pt x="107728" y="354044"/>
                  </a:lnTo>
                  <a:lnTo>
                    <a:pt x="103251" y="347377"/>
                  </a:lnTo>
                  <a:lnTo>
                    <a:pt x="106108" y="341567"/>
                  </a:lnTo>
                  <a:lnTo>
                    <a:pt x="112586" y="335280"/>
                  </a:lnTo>
                  <a:lnTo>
                    <a:pt x="112109" y="331660"/>
                  </a:lnTo>
                  <a:lnTo>
                    <a:pt x="98870" y="328041"/>
                  </a:lnTo>
                  <a:lnTo>
                    <a:pt x="98774" y="313563"/>
                  </a:lnTo>
                  <a:lnTo>
                    <a:pt x="96488" y="310229"/>
                  </a:lnTo>
                  <a:lnTo>
                    <a:pt x="93154" y="312420"/>
                  </a:lnTo>
                  <a:lnTo>
                    <a:pt x="97250" y="315563"/>
                  </a:lnTo>
                  <a:lnTo>
                    <a:pt x="92297" y="319850"/>
                  </a:lnTo>
                  <a:lnTo>
                    <a:pt x="91154" y="325374"/>
                  </a:lnTo>
                  <a:lnTo>
                    <a:pt x="87630" y="325850"/>
                  </a:lnTo>
                  <a:lnTo>
                    <a:pt x="86868" y="320516"/>
                  </a:lnTo>
                  <a:lnTo>
                    <a:pt x="83534" y="322802"/>
                  </a:lnTo>
                  <a:lnTo>
                    <a:pt x="82677" y="330137"/>
                  </a:lnTo>
                  <a:lnTo>
                    <a:pt x="80867" y="330422"/>
                  </a:lnTo>
                  <a:lnTo>
                    <a:pt x="80391" y="326803"/>
                  </a:lnTo>
                  <a:lnTo>
                    <a:pt x="81534" y="321278"/>
                  </a:lnTo>
                  <a:lnTo>
                    <a:pt x="80772" y="315944"/>
                  </a:lnTo>
                  <a:lnTo>
                    <a:pt x="76962" y="314611"/>
                  </a:lnTo>
                  <a:lnTo>
                    <a:pt x="73342" y="315087"/>
                  </a:lnTo>
                  <a:lnTo>
                    <a:pt x="72962" y="325946"/>
                  </a:lnTo>
                  <a:lnTo>
                    <a:pt x="69151" y="324707"/>
                  </a:lnTo>
                  <a:lnTo>
                    <a:pt x="68675" y="321088"/>
                  </a:lnTo>
                  <a:lnTo>
                    <a:pt x="65341" y="323374"/>
                  </a:lnTo>
                  <a:lnTo>
                    <a:pt x="71628" y="329755"/>
                  </a:lnTo>
                  <a:lnTo>
                    <a:pt x="70580" y="335375"/>
                  </a:lnTo>
                  <a:lnTo>
                    <a:pt x="70771" y="337185"/>
                  </a:lnTo>
                  <a:lnTo>
                    <a:pt x="66484" y="332327"/>
                  </a:lnTo>
                  <a:lnTo>
                    <a:pt x="60007" y="338614"/>
                  </a:lnTo>
                  <a:lnTo>
                    <a:pt x="67723" y="341185"/>
                  </a:lnTo>
                  <a:lnTo>
                    <a:pt x="68104" y="344805"/>
                  </a:lnTo>
                  <a:lnTo>
                    <a:pt x="68389" y="346520"/>
                  </a:lnTo>
                  <a:lnTo>
                    <a:pt x="61246" y="347472"/>
                  </a:lnTo>
                  <a:lnTo>
                    <a:pt x="62389" y="356425"/>
                  </a:lnTo>
                  <a:lnTo>
                    <a:pt x="56959" y="357092"/>
                  </a:lnTo>
                  <a:lnTo>
                    <a:pt x="42577" y="344519"/>
                  </a:lnTo>
                  <a:lnTo>
                    <a:pt x="33052" y="342138"/>
                  </a:lnTo>
                  <a:lnTo>
                    <a:pt x="30385" y="335280"/>
                  </a:lnTo>
                  <a:lnTo>
                    <a:pt x="24670" y="33413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3" name="Volný tvar: obrazec 52">
              <a:extLst>
                <a:ext uri="{FF2B5EF4-FFF2-40B4-BE49-F238E27FC236}">
                  <a16:creationId xmlns:a16="http://schemas.microsoft.com/office/drawing/2014/main" id="{3CE92453-506E-3C90-DC94-A0E49720DB76}"/>
                </a:ext>
              </a:extLst>
            </p:cNvPr>
            <p:cNvSpPr/>
            <p:nvPr userDrawn="1"/>
          </p:nvSpPr>
          <p:spPr>
            <a:xfrm>
              <a:off x="7251715" y="3812571"/>
              <a:ext cx="397192" cy="628840"/>
            </a:xfrm>
            <a:custGeom>
              <a:avLst/>
              <a:gdLst>
                <a:gd name="connsiteX0" fmla="*/ 326327 w 397192"/>
                <a:gd name="connsiteY0" fmla="*/ 557784 h 628840"/>
                <a:gd name="connsiteX1" fmla="*/ 313563 w 397192"/>
                <a:gd name="connsiteY1" fmla="*/ 572167 h 628840"/>
                <a:gd name="connsiteX2" fmla="*/ 309944 w 397192"/>
                <a:gd name="connsiteY2" fmla="*/ 572738 h 628840"/>
                <a:gd name="connsiteX3" fmla="*/ 299561 w 397192"/>
                <a:gd name="connsiteY3" fmla="*/ 563213 h 628840"/>
                <a:gd name="connsiteX4" fmla="*/ 294227 w 397192"/>
                <a:gd name="connsiteY4" fmla="*/ 563880 h 628840"/>
                <a:gd name="connsiteX5" fmla="*/ 293751 w 397192"/>
                <a:gd name="connsiteY5" fmla="*/ 560261 h 628840"/>
                <a:gd name="connsiteX6" fmla="*/ 289655 w 397192"/>
                <a:gd name="connsiteY6" fmla="*/ 557213 h 628840"/>
                <a:gd name="connsiteX7" fmla="*/ 282797 w 397192"/>
                <a:gd name="connsiteY7" fmla="*/ 532733 h 628840"/>
                <a:gd name="connsiteX8" fmla="*/ 276511 w 397192"/>
                <a:gd name="connsiteY8" fmla="*/ 540830 h 628840"/>
                <a:gd name="connsiteX9" fmla="*/ 265557 w 397192"/>
                <a:gd name="connsiteY9" fmla="*/ 540448 h 628840"/>
                <a:gd name="connsiteX10" fmla="*/ 268129 w 397192"/>
                <a:gd name="connsiteY10" fmla="*/ 532829 h 628840"/>
                <a:gd name="connsiteX11" fmla="*/ 265652 w 397192"/>
                <a:gd name="connsiteY11" fmla="*/ 527780 h 628840"/>
                <a:gd name="connsiteX12" fmla="*/ 258889 w 397192"/>
                <a:gd name="connsiteY12" fmla="*/ 517779 h 628840"/>
                <a:gd name="connsiteX13" fmla="*/ 256604 w 397192"/>
                <a:gd name="connsiteY13" fmla="*/ 514445 h 628840"/>
                <a:gd name="connsiteX14" fmla="*/ 250698 w 397192"/>
                <a:gd name="connsiteY14" fmla="*/ 511588 h 628840"/>
                <a:gd name="connsiteX15" fmla="*/ 250031 w 397192"/>
                <a:gd name="connsiteY15" fmla="*/ 506254 h 628840"/>
                <a:gd name="connsiteX16" fmla="*/ 244412 w 397192"/>
                <a:gd name="connsiteY16" fmla="*/ 505206 h 628840"/>
                <a:gd name="connsiteX17" fmla="*/ 243078 w 397192"/>
                <a:gd name="connsiteY17" fmla="*/ 509016 h 628840"/>
                <a:gd name="connsiteX18" fmla="*/ 237935 w 397192"/>
                <a:gd name="connsiteY18" fmla="*/ 511493 h 628840"/>
                <a:gd name="connsiteX19" fmla="*/ 230600 w 397192"/>
                <a:gd name="connsiteY19" fmla="*/ 525113 h 628840"/>
                <a:gd name="connsiteX20" fmla="*/ 233553 w 397192"/>
                <a:gd name="connsiteY20" fmla="*/ 533781 h 628840"/>
                <a:gd name="connsiteX21" fmla="*/ 232696 w 397192"/>
                <a:gd name="connsiteY21" fmla="*/ 541211 h 628840"/>
                <a:gd name="connsiteX22" fmla="*/ 235458 w 397192"/>
                <a:gd name="connsiteY22" fmla="*/ 548069 h 628840"/>
                <a:gd name="connsiteX23" fmla="*/ 236029 w 397192"/>
                <a:gd name="connsiteY23" fmla="*/ 566166 h 628840"/>
                <a:gd name="connsiteX24" fmla="*/ 232220 w 397192"/>
                <a:gd name="connsiteY24" fmla="*/ 564832 h 628840"/>
                <a:gd name="connsiteX25" fmla="*/ 229076 w 397192"/>
                <a:gd name="connsiteY25" fmla="*/ 568833 h 628840"/>
                <a:gd name="connsiteX26" fmla="*/ 225266 w 397192"/>
                <a:gd name="connsiteY26" fmla="*/ 567595 h 628840"/>
                <a:gd name="connsiteX27" fmla="*/ 229457 w 397192"/>
                <a:gd name="connsiteY27" fmla="*/ 557974 h 628840"/>
                <a:gd name="connsiteX28" fmla="*/ 222980 w 397192"/>
                <a:gd name="connsiteY28" fmla="*/ 564261 h 628840"/>
                <a:gd name="connsiteX29" fmla="*/ 208121 w 397192"/>
                <a:gd name="connsiteY29" fmla="*/ 562547 h 628840"/>
                <a:gd name="connsiteX30" fmla="*/ 202025 w 397192"/>
                <a:gd name="connsiteY30" fmla="*/ 557974 h 628840"/>
                <a:gd name="connsiteX31" fmla="*/ 192214 w 397192"/>
                <a:gd name="connsiteY31" fmla="*/ 566452 h 628840"/>
                <a:gd name="connsiteX32" fmla="*/ 183166 w 397192"/>
                <a:gd name="connsiteY32" fmla="*/ 567690 h 628840"/>
                <a:gd name="connsiteX33" fmla="*/ 179832 w 397192"/>
                <a:gd name="connsiteY33" fmla="*/ 569976 h 628840"/>
                <a:gd name="connsiteX34" fmla="*/ 173736 w 397192"/>
                <a:gd name="connsiteY34" fmla="*/ 565309 h 628840"/>
                <a:gd name="connsiteX35" fmla="*/ 157829 w 397192"/>
                <a:gd name="connsiteY35" fmla="*/ 569214 h 628840"/>
                <a:gd name="connsiteX36" fmla="*/ 158115 w 397192"/>
                <a:gd name="connsiteY36" fmla="*/ 571024 h 628840"/>
                <a:gd name="connsiteX37" fmla="*/ 150495 w 397192"/>
                <a:gd name="connsiteY37" fmla="*/ 582930 h 628840"/>
                <a:gd name="connsiteX38" fmla="*/ 143351 w 397192"/>
                <a:gd name="connsiteY38" fmla="*/ 583882 h 628840"/>
                <a:gd name="connsiteX39" fmla="*/ 144018 w 397192"/>
                <a:gd name="connsiteY39" fmla="*/ 589216 h 628840"/>
                <a:gd name="connsiteX40" fmla="*/ 128778 w 397192"/>
                <a:gd name="connsiteY40" fmla="*/ 598456 h 628840"/>
                <a:gd name="connsiteX41" fmla="*/ 121348 w 397192"/>
                <a:gd name="connsiteY41" fmla="*/ 597598 h 628840"/>
                <a:gd name="connsiteX42" fmla="*/ 114681 w 397192"/>
                <a:gd name="connsiteY42" fmla="*/ 602171 h 628840"/>
                <a:gd name="connsiteX43" fmla="*/ 109728 w 397192"/>
                <a:gd name="connsiteY43" fmla="*/ 606362 h 628840"/>
                <a:gd name="connsiteX44" fmla="*/ 110490 w 397192"/>
                <a:gd name="connsiteY44" fmla="*/ 611791 h 628840"/>
                <a:gd name="connsiteX45" fmla="*/ 106871 w 397192"/>
                <a:gd name="connsiteY45" fmla="*/ 612267 h 628840"/>
                <a:gd name="connsiteX46" fmla="*/ 107061 w 397192"/>
                <a:gd name="connsiteY46" fmla="*/ 613981 h 628840"/>
                <a:gd name="connsiteX47" fmla="*/ 103251 w 397192"/>
                <a:gd name="connsiteY47" fmla="*/ 612743 h 628840"/>
                <a:gd name="connsiteX48" fmla="*/ 103537 w 397192"/>
                <a:gd name="connsiteY48" fmla="*/ 614458 h 628840"/>
                <a:gd name="connsiteX49" fmla="*/ 96107 w 397192"/>
                <a:gd name="connsiteY49" fmla="*/ 613696 h 628840"/>
                <a:gd name="connsiteX50" fmla="*/ 96584 w 397192"/>
                <a:gd name="connsiteY50" fmla="*/ 617220 h 628840"/>
                <a:gd name="connsiteX51" fmla="*/ 88963 w 397192"/>
                <a:gd name="connsiteY51" fmla="*/ 614648 h 628840"/>
                <a:gd name="connsiteX52" fmla="*/ 74200 w 397192"/>
                <a:gd name="connsiteY52" fmla="*/ 627412 h 628840"/>
                <a:gd name="connsiteX53" fmla="*/ 63341 w 397192"/>
                <a:gd name="connsiteY53" fmla="*/ 628840 h 628840"/>
                <a:gd name="connsiteX54" fmla="*/ 51435 w 397192"/>
                <a:gd name="connsiteY54" fmla="*/ 621411 h 628840"/>
                <a:gd name="connsiteX55" fmla="*/ 46863 w 397192"/>
                <a:gd name="connsiteY55" fmla="*/ 614744 h 628840"/>
                <a:gd name="connsiteX56" fmla="*/ 43625 w 397192"/>
                <a:gd name="connsiteY56" fmla="*/ 604266 h 628840"/>
                <a:gd name="connsiteX57" fmla="*/ 44101 w 397192"/>
                <a:gd name="connsiteY57" fmla="*/ 593312 h 628840"/>
                <a:gd name="connsiteX58" fmla="*/ 38576 w 397192"/>
                <a:gd name="connsiteY58" fmla="*/ 579596 h 628840"/>
                <a:gd name="connsiteX59" fmla="*/ 23241 w 397192"/>
                <a:gd name="connsiteY59" fmla="*/ 574357 h 628840"/>
                <a:gd name="connsiteX60" fmla="*/ 30099 w 397192"/>
                <a:gd name="connsiteY60" fmla="*/ 557117 h 628840"/>
                <a:gd name="connsiteX61" fmla="*/ 28099 w 397192"/>
                <a:gd name="connsiteY61" fmla="*/ 555593 h 628840"/>
                <a:gd name="connsiteX62" fmla="*/ 24479 w 397192"/>
                <a:gd name="connsiteY62" fmla="*/ 541591 h 628840"/>
                <a:gd name="connsiteX63" fmla="*/ 29337 w 397192"/>
                <a:gd name="connsiteY63" fmla="*/ 537305 h 628840"/>
                <a:gd name="connsiteX64" fmla="*/ 28861 w 397192"/>
                <a:gd name="connsiteY64" fmla="*/ 533686 h 628840"/>
                <a:gd name="connsiteX65" fmla="*/ 27051 w 397192"/>
                <a:gd name="connsiteY65" fmla="*/ 533972 h 628840"/>
                <a:gd name="connsiteX66" fmla="*/ 31718 w 397192"/>
                <a:gd name="connsiteY66" fmla="*/ 527876 h 628840"/>
                <a:gd name="connsiteX67" fmla="*/ 26384 w 397192"/>
                <a:gd name="connsiteY67" fmla="*/ 528638 h 628840"/>
                <a:gd name="connsiteX68" fmla="*/ 24289 w 397192"/>
                <a:gd name="connsiteY68" fmla="*/ 527113 h 628840"/>
                <a:gd name="connsiteX69" fmla="*/ 18288 w 397192"/>
                <a:gd name="connsiteY69" fmla="*/ 536924 h 628840"/>
                <a:gd name="connsiteX70" fmla="*/ 18764 w 397192"/>
                <a:gd name="connsiteY70" fmla="*/ 540448 h 628840"/>
                <a:gd name="connsiteX71" fmla="*/ 15240 w 397192"/>
                <a:gd name="connsiteY71" fmla="*/ 541020 h 628840"/>
                <a:gd name="connsiteX72" fmla="*/ 9525 w 397192"/>
                <a:gd name="connsiteY72" fmla="*/ 539877 h 628840"/>
                <a:gd name="connsiteX73" fmla="*/ 7048 w 397192"/>
                <a:gd name="connsiteY73" fmla="*/ 534734 h 628840"/>
                <a:gd name="connsiteX74" fmla="*/ 12192 w 397192"/>
                <a:gd name="connsiteY74" fmla="*/ 532257 h 628840"/>
                <a:gd name="connsiteX75" fmla="*/ 5905 w 397192"/>
                <a:gd name="connsiteY75" fmla="*/ 525875 h 628840"/>
                <a:gd name="connsiteX76" fmla="*/ 0 w 397192"/>
                <a:gd name="connsiteY76" fmla="*/ 523018 h 628840"/>
                <a:gd name="connsiteX77" fmla="*/ 1619 w 397192"/>
                <a:gd name="connsiteY77" fmla="*/ 521018 h 628840"/>
                <a:gd name="connsiteX78" fmla="*/ 17621 w 397192"/>
                <a:gd name="connsiteY78" fmla="*/ 504349 h 628840"/>
                <a:gd name="connsiteX79" fmla="*/ 25241 w 397192"/>
                <a:gd name="connsiteY79" fmla="*/ 492538 h 628840"/>
                <a:gd name="connsiteX80" fmla="*/ 28099 w 397192"/>
                <a:gd name="connsiteY80" fmla="*/ 486728 h 628840"/>
                <a:gd name="connsiteX81" fmla="*/ 29718 w 397192"/>
                <a:gd name="connsiteY81" fmla="*/ 484632 h 628840"/>
                <a:gd name="connsiteX82" fmla="*/ 43244 w 397192"/>
                <a:gd name="connsiteY82" fmla="*/ 462915 h 628840"/>
                <a:gd name="connsiteX83" fmla="*/ 42767 w 397192"/>
                <a:gd name="connsiteY83" fmla="*/ 459391 h 628840"/>
                <a:gd name="connsiteX84" fmla="*/ 34195 w 397192"/>
                <a:gd name="connsiteY84" fmla="*/ 449580 h 628840"/>
                <a:gd name="connsiteX85" fmla="*/ 33433 w 397192"/>
                <a:gd name="connsiteY85" fmla="*/ 444246 h 628840"/>
                <a:gd name="connsiteX86" fmla="*/ 30480 w 397192"/>
                <a:gd name="connsiteY86" fmla="*/ 435578 h 628840"/>
                <a:gd name="connsiteX87" fmla="*/ 34100 w 397192"/>
                <a:gd name="connsiteY87" fmla="*/ 435102 h 628840"/>
                <a:gd name="connsiteX88" fmla="*/ 33909 w 397192"/>
                <a:gd name="connsiteY88" fmla="*/ 433388 h 628840"/>
                <a:gd name="connsiteX89" fmla="*/ 35623 w 397192"/>
                <a:gd name="connsiteY89" fmla="*/ 433102 h 628840"/>
                <a:gd name="connsiteX90" fmla="*/ 34957 w 397192"/>
                <a:gd name="connsiteY90" fmla="*/ 427768 h 628840"/>
                <a:gd name="connsiteX91" fmla="*/ 43720 w 397192"/>
                <a:gd name="connsiteY91" fmla="*/ 424815 h 628840"/>
                <a:gd name="connsiteX92" fmla="*/ 46672 w 397192"/>
                <a:gd name="connsiteY92" fmla="*/ 433483 h 628840"/>
                <a:gd name="connsiteX93" fmla="*/ 55626 w 397192"/>
                <a:gd name="connsiteY93" fmla="*/ 432245 h 628840"/>
                <a:gd name="connsiteX94" fmla="*/ 59246 w 397192"/>
                <a:gd name="connsiteY94" fmla="*/ 431768 h 628840"/>
                <a:gd name="connsiteX95" fmla="*/ 69723 w 397192"/>
                <a:gd name="connsiteY95" fmla="*/ 428625 h 628840"/>
                <a:gd name="connsiteX96" fmla="*/ 69056 w 397192"/>
                <a:gd name="connsiteY96" fmla="*/ 423196 h 628840"/>
                <a:gd name="connsiteX97" fmla="*/ 70580 w 397192"/>
                <a:gd name="connsiteY97" fmla="*/ 421196 h 628840"/>
                <a:gd name="connsiteX98" fmla="*/ 74009 w 397192"/>
                <a:gd name="connsiteY98" fmla="*/ 419005 h 628840"/>
                <a:gd name="connsiteX99" fmla="*/ 75343 w 397192"/>
                <a:gd name="connsiteY99" fmla="*/ 415195 h 628840"/>
                <a:gd name="connsiteX100" fmla="*/ 82487 w 397192"/>
                <a:gd name="connsiteY100" fmla="*/ 414242 h 628840"/>
                <a:gd name="connsiteX101" fmla="*/ 81058 w 397192"/>
                <a:gd name="connsiteY101" fmla="*/ 403574 h 628840"/>
                <a:gd name="connsiteX102" fmla="*/ 73628 w 397192"/>
                <a:gd name="connsiteY102" fmla="*/ 388239 h 628840"/>
                <a:gd name="connsiteX103" fmla="*/ 67437 w 397192"/>
                <a:gd name="connsiteY103" fmla="*/ 383572 h 628840"/>
                <a:gd name="connsiteX104" fmla="*/ 73152 w 397192"/>
                <a:gd name="connsiteY104" fmla="*/ 384620 h 628840"/>
                <a:gd name="connsiteX105" fmla="*/ 70580 w 397192"/>
                <a:gd name="connsiteY105" fmla="*/ 379571 h 628840"/>
                <a:gd name="connsiteX106" fmla="*/ 80867 w 397192"/>
                <a:gd name="connsiteY106" fmla="*/ 374523 h 628840"/>
                <a:gd name="connsiteX107" fmla="*/ 74581 w 397192"/>
                <a:gd name="connsiteY107" fmla="*/ 368141 h 628840"/>
                <a:gd name="connsiteX108" fmla="*/ 73438 w 397192"/>
                <a:gd name="connsiteY108" fmla="*/ 359188 h 628840"/>
                <a:gd name="connsiteX109" fmla="*/ 72866 w 397192"/>
                <a:gd name="connsiteY109" fmla="*/ 355663 h 628840"/>
                <a:gd name="connsiteX110" fmla="*/ 69818 w 397192"/>
                <a:gd name="connsiteY110" fmla="*/ 359664 h 628840"/>
                <a:gd name="connsiteX111" fmla="*/ 59912 w 397192"/>
                <a:gd name="connsiteY111" fmla="*/ 353759 h 628840"/>
                <a:gd name="connsiteX112" fmla="*/ 53530 w 397192"/>
                <a:gd name="connsiteY112" fmla="*/ 347281 h 628840"/>
                <a:gd name="connsiteX113" fmla="*/ 52578 w 397192"/>
                <a:gd name="connsiteY113" fmla="*/ 340233 h 628840"/>
                <a:gd name="connsiteX114" fmla="*/ 51626 w 397192"/>
                <a:gd name="connsiteY114" fmla="*/ 333089 h 628840"/>
                <a:gd name="connsiteX115" fmla="*/ 46482 w 397192"/>
                <a:gd name="connsiteY115" fmla="*/ 335566 h 628840"/>
                <a:gd name="connsiteX116" fmla="*/ 44005 w 397192"/>
                <a:gd name="connsiteY116" fmla="*/ 330422 h 628840"/>
                <a:gd name="connsiteX117" fmla="*/ 41624 w 397192"/>
                <a:gd name="connsiteY117" fmla="*/ 312706 h 628840"/>
                <a:gd name="connsiteX118" fmla="*/ 55340 w 397192"/>
                <a:gd name="connsiteY118" fmla="*/ 305371 h 628840"/>
                <a:gd name="connsiteX119" fmla="*/ 62389 w 397192"/>
                <a:gd name="connsiteY119" fmla="*/ 289941 h 628840"/>
                <a:gd name="connsiteX120" fmla="*/ 50959 w 397192"/>
                <a:gd name="connsiteY120" fmla="*/ 286036 h 628840"/>
                <a:gd name="connsiteX121" fmla="*/ 63722 w 397192"/>
                <a:gd name="connsiteY121" fmla="*/ 286131 h 628840"/>
                <a:gd name="connsiteX122" fmla="*/ 71723 w 397192"/>
                <a:gd name="connsiteY122" fmla="*/ 277844 h 628840"/>
                <a:gd name="connsiteX123" fmla="*/ 65913 w 397192"/>
                <a:gd name="connsiteY123" fmla="*/ 274987 h 628840"/>
                <a:gd name="connsiteX124" fmla="*/ 58007 w 397192"/>
                <a:gd name="connsiteY124" fmla="*/ 270605 h 628840"/>
                <a:gd name="connsiteX125" fmla="*/ 52673 w 397192"/>
                <a:gd name="connsiteY125" fmla="*/ 271272 h 628840"/>
                <a:gd name="connsiteX126" fmla="*/ 46292 w 397192"/>
                <a:gd name="connsiteY126" fmla="*/ 264890 h 628840"/>
                <a:gd name="connsiteX127" fmla="*/ 43815 w 397192"/>
                <a:gd name="connsiteY127" fmla="*/ 259747 h 628840"/>
                <a:gd name="connsiteX128" fmla="*/ 38386 w 397192"/>
                <a:gd name="connsiteY128" fmla="*/ 260509 h 628840"/>
                <a:gd name="connsiteX129" fmla="*/ 36386 w 397192"/>
                <a:gd name="connsiteY129" fmla="*/ 258985 h 628840"/>
                <a:gd name="connsiteX130" fmla="*/ 39053 w 397192"/>
                <a:gd name="connsiteY130" fmla="*/ 251365 h 628840"/>
                <a:gd name="connsiteX131" fmla="*/ 44196 w 397192"/>
                <a:gd name="connsiteY131" fmla="*/ 248888 h 628840"/>
                <a:gd name="connsiteX132" fmla="*/ 46101 w 397192"/>
                <a:gd name="connsiteY132" fmla="*/ 235934 h 628840"/>
                <a:gd name="connsiteX133" fmla="*/ 55912 w 397192"/>
                <a:gd name="connsiteY133" fmla="*/ 227362 h 628840"/>
                <a:gd name="connsiteX134" fmla="*/ 64961 w 397192"/>
                <a:gd name="connsiteY134" fmla="*/ 226219 h 628840"/>
                <a:gd name="connsiteX135" fmla="*/ 66485 w 397192"/>
                <a:gd name="connsiteY135" fmla="*/ 224123 h 628840"/>
                <a:gd name="connsiteX136" fmla="*/ 62484 w 397192"/>
                <a:gd name="connsiteY136" fmla="*/ 221075 h 628840"/>
                <a:gd name="connsiteX137" fmla="*/ 54959 w 397192"/>
                <a:gd name="connsiteY137" fmla="*/ 220218 h 628840"/>
                <a:gd name="connsiteX138" fmla="*/ 58103 w 397192"/>
                <a:gd name="connsiteY138" fmla="*/ 216217 h 628840"/>
                <a:gd name="connsiteX139" fmla="*/ 54197 w 397192"/>
                <a:gd name="connsiteY139" fmla="*/ 200406 h 628840"/>
                <a:gd name="connsiteX140" fmla="*/ 49435 w 397192"/>
                <a:gd name="connsiteY140" fmla="*/ 191929 h 628840"/>
                <a:gd name="connsiteX141" fmla="*/ 45339 w 397192"/>
                <a:gd name="connsiteY141" fmla="*/ 188881 h 628840"/>
                <a:gd name="connsiteX142" fmla="*/ 40577 w 397192"/>
                <a:gd name="connsiteY142" fmla="*/ 180404 h 628840"/>
                <a:gd name="connsiteX143" fmla="*/ 42196 w 397192"/>
                <a:gd name="connsiteY143" fmla="*/ 178403 h 628840"/>
                <a:gd name="connsiteX144" fmla="*/ 43244 w 397192"/>
                <a:gd name="connsiteY144" fmla="*/ 172879 h 628840"/>
                <a:gd name="connsiteX145" fmla="*/ 51530 w 397192"/>
                <a:gd name="connsiteY145" fmla="*/ 166307 h 628840"/>
                <a:gd name="connsiteX146" fmla="*/ 59150 w 397192"/>
                <a:gd name="connsiteY146" fmla="*/ 168878 h 628840"/>
                <a:gd name="connsiteX147" fmla="*/ 63532 w 397192"/>
                <a:gd name="connsiteY147" fmla="*/ 173736 h 628840"/>
                <a:gd name="connsiteX148" fmla="*/ 75629 w 397192"/>
                <a:gd name="connsiteY148" fmla="*/ 183071 h 628840"/>
                <a:gd name="connsiteX149" fmla="*/ 80296 w 397192"/>
                <a:gd name="connsiteY149" fmla="*/ 176975 h 628840"/>
                <a:gd name="connsiteX150" fmla="*/ 77819 w 397192"/>
                <a:gd name="connsiteY150" fmla="*/ 171926 h 628840"/>
                <a:gd name="connsiteX151" fmla="*/ 79629 w 397192"/>
                <a:gd name="connsiteY151" fmla="*/ 171641 h 628840"/>
                <a:gd name="connsiteX152" fmla="*/ 81248 w 397192"/>
                <a:gd name="connsiteY152" fmla="*/ 169640 h 628840"/>
                <a:gd name="connsiteX153" fmla="*/ 82010 w 397192"/>
                <a:gd name="connsiteY153" fmla="*/ 162211 h 628840"/>
                <a:gd name="connsiteX154" fmla="*/ 83629 w 397192"/>
                <a:gd name="connsiteY154" fmla="*/ 160211 h 628840"/>
                <a:gd name="connsiteX155" fmla="*/ 84677 w 397192"/>
                <a:gd name="connsiteY155" fmla="*/ 154686 h 628840"/>
                <a:gd name="connsiteX156" fmla="*/ 92488 w 397192"/>
                <a:gd name="connsiteY156" fmla="*/ 144589 h 628840"/>
                <a:gd name="connsiteX157" fmla="*/ 98965 w 397192"/>
                <a:gd name="connsiteY157" fmla="*/ 138303 h 628840"/>
                <a:gd name="connsiteX158" fmla="*/ 104585 w 397192"/>
                <a:gd name="connsiteY158" fmla="*/ 139351 h 628840"/>
                <a:gd name="connsiteX159" fmla="*/ 109252 w 397192"/>
                <a:gd name="connsiteY159" fmla="*/ 133255 h 628840"/>
                <a:gd name="connsiteX160" fmla="*/ 113347 w 397192"/>
                <a:gd name="connsiteY160" fmla="*/ 136303 h 628840"/>
                <a:gd name="connsiteX161" fmla="*/ 108776 w 397192"/>
                <a:gd name="connsiteY161" fmla="*/ 129730 h 628840"/>
                <a:gd name="connsiteX162" fmla="*/ 111728 w 397192"/>
                <a:gd name="connsiteY162" fmla="*/ 123920 h 628840"/>
                <a:gd name="connsiteX163" fmla="*/ 109442 w 397192"/>
                <a:gd name="connsiteY163" fmla="*/ 120587 h 628840"/>
                <a:gd name="connsiteX164" fmla="*/ 110490 w 397192"/>
                <a:gd name="connsiteY164" fmla="*/ 114967 h 628840"/>
                <a:gd name="connsiteX165" fmla="*/ 110300 w 397192"/>
                <a:gd name="connsiteY165" fmla="*/ 113157 h 628840"/>
                <a:gd name="connsiteX166" fmla="*/ 115824 w 397192"/>
                <a:gd name="connsiteY166" fmla="*/ 99727 h 628840"/>
                <a:gd name="connsiteX167" fmla="*/ 120110 w 397192"/>
                <a:gd name="connsiteY167" fmla="*/ 104680 h 628840"/>
                <a:gd name="connsiteX168" fmla="*/ 125539 w 397192"/>
                <a:gd name="connsiteY168" fmla="*/ 103918 h 628840"/>
                <a:gd name="connsiteX169" fmla="*/ 129921 w 397192"/>
                <a:gd name="connsiteY169" fmla="*/ 96107 h 628840"/>
                <a:gd name="connsiteX170" fmla="*/ 121634 w 397192"/>
                <a:gd name="connsiteY170" fmla="*/ 88106 h 628840"/>
                <a:gd name="connsiteX171" fmla="*/ 122492 w 397192"/>
                <a:gd name="connsiteY171" fmla="*/ 80772 h 628840"/>
                <a:gd name="connsiteX172" fmla="*/ 122015 w 397192"/>
                <a:gd name="connsiteY172" fmla="*/ 77153 h 628840"/>
                <a:gd name="connsiteX173" fmla="*/ 110776 w 397192"/>
                <a:gd name="connsiteY173" fmla="*/ 75057 h 628840"/>
                <a:gd name="connsiteX174" fmla="*/ 108490 w 397192"/>
                <a:gd name="connsiteY174" fmla="*/ 71723 h 628840"/>
                <a:gd name="connsiteX175" fmla="*/ 109823 w 397192"/>
                <a:gd name="connsiteY175" fmla="*/ 67913 h 628840"/>
                <a:gd name="connsiteX176" fmla="*/ 114967 w 397192"/>
                <a:gd name="connsiteY176" fmla="*/ 65437 h 628840"/>
                <a:gd name="connsiteX177" fmla="*/ 112871 w 397192"/>
                <a:gd name="connsiteY177" fmla="*/ 63913 h 628840"/>
                <a:gd name="connsiteX178" fmla="*/ 116014 w 397192"/>
                <a:gd name="connsiteY178" fmla="*/ 59817 h 628840"/>
                <a:gd name="connsiteX179" fmla="*/ 112204 w 397192"/>
                <a:gd name="connsiteY179" fmla="*/ 58579 h 628840"/>
                <a:gd name="connsiteX180" fmla="*/ 111728 w 397192"/>
                <a:gd name="connsiteY180" fmla="*/ 54959 h 628840"/>
                <a:gd name="connsiteX181" fmla="*/ 106299 w 397192"/>
                <a:gd name="connsiteY181" fmla="*/ 55721 h 628840"/>
                <a:gd name="connsiteX182" fmla="*/ 104775 w 397192"/>
                <a:gd name="connsiteY182" fmla="*/ 57721 h 628840"/>
                <a:gd name="connsiteX183" fmla="*/ 104108 w 397192"/>
                <a:gd name="connsiteY183" fmla="*/ 52388 h 628840"/>
                <a:gd name="connsiteX184" fmla="*/ 100203 w 397192"/>
                <a:gd name="connsiteY184" fmla="*/ 51054 h 628840"/>
                <a:gd name="connsiteX185" fmla="*/ 97727 w 397192"/>
                <a:gd name="connsiteY185" fmla="*/ 46006 h 628840"/>
                <a:gd name="connsiteX186" fmla="*/ 93917 w 397192"/>
                <a:gd name="connsiteY186" fmla="*/ 44672 h 628840"/>
                <a:gd name="connsiteX187" fmla="*/ 95440 w 397192"/>
                <a:gd name="connsiteY187" fmla="*/ 42672 h 628840"/>
                <a:gd name="connsiteX188" fmla="*/ 91916 w 397192"/>
                <a:gd name="connsiteY188" fmla="*/ 43148 h 628840"/>
                <a:gd name="connsiteX189" fmla="*/ 86487 w 397192"/>
                <a:gd name="connsiteY189" fmla="*/ 43815 h 628840"/>
                <a:gd name="connsiteX190" fmla="*/ 86296 w 397192"/>
                <a:gd name="connsiteY190" fmla="*/ 42005 h 628840"/>
                <a:gd name="connsiteX191" fmla="*/ 88868 w 397192"/>
                <a:gd name="connsiteY191" fmla="*/ 34480 h 628840"/>
                <a:gd name="connsiteX192" fmla="*/ 82772 w 397192"/>
                <a:gd name="connsiteY192" fmla="*/ 29813 h 628840"/>
                <a:gd name="connsiteX193" fmla="*/ 77438 w 397192"/>
                <a:gd name="connsiteY193" fmla="*/ 30480 h 628840"/>
                <a:gd name="connsiteX194" fmla="*/ 80581 w 397192"/>
                <a:gd name="connsiteY194" fmla="*/ 26479 h 628840"/>
                <a:gd name="connsiteX195" fmla="*/ 86392 w 397192"/>
                <a:gd name="connsiteY195" fmla="*/ 29337 h 628840"/>
                <a:gd name="connsiteX196" fmla="*/ 91535 w 397192"/>
                <a:gd name="connsiteY196" fmla="*/ 26861 h 628840"/>
                <a:gd name="connsiteX197" fmla="*/ 92678 w 397192"/>
                <a:gd name="connsiteY197" fmla="*/ 21241 h 628840"/>
                <a:gd name="connsiteX198" fmla="*/ 96203 w 397192"/>
                <a:gd name="connsiteY198" fmla="*/ 20764 h 628840"/>
                <a:gd name="connsiteX199" fmla="*/ 96012 w 397192"/>
                <a:gd name="connsiteY199" fmla="*/ 18955 h 628840"/>
                <a:gd name="connsiteX200" fmla="*/ 90583 w 397192"/>
                <a:gd name="connsiteY200" fmla="*/ 19717 h 628840"/>
                <a:gd name="connsiteX201" fmla="*/ 90392 w 397192"/>
                <a:gd name="connsiteY201" fmla="*/ 17907 h 628840"/>
                <a:gd name="connsiteX202" fmla="*/ 93726 w 397192"/>
                <a:gd name="connsiteY202" fmla="*/ 15621 h 628840"/>
                <a:gd name="connsiteX203" fmla="*/ 100965 w 397192"/>
                <a:gd name="connsiteY203" fmla="*/ 14764 h 628840"/>
                <a:gd name="connsiteX204" fmla="*/ 119253 w 397192"/>
                <a:gd name="connsiteY204" fmla="*/ 1429 h 628840"/>
                <a:gd name="connsiteX205" fmla="*/ 123349 w 397192"/>
                <a:gd name="connsiteY205" fmla="*/ 4477 h 628840"/>
                <a:gd name="connsiteX206" fmla="*/ 128206 w 397192"/>
                <a:gd name="connsiteY206" fmla="*/ 191 h 628840"/>
                <a:gd name="connsiteX207" fmla="*/ 130016 w 397192"/>
                <a:gd name="connsiteY207" fmla="*/ 0 h 628840"/>
                <a:gd name="connsiteX208" fmla="*/ 142970 w 397192"/>
                <a:gd name="connsiteY208" fmla="*/ 14573 h 628840"/>
                <a:gd name="connsiteX209" fmla="*/ 149162 w 397192"/>
                <a:gd name="connsiteY209" fmla="*/ 6477 h 628840"/>
                <a:gd name="connsiteX210" fmla="*/ 151162 w 397192"/>
                <a:gd name="connsiteY210" fmla="*/ 8096 h 628840"/>
                <a:gd name="connsiteX211" fmla="*/ 153257 w 397192"/>
                <a:gd name="connsiteY211" fmla="*/ 9620 h 628840"/>
                <a:gd name="connsiteX212" fmla="*/ 156877 w 397192"/>
                <a:gd name="connsiteY212" fmla="*/ 9144 h 628840"/>
                <a:gd name="connsiteX213" fmla="*/ 155257 w 397192"/>
                <a:gd name="connsiteY213" fmla="*/ 11144 h 628840"/>
                <a:gd name="connsiteX214" fmla="*/ 156020 w 397192"/>
                <a:gd name="connsiteY214" fmla="*/ 16478 h 628840"/>
                <a:gd name="connsiteX215" fmla="*/ 165926 w 397192"/>
                <a:gd name="connsiteY215" fmla="*/ 22384 h 628840"/>
                <a:gd name="connsiteX216" fmla="*/ 166878 w 397192"/>
                <a:gd name="connsiteY216" fmla="*/ 29528 h 628840"/>
                <a:gd name="connsiteX217" fmla="*/ 167069 w 397192"/>
                <a:gd name="connsiteY217" fmla="*/ 31337 h 628840"/>
                <a:gd name="connsiteX218" fmla="*/ 160115 w 397192"/>
                <a:gd name="connsiteY218" fmla="*/ 34100 h 628840"/>
                <a:gd name="connsiteX219" fmla="*/ 162211 w 397192"/>
                <a:gd name="connsiteY219" fmla="*/ 35624 h 628840"/>
                <a:gd name="connsiteX220" fmla="*/ 167545 w 397192"/>
                <a:gd name="connsiteY220" fmla="*/ 34862 h 628840"/>
                <a:gd name="connsiteX221" fmla="*/ 166688 w 397192"/>
                <a:gd name="connsiteY221" fmla="*/ 42291 h 628840"/>
                <a:gd name="connsiteX222" fmla="*/ 181546 w 397192"/>
                <a:gd name="connsiteY222" fmla="*/ 43910 h 628840"/>
                <a:gd name="connsiteX223" fmla="*/ 183832 w 397192"/>
                <a:gd name="connsiteY223" fmla="*/ 47244 h 628840"/>
                <a:gd name="connsiteX224" fmla="*/ 182213 w 397192"/>
                <a:gd name="connsiteY224" fmla="*/ 49244 h 628840"/>
                <a:gd name="connsiteX225" fmla="*/ 176879 w 397192"/>
                <a:gd name="connsiteY225" fmla="*/ 50006 h 628840"/>
                <a:gd name="connsiteX226" fmla="*/ 177355 w 397192"/>
                <a:gd name="connsiteY226" fmla="*/ 53530 h 628840"/>
                <a:gd name="connsiteX227" fmla="*/ 178879 w 397192"/>
                <a:gd name="connsiteY227" fmla="*/ 51530 h 628840"/>
                <a:gd name="connsiteX228" fmla="*/ 183166 w 397192"/>
                <a:gd name="connsiteY228" fmla="*/ 56388 h 628840"/>
                <a:gd name="connsiteX229" fmla="*/ 186595 w 397192"/>
                <a:gd name="connsiteY229" fmla="*/ 54102 h 628840"/>
                <a:gd name="connsiteX230" fmla="*/ 189071 w 397192"/>
                <a:gd name="connsiteY230" fmla="*/ 59246 h 628840"/>
                <a:gd name="connsiteX231" fmla="*/ 192691 w 397192"/>
                <a:gd name="connsiteY231" fmla="*/ 58769 h 628840"/>
                <a:gd name="connsiteX232" fmla="*/ 193357 w 397192"/>
                <a:gd name="connsiteY232" fmla="*/ 64103 h 628840"/>
                <a:gd name="connsiteX233" fmla="*/ 193834 w 397192"/>
                <a:gd name="connsiteY233" fmla="*/ 67723 h 628840"/>
                <a:gd name="connsiteX234" fmla="*/ 190500 w 397192"/>
                <a:gd name="connsiteY234" fmla="*/ 69913 h 628840"/>
                <a:gd name="connsiteX235" fmla="*/ 190690 w 397192"/>
                <a:gd name="connsiteY235" fmla="*/ 71723 h 628840"/>
                <a:gd name="connsiteX236" fmla="*/ 197739 w 397192"/>
                <a:gd name="connsiteY236" fmla="*/ 83439 h 628840"/>
                <a:gd name="connsiteX237" fmla="*/ 198406 w 397192"/>
                <a:gd name="connsiteY237" fmla="*/ 88868 h 628840"/>
                <a:gd name="connsiteX238" fmla="*/ 197834 w 397192"/>
                <a:gd name="connsiteY238" fmla="*/ 98012 h 628840"/>
                <a:gd name="connsiteX239" fmla="*/ 195834 w 397192"/>
                <a:gd name="connsiteY239" fmla="*/ 96393 h 628840"/>
                <a:gd name="connsiteX240" fmla="*/ 192500 w 397192"/>
                <a:gd name="connsiteY240" fmla="*/ 98679 h 628840"/>
                <a:gd name="connsiteX241" fmla="*/ 202597 w 397192"/>
                <a:gd name="connsiteY241" fmla="*/ 106394 h 628840"/>
                <a:gd name="connsiteX242" fmla="*/ 208217 w 397192"/>
                <a:gd name="connsiteY242" fmla="*/ 107537 h 628840"/>
                <a:gd name="connsiteX243" fmla="*/ 213170 w 397192"/>
                <a:gd name="connsiteY243" fmla="*/ 103251 h 628840"/>
                <a:gd name="connsiteX244" fmla="*/ 215646 w 397192"/>
                <a:gd name="connsiteY244" fmla="*/ 108299 h 628840"/>
                <a:gd name="connsiteX245" fmla="*/ 219456 w 397192"/>
                <a:gd name="connsiteY245" fmla="*/ 109633 h 628840"/>
                <a:gd name="connsiteX246" fmla="*/ 219742 w 397192"/>
                <a:gd name="connsiteY246" fmla="*/ 111442 h 628840"/>
                <a:gd name="connsiteX247" fmla="*/ 218885 w 397192"/>
                <a:gd name="connsiteY247" fmla="*/ 118777 h 628840"/>
                <a:gd name="connsiteX248" fmla="*/ 220694 w 397192"/>
                <a:gd name="connsiteY248" fmla="*/ 118586 h 628840"/>
                <a:gd name="connsiteX249" fmla="*/ 219551 w 397192"/>
                <a:gd name="connsiteY249" fmla="*/ 124111 h 628840"/>
                <a:gd name="connsiteX250" fmla="*/ 217742 w 397192"/>
                <a:gd name="connsiteY250" fmla="*/ 124396 h 628840"/>
                <a:gd name="connsiteX251" fmla="*/ 218218 w 397192"/>
                <a:gd name="connsiteY251" fmla="*/ 127921 h 628840"/>
                <a:gd name="connsiteX252" fmla="*/ 229267 w 397192"/>
                <a:gd name="connsiteY252" fmla="*/ 128302 h 628840"/>
                <a:gd name="connsiteX253" fmla="*/ 226123 w 397192"/>
                <a:gd name="connsiteY253" fmla="*/ 132302 h 628840"/>
                <a:gd name="connsiteX254" fmla="*/ 228219 w 397192"/>
                <a:gd name="connsiteY254" fmla="*/ 133826 h 628840"/>
                <a:gd name="connsiteX255" fmla="*/ 232696 w 397192"/>
                <a:gd name="connsiteY255" fmla="*/ 140494 h 628840"/>
                <a:gd name="connsiteX256" fmla="*/ 236315 w 397192"/>
                <a:gd name="connsiteY256" fmla="*/ 140017 h 628840"/>
                <a:gd name="connsiteX257" fmla="*/ 234982 w 397192"/>
                <a:gd name="connsiteY257" fmla="*/ 143828 h 628840"/>
                <a:gd name="connsiteX258" fmla="*/ 235648 w 397192"/>
                <a:gd name="connsiteY258" fmla="*/ 149162 h 628840"/>
                <a:gd name="connsiteX259" fmla="*/ 237458 w 397192"/>
                <a:gd name="connsiteY259" fmla="*/ 148971 h 628840"/>
                <a:gd name="connsiteX260" fmla="*/ 237268 w 397192"/>
                <a:gd name="connsiteY260" fmla="*/ 147161 h 628840"/>
                <a:gd name="connsiteX261" fmla="*/ 240887 w 397192"/>
                <a:gd name="connsiteY261" fmla="*/ 146685 h 628840"/>
                <a:gd name="connsiteX262" fmla="*/ 246507 w 397192"/>
                <a:gd name="connsiteY262" fmla="*/ 147733 h 628840"/>
                <a:gd name="connsiteX263" fmla="*/ 246221 w 397192"/>
                <a:gd name="connsiteY263" fmla="*/ 146018 h 628840"/>
                <a:gd name="connsiteX264" fmla="*/ 248031 w 397192"/>
                <a:gd name="connsiteY264" fmla="*/ 145733 h 628840"/>
                <a:gd name="connsiteX265" fmla="*/ 249555 w 397192"/>
                <a:gd name="connsiteY265" fmla="*/ 143732 h 628840"/>
                <a:gd name="connsiteX266" fmla="*/ 247745 w 397192"/>
                <a:gd name="connsiteY266" fmla="*/ 143923 h 628840"/>
                <a:gd name="connsiteX267" fmla="*/ 249079 w 397192"/>
                <a:gd name="connsiteY267" fmla="*/ 140113 h 628840"/>
                <a:gd name="connsiteX268" fmla="*/ 247269 w 397192"/>
                <a:gd name="connsiteY268" fmla="*/ 140399 h 628840"/>
                <a:gd name="connsiteX269" fmla="*/ 246602 w 397192"/>
                <a:gd name="connsiteY269" fmla="*/ 135064 h 628840"/>
                <a:gd name="connsiteX270" fmla="*/ 242792 w 397192"/>
                <a:gd name="connsiteY270" fmla="*/ 133731 h 628840"/>
                <a:gd name="connsiteX271" fmla="*/ 248126 w 397192"/>
                <a:gd name="connsiteY271" fmla="*/ 133064 h 628840"/>
                <a:gd name="connsiteX272" fmla="*/ 247650 w 397192"/>
                <a:gd name="connsiteY272" fmla="*/ 129445 h 628840"/>
                <a:gd name="connsiteX273" fmla="*/ 250793 w 397192"/>
                <a:gd name="connsiteY273" fmla="*/ 125444 h 628840"/>
                <a:gd name="connsiteX274" fmla="*/ 248317 w 397192"/>
                <a:gd name="connsiteY274" fmla="*/ 120301 h 628840"/>
                <a:gd name="connsiteX275" fmla="*/ 250127 w 397192"/>
                <a:gd name="connsiteY275" fmla="*/ 120110 h 628840"/>
                <a:gd name="connsiteX276" fmla="*/ 254127 w 397192"/>
                <a:gd name="connsiteY276" fmla="*/ 123158 h 628840"/>
                <a:gd name="connsiteX277" fmla="*/ 255079 w 397192"/>
                <a:gd name="connsiteY277" fmla="*/ 130302 h 628840"/>
                <a:gd name="connsiteX278" fmla="*/ 261461 w 397192"/>
                <a:gd name="connsiteY278" fmla="*/ 136684 h 628840"/>
                <a:gd name="connsiteX279" fmla="*/ 262414 w 397192"/>
                <a:gd name="connsiteY279" fmla="*/ 143828 h 628840"/>
                <a:gd name="connsiteX280" fmla="*/ 257746 w 397192"/>
                <a:gd name="connsiteY280" fmla="*/ 149924 h 628840"/>
                <a:gd name="connsiteX281" fmla="*/ 256889 w 397192"/>
                <a:gd name="connsiteY281" fmla="*/ 157258 h 628840"/>
                <a:gd name="connsiteX282" fmla="*/ 259175 w 397192"/>
                <a:gd name="connsiteY282" fmla="*/ 160592 h 628840"/>
                <a:gd name="connsiteX283" fmla="*/ 253937 w 397192"/>
                <a:gd name="connsiteY283" fmla="*/ 163068 h 628840"/>
                <a:gd name="connsiteX284" fmla="*/ 248221 w 397192"/>
                <a:gd name="connsiteY284" fmla="*/ 174688 h 628840"/>
                <a:gd name="connsiteX285" fmla="*/ 250507 w 397192"/>
                <a:gd name="connsiteY285" fmla="*/ 178022 h 628840"/>
                <a:gd name="connsiteX286" fmla="*/ 250507 w 397192"/>
                <a:gd name="connsiteY286" fmla="*/ 178022 h 628840"/>
                <a:gd name="connsiteX287" fmla="*/ 254508 w 397192"/>
                <a:gd name="connsiteY287" fmla="*/ 181166 h 628840"/>
                <a:gd name="connsiteX288" fmla="*/ 251460 w 397192"/>
                <a:gd name="connsiteY288" fmla="*/ 185166 h 628840"/>
                <a:gd name="connsiteX289" fmla="*/ 244697 w 397192"/>
                <a:gd name="connsiteY289" fmla="*/ 189738 h 628840"/>
                <a:gd name="connsiteX290" fmla="*/ 250793 w 397192"/>
                <a:gd name="connsiteY290" fmla="*/ 194310 h 628840"/>
                <a:gd name="connsiteX291" fmla="*/ 254413 w 397192"/>
                <a:gd name="connsiteY291" fmla="*/ 193834 h 628840"/>
                <a:gd name="connsiteX292" fmla="*/ 263843 w 397192"/>
                <a:gd name="connsiteY292" fmla="*/ 196215 h 628840"/>
                <a:gd name="connsiteX293" fmla="*/ 264033 w 397192"/>
                <a:gd name="connsiteY293" fmla="*/ 198025 h 628840"/>
                <a:gd name="connsiteX294" fmla="*/ 264795 w 397192"/>
                <a:gd name="connsiteY294" fmla="*/ 203359 h 628840"/>
                <a:gd name="connsiteX295" fmla="*/ 274225 w 397192"/>
                <a:gd name="connsiteY295" fmla="*/ 205740 h 628840"/>
                <a:gd name="connsiteX296" fmla="*/ 274511 w 397192"/>
                <a:gd name="connsiteY296" fmla="*/ 207550 h 628840"/>
                <a:gd name="connsiteX297" fmla="*/ 276225 w 397192"/>
                <a:gd name="connsiteY297" fmla="*/ 207264 h 628840"/>
                <a:gd name="connsiteX298" fmla="*/ 279845 w 397192"/>
                <a:gd name="connsiteY298" fmla="*/ 206788 h 628840"/>
                <a:gd name="connsiteX299" fmla="*/ 291560 w 397192"/>
                <a:gd name="connsiteY299" fmla="*/ 212503 h 628840"/>
                <a:gd name="connsiteX300" fmla="*/ 294894 w 397192"/>
                <a:gd name="connsiteY300" fmla="*/ 210217 h 628840"/>
                <a:gd name="connsiteX301" fmla="*/ 296704 w 397192"/>
                <a:gd name="connsiteY301" fmla="*/ 210026 h 628840"/>
                <a:gd name="connsiteX302" fmla="*/ 308420 w 397192"/>
                <a:gd name="connsiteY302" fmla="*/ 215741 h 628840"/>
                <a:gd name="connsiteX303" fmla="*/ 313849 w 397192"/>
                <a:gd name="connsiteY303" fmla="*/ 214979 h 628840"/>
                <a:gd name="connsiteX304" fmla="*/ 314039 w 397192"/>
                <a:gd name="connsiteY304" fmla="*/ 216789 h 628840"/>
                <a:gd name="connsiteX305" fmla="*/ 318421 w 397192"/>
                <a:gd name="connsiteY305" fmla="*/ 221647 h 628840"/>
                <a:gd name="connsiteX306" fmla="*/ 325374 w 397192"/>
                <a:gd name="connsiteY306" fmla="*/ 233458 h 628840"/>
                <a:gd name="connsiteX307" fmla="*/ 334137 w 397192"/>
                <a:gd name="connsiteY307" fmla="*/ 230410 h 628840"/>
                <a:gd name="connsiteX308" fmla="*/ 336899 w 397192"/>
                <a:gd name="connsiteY308" fmla="*/ 237363 h 628840"/>
                <a:gd name="connsiteX309" fmla="*/ 335566 w 397192"/>
                <a:gd name="connsiteY309" fmla="*/ 241173 h 628840"/>
                <a:gd name="connsiteX310" fmla="*/ 335852 w 397192"/>
                <a:gd name="connsiteY310" fmla="*/ 242888 h 628840"/>
                <a:gd name="connsiteX311" fmla="*/ 332422 w 397192"/>
                <a:gd name="connsiteY311" fmla="*/ 245174 h 628840"/>
                <a:gd name="connsiteX312" fmla="*/ 337185 w 397192"/>
                <a:gd name="connsiteY312" fmla="*/ 253555 h 628840"/>
                <a:gd name="connsiteX313" fmla="*/ 340233 w 397192"/>
                <a:gd name="connsiteY313" fmla="*/ 262223 h 628840"/>
                <a:gd name="connsiteX314" fmla="*/ 339376 w 397192"/>
                <a:gd name="connsiteY314" fmla="*/ 269653 h 628840"/>
                <a:gd name="connsiteX315" fmla="*/ 341852 w 397192"/>
                <a:gd name="connsiteY315" fmla="*/ 274701 h 628840"/>
                <a:gd name="connsiteX316" fmla="*/ 343376 w 397192"/>
                <a:gd name="connsiteY316" fmla="*/ 272701 h 628840"/>
                <a:gd name="connsiteX317" fmla="*/ 345472 w 397192"/>
                <a:gd name="connsiteY317" fmla="*/ 274225 h 628840"/>
                <a:gd name="connsiteX318" fmla="*/ 347948 w 397192"/>
                <a:gd name="connsiteY318" fmla="*/ 279368 h 628840"/>
                <a:gd name="connsiteX319" fmla="*/ 351377 w 397192"/>
                <a:gd name="connsiteY319" fmla="*/ 291655 h 628840"/>
                <a:gd name="connsiteX320" fmla="*/ 355187 w 397192"/>
                <a:gd name="connsiteY320" fmla="*/ 292894 h 628840"/>
                <a:gd name="connsiteX321" fmla="*/ 352139 w 397192"/>
                <a:gd name="connsiteY321" fmla="*/ 296989 h 628840"/>
                <a:gd name="connsiteX322" fmla="*/ 356997 w 397192"/>
                <a:gd name="connsiteY322" fmla="*/ 292703 h 628840"/>
                <a:gd name="connsiteX323" fmla="*/ 357283 w 397192"/>
                <a:gd name="connsiteY323" fmla="*/ 294513 h 628840"/>
                <a:gd name="connsiteX324" fmla="*/ 357759 w 397192"/>
                <a:gd name="connsiteY324" fmla="*/ 298037 h 628840"/>
                <a:gd name="connsiteX325" fmla="*/ 356140 w 397192"/>
                <a:gd name="connsiteY325" fmla="*/ 300038 h 628840"/>
                <a:gd name="connsiteX326" fmla="*/ 349948 w 397192"/>
                <a:gd name="connsiteY326" fmla="*/ 308134 h 628840"/>
                <a:gd name="connsiteX327" fmla="*/ 350139 w 397192"/>
                <a:gd name="connsiteY327" fmla="*/ 309848 h 628840"/>
                <a:gd name="connsiteX328" fmla="*/ 348234 w 397192"/>
                <a:gd name="connsiteY328" fmla="*/ 322802 h 628840"/>
                <a:gd name="connsiteX329" fmla="*/ 341281 w 397192"/>
                <a:gd name="connsiteY329" fmla="*/ 325564 h 628840"/>
                <a:gd name="connsiteX330" fmla="*/ 338138 w 397192"/>
                <a:gd name="connsiteY330" fmla="*/ 329660 h 628840"/>
                <a:gd name="connsiteX331" fmla="*/ 331661 w 397192"/>
                <a:gd name="connsiteY331" fmla="*/ 335947 h 628840"/>
                <a:gd name="connsiteX332" fmla="*/ 330803 w 397192"/>
                <a:gd name="connsiteY332" fmla="*/ 343281 h 628840"/>
                <a:gd name="connsiteX333" fmla="*/ 336613 w 397192"/>
                <a:gd name="connsiteY333" fmla="*/ 346138 h 628840"/>
                <a:gd name="connsiteX334" fmla="*/ 337376 w 397192"/>
                <a:gd name="connsiteY334" fmla="*/ 351472 h 628840"/>
                <a:gd name="connsiteX335" fmla="*/ 345281 w 397192"/>
                <a:gd name="connsiteY335" fmla="*/ 355854 h 628840"/>
                <a:gd name="connsiteX336" fmla="*/ 346710 w 397192"/>
                <a:gd name="connsiteY336" fmla="*/ 366617 h 628840"/>
                <a:gd name="connsiteX337" fmla="*/ 338042 w 397192"/>
                <a:gd name="connsiteY337" fmla="*/ 384048 h 628840"/>
                <a:gd name="connsiteX338" fmla="*/ 343853 w 397192"/>
                <a:gd name="connsiteY338" fmla="*/ 386905 h 628840"/>
                <a:gd name="connsiteX339" fmla="*/ 350425 w 397192"/>
                <a:gd name="connsiteY339" fmla="*/ 395097 h 628840"/>
                <a:gd name="connsiteX340" fmla="*/ 352330 w 397192"/>
                <a:gd name="connsiteY340" fmla="*/ 409289 h 628840"/>
                <a:gd name="connsiteX341" fmla="*/ 356140 w 397192"/>
                <a:gd name="connsiteY341" fmla="*/ 410623 h 628840"/>
                <a:gd name="connsiteX342" fmla="*/ 360236 w 397192"/>
                <a:gd name="connsiteY342" fmla="*/ 413766 h 628840"/>
                <a:gd name="connsiteX343" fmla="*/ 362045 w 397192"/>
                <a:gd name="connsiteY343" fmla="*/ 413480 h 628840"/>
                <a:gd name="connsiteX344" fmla="*/ 362521 w 397192"/>
                <a:gd name="connsiteY344" fmla="*/ 417100 h 628840"/>
                <a:gd name="connsiteX345" fmla="*/ 356045 w 397192"/>
                <a:gd name="connsiteY345" fmla="*/ 423291 h 628840"/>
                <a:gd name="connsiteX346" fmla="*/ 354235 w 397192"/>
                <a:gd name="connsiteY346" fmla="*/ 423577 h 628840"/>
                <a:gd name="connsiteX347" fmla="*/ 355187 w 397192"/>
                <a:gd name="connsiteY347" fmla="*/ 430721 h 628840"/>
                <a:gd name="connsiteX348" fmla="*/ 348710 w 397192"/>
                <a:gd name="connsiteY348" fmla="*/ 437007 h 628840"/>
                <a:gd name="connsiteX349" fmla="*/ 354806 w 397192"/>
                <a:gd name="connsiteY349" fmla="*/ 441674 h 628840"/>
                <a:gd name="connsiteX350" fmla="*/ 354044 w 397192"/>
                <a:gd name="connsiteY350" fmla="*/ 436245 h 628840"/>
                <a:gd name="connsiteX351" fmla="*/ 368427 w 397192"/>
                <a:gd name="connsiteY351" fmla="*/ 434340 h 628840"/>
                <a:gd name="connsiteX352" fmla="*/ 372237 w 397192"/>
                <a:gd name="connsiteY352" fmla="*/ 435673 h 628840"/>
                <a:gd name="connsiteX353" fmla="*/ 375856 w 397192"/>
                <a:gd name="connsiteY353" fmla="*/ 435197 h 628840"/>
                <a:gd name="connsiteX354" fmla="*/ 378143 w 397192"/>
                <a:gd name="connsiteY354" fmla="*/ 438531 h 628840"/>
                <a:gd name="connsiteX355" fmla="*/ 384810 w 397192"/>
                <a:gd name="connsiteY355" fmla="*/ 434054 h 628840"/>
                <a:gd name="connsiteX356" fmla="*/ 390906 w 397192"/>
                <a:gd name="connsiteY356" fmla="*/ 424148 h 628840"/>
                <a:gd name="connsiteX357" fmla="*/ 394430 w 397192"/>
                <a:gd name="connsiteY357" fmla="*/ 423672 h 628840"/>
                <a:gd name="connsiteX358" fmla="*/ 397193 w 397192"/>
                <a:gd name="connsiteY358" fmla="*/ 430625 h 628840"/>
                <a:gd name="connsiteX359" fmla="*/ 395288 w 397192"/>
                <a:gd name="connsiteY359" fmla="*/ 443484 h 628840"/>
                <a:gd name="connsiteX360" fmla="*/ 392144 w 397192"/>
                <a:gd name="connsiteY360" fmla="*/ 447580 h 628840"/>
                <a:gd name="connsiteX361" fmla="*/ 394430 w 397192"/>
                <a:gd name="connsiteY361" fmla="*/ 450913 h 628840"/>
                <a:gd name="connsiteX362" fmla="*/ 392621 w 397192"/>
                <a:gd name="connsiteY362" fmla="*/ 451104 h 628840"/>
                <a:gd name="connsiteX363" fmla="*/ 394906 w 397192"/>
                <a:gd name="connsiteY363" fmla="*/ 454438 h 628840"/>
                <a:gd name="connsiteX364" fmla="*/ 391573 w 397192"/>
                <a:gd name="connsiteY364" fmla="*/ 456724 h 628840"/>
                <a:gd name="connsiteX365" fmla="*/ 384524 w 397192"/>
                <a:gd name="connsiteY365" fmla="*/ 486632 h 628840"/>
                <a:gd name="connsiteX366" fmla="*/ 378619 w 397192"/>
                <a:gd name="connsiteY366" fmla="*/ 483775 h 628840"/>
                <a:gd name="connsiteX367" fmla="*/ 377285 w 397192"/>
                <a:gd name="connsiteY367" fmla="*/ 487585 h 628840"/>
                <a:gd name="connsiteX368" fmla="*/ 373475 w 397192"/>
                <a:gd name="connsiteY368" fmla="*/ 486251 h 628840"/>
                <a:gd name="connsiteX369" fmla="*/ 370142 w 397192"/>
                <a:gd name="connsiteY369" fmla="*/ 488537 h 628840"/>
                <a:gd name="connsiteX370" fmla="*/ 370808 w 397192"/>
                <a:gd name="connsiteY370" fmla="*/ 493871 h 628840"/>
                <a:gd name="connsiteX371" fmla="*/ 365474 w 397192"/>
                <a:gd name="connsiteY371" fmla="*/ 494633 h 628840"/>
                <a:gd name="connsiteX372" fmla="*/ 363188 w 397192"/>
                <a:gd name="connsiteY372" fmla="*/ 491299 h 628840"/>
                <a:gd name="connsiteX373" fmla="*/ 355759 w 397192"/>
                <a:gd name="connsiteY373" fmla="*/ 490442 h 628840"/>
                <a:gd name="connsiteX374" fmla="*/ 350901 w 397192"/>
                <a:gd name="connsiteY374" fmla="*/ 494729 h 628840"/>
                <a:gd name="connsiteX375" fmla="*/ 350520 w 397192"/>
                <a:gd name="connsiteY375" fmla="*/ 505682 h 628840"/>
                <a:gd name="connsiteX376" fmla="*/ 345377 w 397192"/>
                <a:gd name="connsiteY376" fmla="*/ 522637 h 628840"/>
                <a:gd name="connsiteX377" fmla="*/ 343567 w 397192"/>
                <a:gd name="connsiteY377" fmla="*/ 522922 h 628840"/>
                <a:gd name="connsiteX378" fmla="*/ 344996 w 397192"/>
                <a:gd name="connsiteY378" fmla="*/ 533590 h 628840"/>
                <a:gd name="connsiteX379" fmla="*/ 340138 w 397192"/>
                <a:gd name="connsiteY379" fmla="*/ 537877 h 628840"/>
                <a:gd name="connsiteX380" fmla="*/ 334232 w 397192"/>
                <a:gd name="connsiteY380" fmla="*/ 535019 h 628840"/>
                <a:gd name="connsiteX381" fmla="*/ 321469 w 397192"/>
                <a:gd name="connsiteY381" fmla="*/ 534924 h 628840"/>
                <a:gd name="connsiteX382" fmla="*/ 322231 w 397192"/>
                <a:gd name="connsiteY382" fmla="*/ 554736 h 628840"/>
                <a:gd name="connsiteX383" fmla="*/ 323755 w 397192"/>
                <a:gd name="connsiteY383" fmla="*/ 552736 h 628840"/>
                <a:gd name="connsiteX384" fmla="*/ 326327 w 397192"/>
                <a:gd name="connsiteY384" fmla="*/ 557784 h 62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</a:cxnLst>
              <a:rect l="l" t="t" r="r" b="b"/>
              <a:pathLst>
                <a:path w="397192" h="628840">
                  <a:moveTo>
                    <a:pt x="326327" y="557784"/>
                  </a:moveTo>
                  <a:lnTo>
                    <a:pt x="313563" y="572167"/>
                  </a:lnTo>
                  <a:lnTo>
                    <a:pt x="309944" y="572738"/>
                  </a:lnTo>
                  <a:lnTo>
                    <a:pt x="299561" y="563213"/>
                  </a:lnTo>
                  <a:lnTo>
                    <a:pt x="294227" y="563880"/>
                  </a:lnTo>
                  <a:lnTo>
                    <a:pt x="293751" y="560261"/>
                  </a:lnTo>
                  <a:lnTo>
                    <a:pt x="289655" y="557213"/>
                  </a:lnTo>
                  <a:lnTo>
                    <a:pt x="282797" y="532733"/>
                  </a:lnTo>
                  <a:lnTo>
                    <a:pt x="276511" y="540830"/>
                  </a:lnTo>
                  <a:lnTo>
                    <a:pt x="265557" y="540448"/>
                  </a:lnTo>
                  <a:lnTo>
                    <a:pt x="268129" y="532829"/>
                  </a:lnTo>
                  <a:lnTo>
                    <a:pt x="265652" y="527780"/>
                  </a:lnTo>
                  <a:lnTo>
                    <a:pt x="258889" y="517779"/>
                  </a:lnTo>
                  <a:lnTo>
                    <a:pt x="256604" y="514445"/>
                  </a:lnTo>
                  <a:lnTo>
                    <a:pt x="250698" y="511588"/>
                  </a:lnTo>
                  <a:lnTo>
                    <a:pt x="250031" y="506254"/>
                  </a:lnTo>
                  <a:lnTo>
                    <a:pt x="244412" y="505206"/>
                  </a:lnTo>
                  <a:lnTo>
                    <a:pt x="243078" y="509016"/>
                  </a:lnTo>
                  <a:lnTo>
                    <a:pt x="237935" y="511493"/>
                  </a:lnTo>
                  <a:lnTo>
                    <a:pt x="230600" y="525113"/>
                  </a:lnTo>
                  <a:lnTo>
                    <a:pt x="233553" y="533781"/>
                  </a:lnTo>
                  <a:lnTo>
                    <a:pt x="232696" y="541211"/>
                  </a:lnTo>
                  <a:lnTo>
                    <a:pt x="235458" y="548069"/>
                  </a:lnTo>
                  <a:lnTo>
                    <a:pt x="236029" y="566166"/>
                  </a:lnTo>
                  <a:lnTo>
                    <a:pt x="232220" y="564832"/>
                  </a:lnTo>
                  <a:lnTo>
                    <a:pt x="229076" y="568833"/>
                  </a:lnTo>
                  <a:lnTo>
                    <a:pt x="225266" y="567595"/>
                  </a:lnTo>
                  <a:lnTo>
                    <a:pt x="229457" y="557974"/>
                  </a:lnTo>
                  <a:lnTo>
                    <a:pt x="222980" y="564261"/>
                  </a:lnTo>
                  <a:lnTo>
                    <a:pt x="208121" y="562547"/>
                  </a:lnTo>
                  <a:lnTo>
                    <a:pt x="202025" y="557974"/>
                  </a:lnTo>
                  <a:lnTo>
                    <a:pt x="192214" y="566452"/>
                  </a:lnTo>
                  <a:lnTo>
                    <a:pt x="183166" y="567690"/>
                  </a:lnTo>
                  <a:lnTo>
                    <a:pt x="179832" y="569976"/>
                  </a:lnTo>
                  <a:lnTo>
                    <a:pt x="173736" y="565309"/>
                  </a:lnTo>
                  <a:lnTo>
                    <a:pt x="157829" y="569214"/>
                  </a:lnTo>
                  <a:lnTo>
                    <a:pt x="158115" y="571024"/>
                  </a:lnTo>
                  <a:lnTo>
                    <a:pt x="150495" y="582930"/>
                  </a:lnTo>
                  <a:lnTo>
                    <a:pt x="143351" y="583882"/>
                  </a:lnTo>
                  <a:lnTo>
                    <a:pt x="144018" y="589216"/>
                  </a:lnTo>
                  <a:lnTo>
                    <a:pt x="128778" y="598456"/>
                  </a:lnTo>
                  <a:lnTo>
                    <a:pt x="121348" y="597598"/>
                  </a:lnTo>
                  <a:lnTo>
                    <a:pt x="114681" y="602171"/>
                  </a:lnTo>
                  <a:lnTo>
                    <a:pt x="109728" y="606362"/>
                  </a:lnTo>
                  <a:lnTo>
                    <a:pt x="110490" y="611791"/>
                  </a:lnTo>
                  <a:lnTo>
                    <a:pt x="106871" y="612267"/>
                  </a:lnTo>
                  <a:lnTo>
                    <a:pt x="107061" y="613981"/>
                  </a:lnTo>
                  <a:lnTo>
                    <a:pt x="103251" y="612743"/>
                  </a:lnTo>
                  <a:lnTo>
                    <a:pt x="103537" y="614458"/>
                  </a:lnTo>
                  <a:lnTo>
                    <a:pt x="96107" y="613696"/>
                  </a:lnTo>
                  <a:lnTo>
                    <a:pt x="96584" y="617220"/>
                  </a:lnTo>
                  <a:lnTo>
                    <a:pt x="88963" y="614648"/>
                  </a:lnTo>
                  <a:lnTo>
                    <a:pt x="74200" y="627412"/>
                  </a:lnTo>
                  <a:lnTo>
                    <a:pt x="63341" y="628840"/>
                  </a:lnTo>
                  <a:lnTo>
                    <a:pt x="51435" y="621411"/>
                  </a:lnTo>
                  <a:lnTo>
                    <a:pt x="46863" y="614744"/>
                  </a:lnTo>
                  <a:lnTo>
                    <a:pt x="43625" y="604266"/>
                  </a:lnTo>
                  <a:lnTo>
                    <a:pt x="44101" y="593312"/>
                  </a:lnTo>
                  <a:lnTo>
                    <a:pt x="38576" y="579596"/>
                  </a:lnTo>
                  <a:lnTo>
                    <a:pt x="23241" y="574357"/>
                  </a:lnTo>
                  <a:lnTo>
                    <a:pt x="30099" y="557117"/>
                  </a:lnTo>
                  <a:lnTo>
                    <a:pt x="28099" y="555593"/>
                  </a:lnTo>
                  <a:lnTo>
                    <a:pt x="24479" y="541591"/>
                  </a:lnTo>
                  <a:lnTo>
                    <a:pt x="29337" y="537305"/>
                  </a:lnTo>
                  <a:lnTo>
                    <a:pt x="28861" y="533686"/>
                  </a:lnTo>
                  <a:lnTo>
                    <a:pt x="27051" y="533972"/>
                  </a:lnTo>
                  <a:lnTo>
                    <a:pt x="31718" y="527876"/>
                  </a:lnTo>
                  <a:lnTo>
                    <a:pt x="26384" y="528638"/>
                  </a:lnTo>
                  <a:lnTo>
                    <a:pt x="24289" y="527113"/>
                  </a:lnTo>
                  <a:lnTo>
                    <a:pt x="18288" y="536924"/>
                  </a:lnTo>
                  <a:lnTo>
                    <a:pt x="18764" y="540448"/>
                  </a:lnTo>
                  <a:lnTo>
                    <a:pt x="15240" y="541020"/>
                  </a:lnTo>
                  <a:lnTo>
                    <a:pt x="9525" y="539877"/>
                  </a:lnTo>
                  <a:lnTo>
                    <a:pt x="7048" y="534734"/>
                  </a:lnTo>
                  <a:lnTo>
                    <a:pt x="12192" y="532257"/>
                  </a:lnTo>
                  <a:lnTo>
                    <a:pt x="5905" y="525875"/>
                  </a:lnTo>
                  <a:lnTo>
                    <a:pt x="0" y="523018"/>
                  </a:lnTo>
                  <a:lnTo>
                    <a:pt x="1619" y="521018"/>
                  </a:lnTo>
                  <a:lnTo>
                    <a:pt x="17621" y="504349"/>
                  </a:lnTo>
                  <a:lnTo>
                    <a:pt x="25241" y="492538"/>
                  </a:lnTo>
                  <a:lnTo>
                    <a:pt x="28099" y="486728"/>
                  </a:lnTo>
                  <a:lnTo>
                    <a:pt x="29718" y="484632"/>
                  </a:lnTo>
                  <a:lnTo>
                    <a:pt x="43244" y="462915"/>
                  </a:lnTo>
                  <a:lnTo>
                    <a:pt x="42767" y="459391"/>
                  </a:lnTo>
                  <a:lnTo>
                    <a:pt x="34195" y="449580"/>
                  </a:lnTo>
                  <a:lnTo>
                    <a:pt x="33433" y="444246"/>
                  </a:lnTo>
                  <a:lnTo>
                    <a:pt x="30480" y="435578"/>
                  </a:lnTo>
                  <a:lnTo>
                    <a:pt x="34100" y="435102"/>
                  </a:lnTo>
                  <a:lnTo>
                    <a:pt x="33909" y="433388"/>
                  </a:lnTo>
                  <a:lnTo>
                    <a:pt x="35623" y="433102"/>
                  </a:lnTo>
                  <a:lnTo>
                    <a:pt x="34957" y="427768"/>
                  </a:lnTo>
                  <a:lnTo>
                    <a:pt x="43720" y="424815"/>
                  </a:lnTo>
                  <a:lnTo>
                    <a:pt x="46672" y="433483"/>
                  </a:lnTo>
                  <a:lnTo>
                    <a:pt x="55626" y="432245"/>
                  </a:lnTo>
                  <a:lnTo>
                    <a:pt x="59246" y="431768"/>
                  </a:lnTo>
                  <a:lnTo>
                    <a:pt x="69723" y="428625"/>
                  </a:lnTo>
                  <a:lnTo>
                    <a:pt x="69056" y="423196"/>
                  </a:lnTo>
                  <a:lnTo>
                    <a:pt x="70580" y="421196"/>
                  </a:lnTo>
                  <a:lnTo>
                    <a:pt x="74009" y="419005"/>
                  </a:lnTo>
                  <a:lnTo>
                    <a:pt x="75343" y="415195"/>
                  </a:lnTo>
                  <a:lnTo>
                    <a:pt x="82487" y="414242"/>
                  </a:lnTo>
                  <a:lnTo>
                    <a:pt x="81058" y="403574"/>
                  </a:lnTo>
                  <a:lnTo>
                    <a:pt x="73628" y="388239"/>
                  </a:lnTo>
                  <a:lnTo>
                    <a:pt x="67437" y="383572"/>
                  </a:lnTo>
                  <a:lnTo>
                    <a:pt x="73152" y="384620"/>
                  </a:lnTo>
                  <a:lnTo>
                    <a:pt x="70580" y="379571"/>
                  </a:lnTo>
                  <a:lnTo>
                    <a:pt x="80867" y="374523"/>
                  </a:lnTo>
                  <a:lnTo>
                    <a:pt x="74581" y="368141"/>
                  </a:lnTo>
                  <a:lnTo>
                    <a:pt x="73438" y="359188"/>
                  </a:lnTo>
                  <a:lnTo>
                    <a:pt x="72866" y="355663"/>
                  </a:lnTo>
                  <a:lnTo>
                    <a:pt x="69818" y="359664"/>
                  </a:lnTo>
                  <a:lnTo>
                    <a:pt x="59912" y="353759"/>
                  </a:lnTo>
                  <a:lnTo>
                    <a:pt x="53530" y="347281"/>
                  </a:lnTo>
                  <a:lnTo>
                    <a:pt x="52578" y="340233"/>
                  </a:lnTo>
                  <a:lnTo>
                    <a:pt x="51626" y="333089"/>
                  </a:lnTo>
                  <a:lnTo>
                    <a:pt x="46482" y="335566"/>
                  </a:lnTo>
                  <a:lnTo>
                    <a:pt x="44005" y="330422"/>
                  </a:lnTo>
                  <a:lnTo>
                    <a:pt x="41624" y="312706"/>
                  </a:lnTo>
                  <a:lnTo>
                    <a:pt x="55340" y="305371"/>
                  </a:lnTo>
                  <a:lnTo>
                    <a:pt x="62389" y="289941"/>
                  </a:lnTo>
                  <a:lnTo>
                    <a:pt x="50959" y="286036"/>
                  </a:lnTo>
                  <a:lnTo>
                    <a:pt x="63722" y="286131"/>
                  </a:lnTo>
                  <a:lnTo>
                    <a:pt x="71723" y="277844"/>
                  </a:lnTo>
                  <a:lnTo>
                    <a:pt x="65913" y="274987"/>
                  </a:lnTo>
                  <a:lnTo>
                    <a:pt x="58007" y="270605"/>
                  </a:lnTo>
                  <a:lnTo>
                    <a:pt x="52673" y="271272"/>
                  </a:lnTo>
                  <a:lnTo>
                    <a:pt x="46292" y="264890"/>
                  </a:lnTo>
                  <a:lnTo>
                    <a:pt x="43815" y="259747"/>
                  </a:lnTo>
                  <a:lnTo>
                    <a:pt x="38386" y="260509"/>
                  </a:lnTo>
                  <a:lnTo>
                    <a:pt x="36386" y="258985"/>
                  </a:lnTo>
                  <a:lnTo>
                    <a:pt x="39053" y="251365"/>
                  </a:lnTo>
                  <a:lnTo>
                    <a:pt x="44196" y="248888"/>
                  </a:lnTo>
                  <a:lnTo>
                    <a:pt x="46101" y="235934"/>
                  </a:lnTo>
                  <a:lnTo>
                    <a:pt x="55912" y="227362"/>
                  </a:lnTo>
                  <a:lnTo>
                    <a:pt x="64961" y="226219"/>
                  </a:lnTo>
                  <a:lnTo>
                    <a:pt x="66485" y="224123"/>
                  </a:lnTo>
                  <a:lnTo>
                    <a:pt x="62484" y="221075"/>
                  </a:lnTo>
                  <a:lnTo>
                    <a:pt x="54959" y="220218"/>
                  </a:lnTo>
                  <a:lnTo>
                    <a:pt x="58103" y="216217"/>
                  </a:lnTo>
                  <a:lnTo>
                    <a:pt x="54197" y="200406"/>
                  </a:lnTo>
                  <a:lnTo>
                    <a:pt x="49435" y="191929"/>
                  </a:lnTo>
                  <a:lnTo>
                    <a:pt x="45339" y="188881"/>
                  </a:lnTo>
                  <a:lnTo>
                    <a:pt x="40577" y="180404"/>
                  </a:lnTo>
                  <a:lnTo>
                    <a:pt x="42196" y="178403"/>
                  </a:lnTo>
                  <a:lnTo>
                    <a:pt x="43244" y="172879"/>
                  </a:lnTo>
                  <a:lnTo>
                    <a:pt x="51530" y="166307"/>
                  </a:lnTo>
                  <a:lnTo>
                    <a:pt x="59150" y="168878"/>
                  </a:lnTo>
                  <a:lnTo>
                    <a:pt x="63532" y="173736"/>
                  </a:lnTo>
                  <a:lnTo>
                    <a:pt x="75629" y="183071"/>
                  </a:lnTo>
                  <a:lnTo>
                    <a:pt x="80296" y="176975"/>
                  </a:lnTo>
                  <a:lnTo>
                    <a:pt x="77819" y="171926"/>
                  </a:lnTo>
                  <a:lnTo>
                    <a:pt x="79629" y="171641"/>
                  </a:lnTo>
                  <a:lnTo>
                    <a:pt x="81248" y="169640"/>
                  </a:lnTo>
                  <a:lnTo>
                    <a:pt x="82010" y="162211"/>
                  </a:lnTo>
                  <a:lnTo>
                    <a:pt x="83629" y="160211"/>
                  </a:lnTo>
                  <a:lnTo>
                    <a:pt x="84677" y="154686"/>
                  </a:lnTo>
                  <a:lnTo>
                    <a:pt x="92488" y="144589"/>
                  </a:lnTo>
                  <a:lnTo>
                    <a:pt x="98965" y="138303"/>
                  </a:lnTo>
                  <a:lnTo>
                    <a:pt x="104585" y="139351"/>
                  </a:lnTo>
                  <a:lnTo>
                    <a:pt x="109252" y="133255"/>
                  </a:lnTo>
                  <a:lnTo>
                    <a:pt x="113347" y="136303"/>
                  </a:lnTo>
                  <a:lnTo>
                    <a:pt x="108776" y="129730"/>
                  </a:lnTo>
                  <a:lnTo>
                    <a:pt x="111728" y="123920"/>
                  </a:lnTo>
                  <a:lnTo>
                    <a:pt x="109442" y="120587"/>
                  </a:lnTo>
                  <a:lnTo>
                    <a:pt x="110490" y="114967"/>
                  </a:lnTo>
                  <a:lnTo>
                    <a:pt x="110300" y="113157"/>
                  </a:lnTo>
                  <a:lnTo>
                    <a:pt x="115824" y="99727"/>
                  </a:lnTo>
                  <a:lnTo>
                    <a:pt x="120110" y="104680"/>
                  </a:lnTo>
                  <a:lnTo>
                    <a:pt x="125539" y="103918"/>
                  </a:lnTo>
                  <a:lnTo>
                    <a:pt x="129921" y="96107"/>
                  </a:lnTo>
                  <a:lnTo>
                    <a:pt x="121634" y="88106"/>
                  </a:lnTo>
                  <a:lnTo>
                    <a:pt x="122492" y="80772"/>
                  </a:lnTo>
                  <a:lnTo>
                    <a:pt x="122015" y="77153"/>
                  </a:lnTo>
                  <a:lnTo>
                    <a:pt x="110776" y="75057"/>
                  </a:lnTo>
                  <a:lnTo>
                    <a:pt x="108490" y="71723"/>
                  </a:lnTo>
                  <a:lnTo>
                    <a:pt x="109823" y="67913"/>
                  </a:lnTo>
                  <a:lnTo>
                    <a:pt x="114967" y="65437"/>
                  </a:lnTo>
                  <a:lnTo>
                    <a:pt x="112871" y="63913"/>
                  </a:lnTo>
                  <a:lnTo>
                    <a:pt x="116014" y="59817"/>
                  </a:lnTo>
                  <a:lnTo>
                    <a:pt x="112204" y="58579"/>
                  </a:lnTo>
                  <a:lnTo>
                    <a:pt x="111728" y="54959"/>
                  </a:lnTo>
                  <a:lnTo>
                    <a:pt x="106299" y="55721"/>
                  </a:lnTo>
                  <a:lnTo>
                    <a:pt x="104775" y="57721"/>
                  </a:lnTo>
                  <a:lnTo>
                    <a:pt x="104108" y="52388"/>
                  </a:lnTo>
                  <a:lnTo>
                    <a:pt x="100203" y="51054"/>
                  </a:lnTo>
                  <a:lnTo>
                    <a:pt x="97727" y="46006"/>
                  </a:lnTo>
                  <a:lnTo>
                    <a:pt x="93917" y="44672"/>
                  </a:lnTo>
                  <a:lnTo>
                    <a:pt x="95440" y="42672"/>
                  </a:lnTo>
                  <a:lnTo>
                    <a:pt x="91916" y="43148"/>
                  </a:lnTo>
                  <a:lnTo>
                    <a:pt x="86487" y="43815"/>
                  </a:lnTo>
                  <a:lnTo>
                    <a:pt x="86296" y="42005"/>
                  </a:lnTo>
                  <a:lnTo>
                    <a:pt x="88868" y="34480"/>
                  </a:lnTo>
                  <a:lnTo>
                    <a:pt x="82772" y="29813"/>
                  </a:lnTo>
                  <a:lnTo>
                    <a:pt x="77438" y="30480"/>
                  </a:lnTo>
                  <a:lnTo>
                    <a:pt x="80581" y="26479"/>
                  </a:lnTo>
                  <a:lnTo>
                    <a:pt x="86392" y="29337"/>
                  </a:lnTo>
                  <a:lnTo>
                    <a:pt x="91535" y="26861"/>
                  </a:lnTo>
                  <a:lnTo>
                    <a:pt x="92678" y="21241"/>
                  </a:lnTo>
                  <a:lnTo>
                    <a:pt x="96203" y="20764"/>
                  </a:lnTo>
                  <a:lnTo>
                    <a:pt x="96012" y="18955"/>
                  </a:lnTo>
                  <a:lnTo>
                    <a:pt x="90583" y="19717"/>
                  </a:lnTo>
                  <a:lnTo>
                    <a:pt x="90392" y="17907"/>
                  </a:lnTo>
                  <a:lnTo>
                    <a:pt x="93726" y="15621"/>
                  </a:lnTo>
                  <a:lnTo>
                    <a:pt x="100965" y="14764"/>
                  </a:lnTo>
                  <a:lnTo>
                    <a:pt x="119253" y="1429"/>
                  </a:lnTo>
                  <a:lnTo>
                    <a:pt x="123349" y="4477"/>
                  </a:lnTo>
                  <a:lnTo>
                    <a:pt x="128206" y="191"/>
                  </a:lnTo>
                  <a:lnTo>
                    <a:pt x="130016" y="0"/>
                  </a:lnTo>
                  <a:lnTo>
                    <a:pt x="142970" y="14573"/>
                  </a:lnTo>
                  <a:lnTo>
                    <a:pt x="149162" y="6477"/>
                  </a:lnTo>
                  <a:lnTo>
                    <a:pt x="151162" y="8096"/>
                  </a:lnTo>
                  <a:lnTo>
                    <a:pt x="153257" y="9620"/>
                  </a:lnTo>
                  <a:lnTo>
                    <a:pt x="156877" y="9144"/>
                  </a:lnTo>
                  <a:lnTo>
                    <a:pt x="155257" y="11144"/>
                  </a:lnTo>
                  <a:lnTo>
                    <a:pt x="156020" y="16478"/>
                  </a:lnTo>
                  <a:lnTo>
                    <a:pt x="165926" y="22384"/>
                  </a:lnTo>
                  <a:lnTo>
                    <a:pt x="166878" y="29528"/>
                  </a:lnTo>
                  <a:lnTo>
                    <a:pt x="167069" y="31337"/>
                  </a:lnTo>
                  <a:lnTo>
                    <a:pt x="160115" y="34100"/>
                  </a:lnTo>
                  <a:lnTo>
                    <a:pt x="162211" y="35624"/>
                  </a:lnTo>
                  <a:lnTo>
                    <a:pt x="167545" y="34862"/>
                  </a:lnTo>
                  <a:lnTo>
                    <a:pt x="166688" y="42291"/>
                  </a:lnTo>
                  <a:lnTo>
                    <a:pt x="181546" y="43910"/>
                  </a:lnTo>
                  <a:lnTo>
                    <a:pt x="183832" y="47244"/>
                  </a:lnTo>
                  <a:lnTo>
                    <a:pt x="182213" y="49244"/>
                  </a:lnTo>
                  <a:lnTo>
                    <a:pt x="176879" y="50006"/>
                  </a:lnTo>
                  <a:lnTo>
                    <a:pt x="177355" y="53530"/>
                  </a:lnTo>
                  <a:lnTo>
                    <a:pt x="178879" y="51530"/>
                  </a:lnTo>
                  <a:lnTo>
                    <a:pt x="183166" y="56388"/>
                  </a:lnTo>
                  <a:lnTo>
                    <a:pt x="186595" y="54102"/>
                  </a:lnTo>
                  <a:lnTo>
                    <a:pt x="189071" y="59246"/>
                  </a:lnTo>
                  <a:lnTo>
                    <a:pt x="192691" y="58769"/>
                  </a:lnTo>
                  <a:lnTo>
                    <a:pt x="193357" y="64103"/>
                  </a:lnTo>
                  <a:lnTo>
                    <a:pt x="193834" y="67723"/>
                  </a:lnTo>
                  <a:lnTo>
                    <a:pt x="190500" y="69913"/>
                  </a:lnTo>
                  <a:lnTo>
                    <a:pt x="190690" y="71723"/>
                  </a:lnTo>
                  <a:lnTo>
                    <a:pt x="197739" y="83439"/>
                  </a:lnTo>
                  <a:lnTo>
                    <a:pt x="198406" y="88868"/>
                  </a:lnTo>
                  <a:lnTo>
                    <a:pt x="197834" y="98012"/>
                  </a:lnTo>
                  <a:lnTo>
                    <a:pt x="195834" y="96393"/>
                  </a:lnTo>
                  <a:lnTo>
                    <a:pt x="192500" y="98679"/>
                  </a:lnTo>
                  <a:lnTo>
                    <a:pt x="202597" y="106394"/>
                  </a:lnTo>
                  <a:lnTo>
                    <a:pt x="208217" y="107537"/>
                  </a:lnTo>
                  <a:lnTo>
                    <a:pt x="213170" y="103251"/>
                  </a:lnTo>
                  <a:lnTo>
                    <a:pt x="215646" y="108299"/>
                  </a:lnTo>
                  <a:lnTo>
                    <a:pt x="219456" y="109633"/>
                  </a:lnTo>
                  <a:lnTo>
                    <a:pt x="219742" y="111442"/>
                  </a:lnTo>
                  <a:lnTo>
                    <a:pt x="218885" y="118777"/>
                  </a:lnTo>
                  <a:lnTo>
                    <a:pt x="220694" y="118586"/>
                  </a:lnTo>
                  <a:lnTo>
                    <a:pt x="219551" y="124111"/>
                  </a:lnTo>
                  <a:lnTo>
                    <a:pt x="217742" y="124396"/>
                  </a:lnTo>
                  <a:lnTo>
                    <a:pt x="218218" y="127921"/>
                  </a:lnTo>
                  <a:lnTo>
                    <a:pt x="229267" y="128302"/>
                  </a:lnTo>
                  <a:lnTo>
                    <a:pt x="226123" y="132302"/>
                  </a:lnTo>
                  <a:lnTo>
                    <a:pt x="228219" y="133826"/>
                  </a:lnTo>
                  <a:lnTo>
                    <a:pt x="232696" y="140494"/>
                  </a:lnTo>
                  <a:lnTo>
                    <a:pt x="236315" y="140017"/>
                  </a:lnTo>
                  <a:lnTo>
                    <a:pt x="234982" y="143828"/>
                  </a:lnTo>
                  <a:lnTo>
                    <a:pt x="235648" y="149162"/>
                  </a:lnTo>
                  <a:lnTo>
                    <a:pt x="237458" y="148971"/>
                  </a:lnTo>
                  <a:lnTo>
                    <a:pt x="237268" y="147161"/>
                  </a:lnTo>
                  <a:lnTo>
                    <a:pt x="240887" y="146685"/>
                  </a:lnTo>
                  <a:lnTo>
                    <a:pt x="246507" y="147733"/>
                  </a:lnTo>
                  <a:lnTo>
                    <a:pt x="246221" y="146018"/>
                  </a:lnTo>
                  <a:lnTo>
                    <a:pt x="248031" y="145733"/>
                  </a:lnTo>
                  <a:lnTo>
                    <a:pt x="249555" y="143732"/>
                  </a:lnTo>
                  <a:lnTo>
                    <a:pt x="247745" y="143923"/>
                  </a:lnTo>
                  <a:lnTo>
                    <a:pt x="249079" y="140113"/>
                  </a:lnTo>
                  <a:lnTo>
                    <a:pt x="247269" y="140399"/>
                  </a:lnTo>
                  <a:lnTo>
                    <a:pt x="246602" y="135064"/>
                  </a:lnTo>
                  <a:lnTo>
                    <a:pt x="242792" y="133731"/>
                  </a:lnTo>
                  <a:lnTo>
                    <a:pt x="248126" y="133064"/>
                  </a:lnTo>
                  <a:lnTo>
                    <a:pt x="247650" y="129445"/>
                  </a:lnTo>
                  <a:lnTo>
                    <a:pt x="250793" y="125444"/>
                  </a:lnTo>
                  <a:lnTo>
                    <a:pt x="248317" y="120301"/>
                  </a:lnTo>
                  <a:lnTo>
                    <a:pt x="250127" y="120110"/>
                  </a:lnTo>
                  <a:lnTo>
                    <a:pt x="254127" y="123158"/>
                  </a:lnTo>
                  <a:lnTo>
                    <a:pt x="255079" y="130302"/>
                  </a:lnTo>
                  <a:lnTo>
                    <a:pt x="261461" y="136684"/>
                  </a:lnTo>
                  <a:lnTo>
                    <a:pt x="262414" y="143828"/>
                  </a:lnTo>
                  <a:lnTo>
                    <a:pt x="257746" y="149924"/>
                  </a:lnTo>
                  <a:lnTo>
                    <a:pt x="256889" y="157258"/>
                  </a:lnTo>
                  <a:lnTo>
                    <a:pt x="259175" y="160592"/>
                  </a:lnTo>
                  <a:lnTo>
                    <a:pt x="253937" y="163068"/>
                  </a:lnTo>
                  <a:lnTo>
                    <a:pt x="248221" y="174688"/>
                  </a:lnTo>
                  <a:lnTo>
                    <a:pt x="250507" y="178022"/>
                  </a:lnTo>
                  <a:lnTo>
                    <a:pt x="250507" y="178022"/>
                  </a:lnTo>
                  <a:lnTo>
                    <a:pt x="254508" y="181166"/>
                  </a:lnTo>
                  <a:lnTo>
                    <a:pt x="251460" y="185166"/>
                  </a:lnTo>
                  <a:lnTo>
                    <a:pt x="244697" y="189738"/>
                  </a:lnTo>
                  <a:lnTo>
                    <a:pt x="250793" y="194310"/>
                  </a:lnTo>
                  <a:lnTo>
                    <a:pt x="254413" y="193834"/>
                  </a:lnTo>
                  <a:lnTo>
                    <a:pt x="263843" y="196215"/>
                  </a:lnTo>
                  <a:lnTo>
                    <a:pt x="264033" y="198025"/>
                  </a:lnTo>
                  <a:lnTo>
                    <a:pt x="264795" y="203359"/>
                  </a:lnTo>
                  <a:lnTo>
                    <a:pt x="274225" y="205740"/>
                  </a:lnTo>
                  <a:lnTo>
                    <a:pt x="274511" y="207550"/>
                  </a:lnTo>
                  <a:lnTo>
                    <a:pt x="276225" y="207264"/>
                  </a:lnTo>
                  <a:lnTo>
                    <a:pt x="279845" y="206788"/>
                  </a:lnTo>
                  <a:lnTo>
                    <a:pt x="291560" y="212503"/>
                  </a:lnTo>
                  <a:lnTo>
                    <a:pt x="294894" y="210217"/>
                  </a:lnTo>
                  <a:lnTo>
                    <a:pt x="296704" y="210026"/>
                  </a:lnTo>
                  <a:lnTo>
                    <a:pt x="308420" y="215741"/>
                  </a:lnTo>
                  <a:lnTo>
                    <a:pt x="313849" y="214979"/>
                  </a:lnTo>
                  <a:lnTo>
                    <a:pt x="314039" y="216789"/>
                  </a:lnTo>
                  <a:lnTo>
                    <a:pt x="318421" y="221647"/>
                  </a:lnTo>
                  <a:lnTo>
                    <a:pt x="325374" y="233458"/>
                  </a:lnTo>
                  <a:lnTo>
                    <a:pt x="334137" y="230410"/>
                  </a:lnTo>
                  <a:lnTo>
                    <a:pt x="336899" y="237363"/>
                  </a:lnTo>
                  <a:lnTo>
                    <a:pt x="335566" y="241173"/>
                  </a:lnTo>
                  <a:lnTo>
                    <a:pt x="335852" y="242888"/>
                  </a:lnTo>
                  <a:lnTo>
                    <a:pt x="332422" y="245174"/>
                  </a:lnTo>
                  <a:lnTo>
                    <a:pt x="337185" y="253555"/>
                  </a:lnTo>
                  <a:lnTo>
                    <a:pt x="340233" y="262223"/>
                  </a:lnTo>
                  <a:lnTo>
                    <a:pt x="339376" y="269653"/>
                  </a:lnTo>
                  <a:lnTo>
                    <a:pt x="341852" y="274701"/>
                  </a:lnTo>
                  <a:lnTo>
                    <a:pt x="343376" y="272701"/>
                  </a:lnTo>
                  <a:lnTo>
                    <a:pt x="345472" y="274225"/>
                  </a:lnTo>
                  <a:lnTo>
                    <a:pt x="347948" y="279368"/>
                  </a:lnTo>
                  <a:lnTo>
                    <a:pt x="351377" y="291655"/>
                  </a:lnTo>
                  <a:lnTo>
                    <a:pt x="355187" y="292894"/>
                  </a:lnTo>
                  <a:lnTo>
                    <a:pt x="352139" y="296989"/>
                  </a:lnTo>
                  <a:lnTo>
                    <a:pt x="356997" y="292703"/>
                  </a:lnTo>
                  <a:lnTo>
                    <a:pt x="357283" y="294513"/>
                  </a:lnTo>
                  <a:lnTo>
                    <a:pt x="357759" y="298037"/>
                  </a:lnTo>
                  <a:lnTo>
                    <a:pt x="356140" y="300038"/>
                  </a:lnTo>
                  <a:lnTo>
                    <a:pt x="349948" y="308134"/>
                  </a:lnTo>
                  <a:lnTo>
                    <a:pt x="350139" y="309848"/>
                  </a:lnTo>
                  <a:lnTo>
                    <a:pt x="348234" y="322802"/>
                  </a:lnTo>
                  <a:lnTo>
                    <a:pt x="341281" y="325564"/>
                  </a:lnTo>
                  <a:lnTo>
                    <a:pt x="338138" y="329660"/>
                  </a:lnTo>
                  <a:lnTo>
                    <a:pt x="331661" y="335947"/>
                  </a:lnTo>
                  <a:lnTo>
                    <a:pt x="330803" y="343281"/>
                  </a:lnTo>
                  <a:lnTo>
                    <a:pt x="336613" y="346138"/>
                  </a:lnTo>
                  <a:lnTo>
                    <a:pt x="337376" y="351472"/>
                  </a:lnTo>
                  <a:lnTo>
                    <a:pt x="345281" y="355854"/>
                  </a:lnTo>
                  <a:lnTo>
                    <a:pt x="346710" y="366617"/>
                  </a:lnTo>
                  <a:lnTo>
                    <a:pt x="338042" y="384048"/>
                  </a:lnTo>
                  <a:lnTo>
                    <a:pt x="343853" y="386905"/>
                  </a:lnTo>
                  <a:lnTo>
                    <a:pt x="350425" y="395097"/>
                  </a:lnTo>
                  <a:lnTo>
                    <a:pt x="352330" y="409289"/>
                  </a:lnTo>
                  <a:lnTo>
                    <a:pt x="356140" y="410623"/>
                  </a:lnTo>
                  <a:lnTo>
                    <a:pt x="360236" y="413766"/>
                  </a:lnTo>
                  <a:lnTo>
                    <a:pt x="362045" y="413480"/>
                  </a:lnTo>
                  <a:lnTo>
                    <a:pt x="362521" y="417100"/>
                  </a:lnTo>
                  <a:lnTo>
                    <a:pt x="356045" y="423291"/>
                  </a:lnTo>
                  <a:lnTo>
                    <a:pt x="354235" y="423577"/>
                  </a:lnTo>
                  <a:lnTo>
                    <a:pt x="355187" y="430721"/>
                  </a:lnTo>
                  <a:lnTo>
                    <a:pt x="348710" y="437007"/>
                  </a:lnTo>
                  <a:lnTo>
                    <a:pt x="354806" y="441674"/>
                  </a:lnTo>
                  <a:lnTo>
                    <a:pt x="354044" y="436245"/>
                  </a:lnTo>
                  <a:lnTo>
                    <a:pt x="368427" y="434340"/>
                  </a:lnTo>
                  <a:lnTo>
                    <a:pt x="372237" y="435673"/>
                  </a:lnTo>
                  <a:lnTo>
                    <a:pt x="375856" y="435197"/>
                  </a:lnTo>
                  <a:lnTo>
                    <a:pt x="378143" y="438531"/>
                  </a:lnTo>
                  <a:lnTo>
                    <a:pt x="384810" y="434054"/>
                  </a:lnTo>
                  <a:lnTo>
                    <a:pt x="390906" y="424148"/>
                  </a:lnTo>
                  <a:lnTo>
                    <a:pt x="394430" y="423672"/>
                  </a:lnTo>
                  <a:lnTo>
                    <a:pt x="397193" y="430625"/>
                  </a:lnTo>
                  <a:lnTo>
                    <a:pt x="395288" y="443484"/>
                  </a:lnTo>
                  <a:lnTo>
                    <a:pt x="392144" y="447580"/>
                  </a:lnTo>
                  <a:lnTo>
                    <a:pt x="394430" y="450913"/>
                  </a:lnTo>
                  <a:lnTo>
                    <a:pt x="392621" y="451104"/>
                  </a:lnTo>
                  <a:lnTo>
                    <a:pt x="394906" y="454438"/>
                  </a:lnTo>
                  <a:lnTo>
                    <a:pt x="391573" y="456724"/>
                  </a:lnTo>
                  <a:lnTo>
                    <a:pt x="384524" y="486632"/>
                  </a:lnTo>
                  <a:lnTo>
                    <a:pt x="378619" y="483775"/>
                  </a:lnTo>
                  <a:lnTo>
                    <a:pt x="377285" y="487585"/>
                  </a:lnTo>
                  <a:lnTo>
                    <a:pt x="373475" y="486251"/>
                  </a:lnTo>
                  <a:lnTo>
                    <a:pt x="370142" y="488537"/>
                  </a:lnTo>
                  <a:lnTo>
                    <a:pt x="370808" y="493871"/>
                  </a:lnTo>
                  <a:lnTo>
                    <a:pt x="365474" y="494633"/>
                  </a:lnTo>
                  <a:lnTo>
                    <a:pt x="363188" y="491299"/>
                  </a:lnTo>
                  <a:lnTo>
                    <a:pt x="355759" y="490442"/>
                  </a:lnTo>
                  <a:lnTo>
                    <a:pt x="350901" y="494729"/>
                  </a:lnTo>
                  <a:lnTo>
                    <a:pt x="350520" y="505682"/>
                  </a:lnTo>
                  <a:lnTo>
                    <a:pt x="345377" y="522637"/>
                  </a:lnTo>
                  <a:lnTo>
                    <a:pt x="343567" y="522922"/>
                  </a:lnTo>
                  <a:lnTo>
                    <a:pt x="344996" y="533590"/>
                  </a:lnTo>
                  <a:lnTo>
                    <a:pt x="340138" y="537877"/>
                  </a:lnTo>
                  <a:lnTo>
                    <a:pt x="334232" y="535019"/>
                  </a:lnTo>
                  <a:lnTo>
                    <a:pt x="321469" y="534924"/>
                  </a:lnTo>
                  <a:lnTo>
                    <a:pt x="322231" y="554736"/>
                  </a:lnTo>
                  <a:lnTo>
                    <a:pt x="323755" y="552736"/>
                  </a:lnTo>
                  <a:lnTo>
                    <a:pt x="326327" y="55778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4" name="Volný tvar: obrazec 53">
              <a:extLst>
                <a:ext uri="{FF2B5EF4-FFF2-40B4-BE49-F238E27FC236}">
                  <a16:creationId xmlns:a16="http://schemas.microsoft.com/office/drawing/2014/main" id="{D7853E00-2F1F-D64F-6AB5-7821DD85105C}"/>
                </a:ext>
              </a:extLst>
            </p:cNvPr>
            <p:cNvSpPr/>
            <p:nvPr userDrawn="1"/>
          </p:nvSpPr>
          <p:spPr>
            <a:xfrm>
              <a:off x="6768131" y="3949255"/>
              <a:ext cx="566166" cy="585406"/>
            </a:xfrm>
            <a:custGeom>
              <a:avLst/>
              <a:gdLst>
                <a:gd name="connsiteX0" fmla="*/ 378809 w 566166"/>
                <a:gd name="connsiteY0" fmla="*/ 160877 h 585406"/>
                <a:gd name="connsiteX1" fmla="*/ 384715 w 566166"/>
                <a:gd name="connsiteY1" fmla="*/ 163735 h 585406"/>
                <a:gd name="connsiteX2" fmla="*/ 395478 w 566166"/>
                <a:gd name="connsiteY2" fmla="*/ 162306 h 585406"/>
                <a:gd name="connsiteX3" fmla="*/ 399955 w 566166"/>
                <a:gd name="connsiteY3" fmla="*/ 154496 h 585406"/>
                <a:gd name="connsiteX4" fmla="*/ 384810 w 566166"/>
                <a:gd name="connsiteY4" fmla="*/ 136493 h 585406"/>
                <a:gd name="connsiteX5" fmla="*/ 386810 w 566166"/>
                <a:gd name="connsiteY5" fmla="*/ 138017 h 585406"/>
                <a:gd name="connsiteX6" fmla="*/ 395097 w 566166"/>
                <a:gd name="connsiteY6" fmla="*/ 131445 h 585406"/>
                <a:gd name="connsiteX7" fmla="*/ 396240 w 566166"/>
                <a:gd name="connsiteY7" fmla="*/ 125921 h 585406"/>
                <a:gd name="connsiteX8" fmla="*/ 400050 w 566166"/>
                <a:gd name="connsiteY8" fmla="*/ 127254 h 585406"/>
                <a:gd name="connsiteX9" fmla="*/ 402526 w 566166"/>
                <a:gd name="connsiteY9" fmla="*/ 132397 h 585406"/>
                <a:gd name="connsiteX10" fmla="*/ 414909 w 566166"/>
                <a:gd name="connsiteY10" fmla="*/ 128968 h 585406"/>
                <a:gd name="connsiteX11" fmla="*/ 417385 w 566166"/>
                <a:gd name="connsiteY11" fmla="*/ 134112 h 585406"/>
                <a:gd name="connsiteX12" fmla="*/ 423196 w 566166"/>
                <a:gd name="connsiteY12" fmla="*/ 136969 h 585406"/>
                <a:gd name="connsiteX13" fmla="*/ 425672 w 566166"/>
                <a:gd name="connsiteY13" fmla="*/ 142113 h 585406"/>
                <a:gd name="connsiteX14" fmla="*/ 433768 w 566166"/>
                <a:gd name="connsiteY14" fmla="*/ 148304 h 585406"/>
                <a:gd name="connsiteX15" fmla="*/ 432435 w 566166"/>
                <a:gd name="connsiteY15" fmla="*/ 152114 h 585406"/>
                <a:gd name="connsiteX16" fmla="*/ 437197 w 566166"/>
                <a:gd name="connsiteY16" fmla="*/ 160496 h 585406"/>
                <a:gd name="connsiteX17" fmla="*/ 446246 w 566166"/>
                <a:gd name="connsiteY17" fmla="*/ 159353 h 585406"/>
                <a:gd name="connsiteX18" fmla="*/ 447199 w 566166"/>
                <a:gd name="connsiteY18" fmla="*/ 166497 h 585406"/>
                <a:gd name="connsiteX19" fmla="*/ 452628 w 566166"/>
                <a:gd name="connsiteY19" fmla="*/ 165830 h 585406"/>
                <a:gd name="connsiteX20" fmla="*/ 458724 w 566166"/>
                <a:gd name="connsiteY20" fmla="*/ 170402 h 585406"/>
                <a:gd name="connsiteX21" fmla="*/ 469392 w 566166"/>
                <a:gd name="connsiteY21" fmla="*/ 181737 h 585406"/>
                <a:gd name="connsiteX22" fmla="*/ 475012 w 566166"/>
                <a:gd name="connsiteY22" fmla="*/ 182785 h 585406"/>
                <a:gd name="connsiteX23" fmla="*/ 492633 w 566166"/>
                <a:gd name="connsiteY23" fmla="*/ 164116 h 585406"/>
                <a:gd name="connsiteX24" fmla="*/ 493966 w 566166"/>
                <a:gd name="connsiteY24" fmla="*/ 160306 h 585406"/>
                <a:gd name="connsiteX25" fmla="*/ 491490 w 566166"/>
                <a:gd name="connsiteY25" fmla="*/ 155162 h 585406"/>
                <a:gd name="connsiteX26" fmla="*/ 492823 w 566166"/>
                <a:gd name="connsiteY26" fmla="*/ 151352 h 585406"/>
                <a:gd name="connsiteX27" fmla="*/ 498443 w 566166"/>
                <a:gd name="connsiteY27" fmla="*/ 152400 h 585406"/>
                <a:gd name="connsiteX28" fmla="*/ 502539 w 566166"/>
                <a:gd name="connsiteY28" fmla="*/ 155543 h 585406"/>
                <a:gd name="connsiteX29" fmla="*/ 513302 w 566166"/>
                <a:gd name="connsiteY29" fmla="*/ 154114 h 585406"/>
                <a:gd name="connsiteX30" fmla="*/ 518065 w 566166"/>
                <a:gd name="connsiteY30" fmla="*/ 162592 h 585406"/>
                <a:gd name="connsiteX31" fmla="*/ 521684 w 566166"/>
                <a:gd name="connsiteY31" fmla="*/ 162115 h 585406"/>
                <a:gd name="connsiteX32" fmla="*/ 522732 w 566166"/>
                <a:gd name="connsiteY32" fmla="*/ 156496 h 585406"/>
                <a:gd name="connsiteX33" fmla="*/ 534638 w 566166"/>
                <a:gd name="connsiteY33" fmla="*/ 149447 h 585406"/>
                <a:gd name="connsiteX34" fmla="*/ 546068 w 566166"/>
                <a:gd name="connsiteY34" fmla="*/ 153352 h 585406"/>
                <a:gd name="connsiteX35" fmla="*/ 539020 w 566166"/>
                <a:gd name="connsiteY35" fmla="*/ 168783 h 585406"/>
                <a:gd name="connsiteX36" fmla="*/ 525304 w 566166"/>
                <a:gd name="connsiteY36" fmla="*/ 176022 h 585406"/>
                <a:gd name="connsiteX37" fmla="*/ 527685 w 566166"/>
                <a:gd name="connsiteY37" fmla="*/ 193834 h 585406"/>
                <a:gd name="connsiteX38" fmla="*/ 530162 w 566166"/>
                <a:gd name="connsiteY38" fmla="*/ 198977 h 585406"/>
                <a:gd name="connsiteX39" fmla="*/ 535305 w 566166"/>
                <a:gd name="connsiteY39" fmla="*/ 196501 h 585406"/>
                <a:gd name="connsiteX40" fmla="*/ 536257 w 566166"/>
                <a:gd name="connsiteY40" fmla="*/ 203645 h 585406"/>
                <a:gd name="connsiteX41" fmla="*/ 537210 w 566166"/>
                <a:gd name="connsiteY41" fmla="*/ 210788 h 585406"/>
                <a:gd name="connsiteX42" fmla="*/ 543497 w 566166"/>
                <a:gd name="connsiteY42" fmla="*/ 217265 h 585406"/>
                <a:gd name="connsiteX43" fmla="*/ 553403 w 566166"/>
                <a:gd name="connsiteY43" fmla="*/ 223171 h 585406"/>
                <a:gd name="connsiteX44" fmla="*/ 556546 w 566166"/>
                <a:gd name="connsiteY44" fmla="*/ 219170 h 585406"/>
                <a:gd name="connsiteX45" fmla="*/ 557022 w 566166"/>
                <a:gd name="connsiteY45" fmla="*/ 222695 h 585406"/>
                <a:gd name="connsiteX46" fmla="*/ 558165 w 566166"/>
                <a:gd name="connsiteY46" fmla="*/ 231648 h 585406"/>
                <a:gd name="connsiteX47" fmla="*/ 564547 w 566166"/>
                <a:gd name="connsiteY47" fmla="*/ 238030 h 585406"/>
                <a:gd name="connsiteX48" fmla="*/ 554260 w 566166"/>
                <a:gd name="connsiteY48" fmla="*/ 242983 h 585406"/>
                <a:gd name="connsiteX49" fmla="*/ 556736 w 566166"/>
                <a:gd name="connsiteY49" fmla="*/ 248126 h 585406"/>
                <a:gd name="connsiteX50" fmla="*/ 551116 w 566166"/>
                <a:gd name="connsiteY50" fmla="*/ 247079 h 585406"/>
                <a:gd name="connsiteX51" fmla="*/ 557213 w 566166"/>
                <a:gd name="connsiteY51" fmla="*/ 251746 h 585406"/>
                <a:gd name="connsiteX52" fmla="*/ 564737 w 566166"/>
                <a:gd name="connsiteY52" fmla="*/ 267081 h 585406"/>
                <a:gd name="connsiteX53" fmla="*/ 566166 w 566166"/>
                <a:gd name="connsiteY53" fmla="*/ 277749 h 585406"/>
                <a:gd name="connsiteX54" fmla="*/ 558927 w 566166"/>
                <a:gd name="connsiteY54" fmla="*/ 278701 h 585406"/>
                <a:gd name="connsiteX55" fmla="*/ 557593 w 566166"/>
                <a:gd name="connsiteY55" fmla="*/ 282512 h 585406"/>
                <a:gd name="connsiteX56" fmla="*/ 554260 w 566166"/>
                <a:gd name="connsiteY56" fmla="*/ 284797 h 585406"/>
                <a:gd name="connsiteX57" fmla="*/ 552736 w 566166"/>
                <a:gd name="connsiteY57" fmla="*/ 286798 h 585406"/>
                <a:gd name="connsiteX58" fmla="*/ 553403 w 566166"/>
                <a:gd name="connsiteY58" fmla="*/ 292132 h 585406"/>
                <a:gd name="connsiteX59" fmla="*/ 542830 w 566166"/>
                <a:gd name="connsiteY59" fmla="*/ 295370 h 585406"/>
                <a:gd name="connsiteX60" fmla="*/ 539210 w 566166"/>
                <a:gd name="connsiteY60" fmla="*/ 295846 h 585406"/>
                <a:gd name="connsiteX61" fmla="*/ 530257 w 566166"/>
                <a:gd name="connsiteY61" fmla="*/ 296989 h 585406"/>
                <a:gd name="connsiteX62" fmla="*/ 527304 w 566166"/>
                <a:gd name="connsiteY62" fmla="*/ 288322 h 585406"/>
                <a:gd name="connsiteX63" fmla="*/ 518541 w 566166"/>
                <a:gd name="connsiteY63" fmla="*/ 291274 h 585406"/>
                <a:gd name="connsiteX64" fmla="*/ 519208 w 566166"/>
                <a:gd name="connsiteY64" fmla="*/ 296608 h 585406"/>
                <a:gd name="connsiteX65" fmla="*/ 517398 w 566166"/>
                <a:gd name="connsiteY65" fmla="*/ 296894 h 585406"/>
                <a:gd name="connsiteX66" fmla="*/ 517684 w 566166"/>
                <a:gd name="connsiteY66" fmla="*/ 298704 h 585406"/>
                <a:gd name="connsiteX67" fmla="*/ 514064 w 566166"/>
                <a:gd name="connsiteY67" fmla="*/ 299180 h 585406"/>
                <a:gd name="connsiteX68" fmla="*/ 517017 w 566166"/>
                <a:gd name="connsiteY68" fmla="*/ 307848 h 585406"/>
                <a:gd name="connsiteX69" fmla="*/ 517684 w 566166"/>
                <a:gd name="connsiteY69" fmla="*/ 313182 h 585406"/>
                <a:gd name="connsiteX70" fmla="*/ 526256 w 566166"/>
                <a:gd name="connsiteY70" fmla="*/ 322897 h 585406"/>
                <a:gd name="connsiteX71" fmla="*/ 526732 w 566166"/>
                <a:gd name="connsiteY71" fmla="*/ 326422 h 585406"/>
                <a:gd name="connsiteX72" fmla="*/ 513112 w 566166"/>
                <a:gd name="connsiteY72" fmla="*/ 348139 h 585406"/>
                <a:gd name="connsiteX73" fmla="*/ 511588 w 566166"/>
                <a:gd name="connsiteY73" fmla="*/ 350139 h 585406"/>
                <a:gd name="connsiteX74" fmla="*/ 508730 w 566166"/>
                <a:gd name="connsiteY74" fmla="*/ 355949 h 585406"/>
                <a:gd name="connsiteX75" fmla="*/ 501205 w 566166"/>
                <a:gd name="connsiteY75" fmla="*/ 367855 h 585406"/>
                <a:gd name="connsiteX76" fmla="*/ 485108 w 566166"/>
                <a:gd name="connsiteY76" fmla="*/ 384429 h 585406"/>
                <a:gd name="connsiteX77" fmla="*/ 483489 w 566166"/>
                <a:gd name="connsiteY77" fmla="*/ 386429 h 585406"/>
                <a:gd name="connsiteX78" fmla="*/ 489395 w 566166"/>
                <a:gd name="connsiteY78" fmla="*/ 389287 h 585406"/>
                <a:gd name="connsiteX79" fmla="*/ 495776 w 566166"/>
                <a:gd name="connsiteY79" fmla="*/ 395669 h 585406"/>
                <a:gd name="connsiteX80" fmla="*/ 490633 w 566166"/>
                <a:gd name="connsiteY80" fmla="*/ 398145 h 585406"/>
                <a:gd name="connsiteX81" fmla="*/ 493205 w 566166"/>
                <a:gd name="connsiteY81" fmla="*/ 403288 h 585406"/>
                <a:gd name="connsiteX82" fmla="*/ 498824 w 566166"/>
                <a:gd name="connsiteY82" fmla="*/ 404336 h 585406"/>
                <a:gd name="connsiteX83" fmla="*/ 502444 w 566166"/>
                <a:gd name="connsiteY83" fmla="*/ 403860 h 585406"/>
                <a:gd name="connsiteX84" fmla="*/ 501967 w 566166"/>
                <a:gd name="connsiteY84" fmla="*/ 400336 h 585406"/>
                <a:gd name="connsiteX85" fmla="*/ 507968 w 566166"/>
                <a:gd name="connsiteY85" fmla="*/ 390430 h 585406"/>
                <a:gd name="connsiteX86" fmla="*/ 509968 w 566166"/>
                <a:gd name="connsiteY86" fmla="*/ 391954 h 585406"/>
                <a:gd name="connsiteX87" fmla="*/ 515398 w 566166"/>
                <a:gd name="connsiteY87" fmla="*/ 391192 h 585406"/>
                <a:gd name="connsiteX88" fmla="*/ 510730 w 566166"/>
                <a:gd name="connsiteY88" fmla="*/ 397288 h 585406"/>
                <a:gd name="connsiteX89" fmla="*/ 512540 w 566166"/>
                <a:gd name="connsiteY89" fmla="*/ 397097 h 585406"/>
                <a:gd name="connsiteX90" fmla="*/ 513016 w 566166"/>
                <a:gd name="connsiteY90" fmla="*/ 400621 h 585406"/>
                <a:gd name="connsiteX91" fmla="*/ 508063 w 566166"/>
                <a:gd name="connsiteY91" fmla="*/ 404908 h 585406"/>
                <a:gd name="connsiteX92" fmla="*/ 511683 w 566166"/>
                <a:gd name="connsiteY92" fmla="*/ 418909 h 585406"/>
                <a:gd name="connsiteX93" fmla="*/ 513683 w 566166"/>
                <a:gd name="connsiteY93" fmla="*/ 420433 h 585406"/>
                <a:gd name="connsiteX94" fmla="*/ 506825 w 566166"/>
                <a:gd name="connsiteY94" fmla="*/ 437674 h 585406"/>
                <a:gd name="connsiteX95" fmla="*/ 522160 w 566166"/>
                <a:gd name="connsiteY95" fmla="*/ 442913 h 585406"/>
                <a:gd name="connsiteX96" fmla="*/ 527590 w 566166"/>
                <a:gd name="connsiteY96" fmla="*/ 456724 h 585406"/>
                <a:gd name="connsiteX97" fmla="*/ 527209 w 566166"/>
                <a:gd name="connsiteY97" fmla="*/ 467678 h 585406"/>
                <a:gd name="connsiteX98" fmla="*/ 530447 w 566166"/>
                <a:gd name="connsiteY98" fmla="*/ 478155 h 585406"/>
                <a:gd name="connsiteX99" fmla="*/ 524828 w 566166"/>
                <a:gd name="connsiteY99" fmla="*/ 477107 h 585406"/>
                <a:gd name="connsiteX100" fmla="*/ 523113 w 566166"/>
                <a:gd name="connsiteY100" fmla="*/ 491871 h 585406"/>
                <a:gd name="connsiteX101" fmla="*/ 517970 w 566166"/>
                <a:gd name="connsiteY101" fmla="*/ 494347 h 585406"/>
                <a:gd name="connsiteX102" fmla="*/ 517112 w 566166"/>
                <a:gd name="connsiteY102" fmla="*/ 501682 h 585406"/>
                <a:gd name="connsiteX103" fmla="*/ 517398 w 566166"/>
                <a:gd name="connsiteY103" fmla="*/ 503491 h 585406"/>
                <a:gd name="connsiteX104" fmla="*/ 515588 w 566166"/>
                <a:gd name="connsiteY104" fmla="*/ 503777 h 585406"/>
                <a:gd name="connsiteX105" fmla="*/ 512445 w 566166"/>
                <a:gd name="connsiteY105" fmla="*/ 507778 h 585406"/>
                <a:gd name="connsiteX106" fmla="*/ 509111 w 566166"/>
                <a:gd name="connsiteY106" fmla="*/ 510064 h 585406"/>
                <a:gd name="connsiteX107" fmla="*/ 506825 w 566166"/>
                <a:gd name="connsiteY107" fmla="*/ 506730 h 585406"/>
                <a:gd name="connsiteX108" fmla="*/ 503206 w 566166"/>
                <a:gd name="connsiteY108" fmla="*/ 507206 h 585406"/>
                <a:gd name="connsiteX109" fmla="*/ 485965 w 566166"/>
                <a:gd name="connsiteY109" fmla="*/ 514921 h 585406"/>
                <a:gd name="connsiteX110" fmla="*/ 472154 w 566166"/>
                <a:gd name="connsiteY110" fmla="*/ 507682 h 585406"/>
                <a:gd name="connsiteX111" fmla="*/ 456152 w 566166"/>
                <a:gd name="connsiteY111" fmla="*/ 497110 h 585406"/>
                <a:gd name="connsiteX112" fmla="*/ 454628 w 566166"/>
                <a:gd name="connsiteY112" fmla="*/ 499110 h 585406"/>
                <a:gd name="connsiteX113" fmla="*/ 449866 w 566166"/>
                <a:gd name="connsiteY113" fmla="*/ 490728 h 585406"/>
                <a:gd name="connsiteX114" fmla="*/ 437102 w 566166"/>
                <a:gd name="connsiteY114" fmla="*/ 505111 h 585406"/>
                <a:gd name="connsiteX115" fmla="*/ 433006 w 566166"/>
                <a:gd name="connsiteY115" fmla="*/ 502063 h 585406"/>
                <a:gd name="connsiteX116" fmla="*/ 427863 w 566166"/>
                <a:gd name="connsiteY116" fmla="*/ 504539 h 585406"/>
                <a:gd name="connsiteX117" fmla="*/ 428054 w 566166"/>
                <a:gd name="connsiteY117" fmla="*/ 506349 h 585406"/>
                <a:gd name="connsiteX118" fmla="*/ 432340 w 566166"/>
                <a:gd name="connsiteY118" fmla="*/ 511207 h 585406"/>
                <a:gd name="connsiteX119" fmla="*/ 429482 w 566166"/>
                <a:gd name="connsiteY119" fmla="*/ 517017 h 585406"/>
                <a:gd name="connsiteX120" fmla="*/ 419195 w 566166"/>
                <a:gd name="connsiteY120" fmla="*/ 521970 h 585406"/>
                <a:gd name="connsiteX121" fmla="*/ 418338 w 566166"/>
                <a:gd name="connsiteY121" fmla="*/ 529399 h 585406"/>
                <a:gd name="connsiteX122" fmla="*/ 408527 w 566166"/>
                <a:gd name="connsiteY122" fmla="*/ 537972 h 585406"/>
                <a:gd name="connsiteX123" fmla="*/ 409194 w 566166"/>
                <a:gd name="connsiteY123" fmla="*/ 543306 h 585406"/>
                <a:gd name="connsiteX124" fmla="*/ 405860 w 566166"/>
                <a:gd name="connsiteY124" fmla="*/ 545592 h 585406"/>
                <a:gd name="connsiteX125" fmla="*/ 403574 w 566166"/>
                <a:gd name="connsiteY125" fmla="*/ 542258 h 585406"/>
                <a:gd name="connsiteX126" fmla="*/ 400145 w 566166"/>
                <a:gd name="connsiteY126" fmla="*/ 544544 h 585406"/>
                <a:gd name="connsiteX127" fmla="*/ 398335 w 566166"/>
                <a:gd name="connsiteY127" fmla="*/ 544830 h 585406"/>
                <a:gd name="connsiteX128" fmla="*/ 398812 w 566166"/>
                <a:gd name="connsiteY128" fmla="*/ 548354 h 585406"/>
                <a:gd name="connsiteX129" fmla="*/ 395478 w 566166"/>
                <a:gd name="connsiteY129" fmla="*/ 550640 h 585406"/>
                <a:gd name="connsiteX130" fmla="*/ 394621 w 566166"/>
                <a:gd name="connsiteY130" fmla="*/ 557974 h 585406"/>
                <a:gd name="connsiteX131" fmla="*/ 392621 w 566166"/>
                <a:gd name="connsiteY131" fmla="*/ 556450 h 585406"/>
                <a:gd name="connsiteX132" fmla="*/ 391287 w 566166"/>
                <a:gd name="connsiteY132" fmla="*/ 560261 h 585406"/>
                <a:gd name="connsiteX133" fmla="*/ 396526 w 566166"/>
                <a:gd name="connsiteY133" fmla="*/ 572262 h 585406"/>
                <a:gd name="connsiteX134" fmla="*/ 393192 w 566166"/>
                <a:gd name="connsiteY134" fmla="*/ 574548 h 585406"/>
                <a:gd name="connsiteX135" fmla="*/ 389858 w 566166"/>
                <a:gd name="connsiteY135" fmla="*/ 576834 h 585406"/>
                <a:gd name="connsiteX136" fmla="*/ 384238 w 566166"/>
                <a:gd name="connsiteY136" fmla="*/ 575786 h 585406"/>
                <a:gd name="connsiteX137" fmla="*/ 382905 w 566166"/>
                <a:gd name="connsiteY137" fmla="*/ 579596 h 585406"/>
                <a:gd name="connsiteX138" fmla="*/ 381381 w 566166"/>
                <a:gd name="connsiteY138" fmla="*/ 581597 h 585406"/>
                <a:gd name="connsiteX139" fmla="*/ 380047 w 566166"/>
                <a:gd name="connsiteY139" fmla="*/ 585406 h 585406"/>
                <a:gd name="connsiteX140" fmla="*/ 366236 w 566166"/>
                <a:gd name="connsiteY140" fmla="*/ 578167 h 585406"/>
                <a:gd name="connsiteX141" fmla="*/ 353187 w 566166"/>
                <a:gd name="connsiteY141" fmla="*/ 576263 h 585406"/>
                <a:gd name="connsiteX142" fmla="*/ 352520 w 566166"/>
                <a:gd name="connsiteY142" fmla="*/ 570929 h 585406"/>
                <a:gd name="connsiteX143" fmla="*/ 348901 w 566166"/>
                <a:gd name="connsiteY143" fmla="*/ 571405 h 585406"/>
                <a:gd name="connsiteX144" fmla="*/ 338518 w 566166"/>
                <a:gd name="connsiteY144" fmla="*/ 561880 h 585406"/>
                <a:gd name="connsiteX145" fmla="*/ 331375 w 566166"/>
                <a:gd name="connsiteY145" fmla="*/ 562832 h 585406"/>
                <a:gd name="connsiteX146" fmla="*/ 311848 w 566166"/>
                <a:gd name="connsiteY146" fmla="*/ 567214 h 585406"/>
                <a:gd name="connsiteX147" fmla="*/ 309086 w 566166"/>
                <a:gd name="connsiteY147" fmla="*/ 560356 h 585406"/>
                <a:gd name="connsiteX148" fmla="*/ 314230 w 566166"/>
                <a:gd name="connsiteY148" fmla="*/ 557879 h 585406"/>
                <a:gd name="connsiteX149" fmla="*/ 308991 w 566166"/>
                <a:gd name="connsiteY149" fmla="*/ 545878 h 585406"/>
                <a:gd name="connsiteX150" fmla="*/ 310039 w 566166"/>
                <a:gd name="connsiteY150" fmla="*/ 540258 h 585406"/>
                <a:gd name="connsiteX151" fmla="*/ 312896 w 566166"/>
                <a:gd name="connsiteY151" fmla="*/ 534448 h 585406"/>
                <a:gd name="connsiteX152" fmla="*/ 310896 w 566166"/>
                <a:gd name="connsiteY152" fmla="*/ 532924 h 585406"/>
                <a:gd name="connsiteX153" fmla="*/ 311944 w 566166"/>
                <a:gd name="connsiteY153" fmla="*/ 527304 h 585406"/>
                <a:gd name="connsiteX154" fmla="*/ 304324 w 566166"/>
                <a:gd name="connsiteY154" fmla="*/ 524637 h 585406"/>
                <a:gd name="connsiteX155" fmla="*/ 303276 w 566166"/>
                <a:gd name="connsiteY155" fmla="*/ 530257 h 585406"/>
                <a:gd name="connsiteX156" fmla="*/ 299180 w 566166"/>
                <a:gd name="connsiteY156" fmla="*/ 527209 h 585406"/>
                <a:gd name="connsiteX157" fmla="*/ 286036 w 566166"/>
                <a:gd name="connsiteY157" fmla="*/ 537972 h 585406"/>
                <a:gd name="connsiteX158" fmla="*/ 273748 w 566166"/>
                <a:gd name="connsiteY158" fmla="*/ 541401 h 585406"/>
                <a:gd name="connsiteX159" fmla="*/ 275749 w 566166"/>
                <a:gd name="connsiteY159" fmla="*/ 542925 h 585406"/>
                <a:gd name="connsiteX160" fmla="*/ 265938 w 566166"/>
                <a:gd name="connsiteY160" fmla="*/ 551497 h 585406"/>
                <a:gd name="connsiteX161" fmla="*/ 240982 w 566166"/>
                <a:gd name="connsiteY161" fmla="*/ 556641 h 585406"/>
                <a:gd name="connsiteX162" fmla="*/ 226409 w 566166"/>
                <a:gd name="connsiteY162" fmla="*/ 556641 h 585406"/>
                <a:gd name="connsiteX163" fmla="*/ 227743 w 566166"/>
                <a:gd name="connsiteY163" fmla="*/ 552926 h 585406"/>
                <a:gd name="connsiteX164" fmla="*/ 234220 w 566166"/>
                <a:gd name="connsiteY164" fmla="*/ 546640 h 585406"/>
                <a:gd name="connsiteX165" fmla="*/ 228124 w 566166"/>
                <a:gd name="connsiteY165" fmla="*/ 542068 h 585406"/>
                <a:gd name="connsiteX166" fmla="*/ 231267 w 566166"/>
                <a:gd name="connsiteY166" fmla="*/ 537972 h 585406"/>
                <a:gd name="connsiteX167" fmla="*/ 220218 w 566166"/>
                <a:gd name="connsiteY167" fmla="*/ 523113 h 585406"/>
                <a:gd name="connsiteX168" fmla="*/ 218694 w 566166"/>
                <a:gd name="connsiteY168" fmla="*/ 525113 h 585406"/>
                <a:gd name="connsiteX169" fmla="*/ 210312 w 566166"/>
                <a:gd name="connsiteY169" fmla="*/ 517112 h 585406"/>
                <a:gd name="connsiteX170" fmla="*/ 215265 w 566166"/>
                <a:gd name="connsiteY170" fmla="*/ 512826 h 585406"/>
                <a:gd name="connsiteX171" fmla="*/ 212979 w 566166"/>
                <a:gd name="connsiteY171" fmla="*/ 509492 h 585406"/>
                <a:gd name="connsiteX172" fmla="*/ 214313 w 566166"/>
                <a:gd name="connsiteY172" fmla="*/ 505682 h 585406"/>
                <a:gd name="connsiteX173" fmla="*/ 195739 w 566166"/>
                <a:gd name="connsiteY173" fmla="*/ 489966 h 585406"/>
                <a:gd name="connsiteX174" fmla="*/ 186023 w 566166"/>
                <a:gd name="connsiteY174" fmla="*/ 485775 h 585406"/>
                <a:gd name="connsiteX175" fmla="*/ 181928 w 566166"/>
                <a:gd name="connsiteY175" fmla="*/ 482727 h 585406"/>
                <a:gd name="connsiteX176" fmla="*/ 183451 w 566166"/>
                <a:gd name="connsiteY176" fmla="*/ 480727 h 585406"/>
                <a:gd name="connsiteX177" fmla="*/ 177832 w 566166"/>
                <a:gd name="connsiteY177" fmla="*/ 479679 h 585406"/>
                <a:gd name="connsiteX178" fmla="*/ 175831 w 566166"/>
                <a:gd name="connsiteY178" fmla="*/ 478155 h 585406"/>
                <a:gd name="connsiteX179" fmla="*/ 178975 w 566166"/>
                <a:gd name="connsiteY179" fmla="*/ 474155 h 585406"/>
                <a:gd name="connsiteX180" fmla="*/ 164116 w 566166"/>
                <a:gd name="connsiteY180" fmla="*/ 472440 h 585406"/>
                <a:gd name="connsiteX181" fmla="*/ 163925 w 566166"/>
                <a:gd name="connsiteY181" fmla="*/ 470630 h 585406"/>
                <a:gd name="connsiteX182" fmla="*/ 160115 w 566166"/>
                <a:gd name="connsiteY182" fmla="*/ 469297 h 585406"/>
                <a:gd name="connsiteX183" fmla="*/ 153162 w 566166"/>
                <a:gd name="connsiteY183" fmla="*/ 472059 h 585406"/>
                <a:gd name="connsiteX184" fmla="*/ 141256 w 566166"/>
                <a:gd name="connsiteY184" fmla="*/ 479107 h 585406"/>
                <a:gd name="connsiteX185" fmla="*/ 130588 w 566166"/>
                <a:gd name="connsiteY185" fmla="*/ 495014 h 585406"/>
                <a:gd name="connsiteX186" fmla="*/ 128111 w 566166"/>
                <a:gd name="connsiteY186" fmla="*/ 489966 h 585406"/>
                <a:gd name="connsiteX187" fmla="*/ 121825 w 566166"/>
                <a:gd name="connsiteY187" fmla="*/ 483584 h 585406"/>
                <a:gd name="connsiteX188" fmla="*/ 121158 w 566166"/>
                <a:gd name="connsiteY188" fmla="*/ 478250 h 585406"/>
                <a:gd name="connsiteX189" fmla="*/ 114395 w 566166"/>
                <a:gd name="connsiteY189" fmla="*/ 468249 h 585406"/>
                <a:gd name="connsiteX190" fmla="*/ 109442 w 566166"/>
                <a:gd name="connsiteY190" fmla="*/ 472535 h 585406"/>
                <a:gd name="connsiteX191" fmla="*/ 97726 w 566166"/>
                <a:gd name="connsiteY191" fmla="*/ 466820 h 585406"/>
                <a:gd name="connsiteX192" fmla="*/ 94488 w 566166"/>
                <a:gd name="connsiteY192" fmla="*/ 456343 h 585406"/>
                <a:gd name="connsiteX193" fmla="*/ 92964 w 566166"/>
                <a:gd name="connsiteY193" fmla="*/ 458343 h 585406"/>
                <a:gd name="connsiteX194" fmla="*/ 86392 w 566166"/>
                <a:gd name="connsiteY194" fmla="*/ 450151 h 585406"/>
                <a:gd name="connsiteX195" fmla="*/ 68580 w 566166"/>
                <a:gd name="connsiteY195" fmla="*/ 454342 h 585406"/>
                <a:gd name="connsiteX196" fmla="*/ 63437 w 566166"/>
                <a:gd name="connsiteY196" fmla="*/ 456819 h 585406"/>
                <a:gd name="connsiteX197" fmla="*/ 57817 w 566166"/>
                <a:gd name="connsiteY197" fmla="*/ 455771 h 585406"/>
                <a:gd name="connsiteX198" fmla="*/ 52864 w 566166"/>
                <a:gd name="connsiteY198" fmla="*/ 460057 h 585406"/>
                <a:gd name="connsiteX199" fmla="*/ 51054 w 566166"/>
                <a:gd name="connsiteY199" fmla="*/ 460343 h 585406"/>
                <a:gd name="connsiteX200" fmla="*/ 53721 w 566166"/>
                <a:gd name="connsiteY200" fmla="*/ 452723 h 585406"/>
                <a:gd name="connsiteX201" fmla="*/ 44291 w 566166"/>
                <a:gd name="connsiteY201" fmla="*/ 450342 h 585406"/>
                <a:gd name="connsiteX202" fmla="*/ 43339 w 566166"/>
                <a:gd name="connsiteY202" fmla="*/ 443198 h 585406"/>
                <a:gd name="connsiteX203" fmla="*/ 45339 w 566166"/>
                <a:gd name="connsiteY203" fmla="*/ 430244 h 585406"/>
                <a:gd name="connsiteX204" fmla="*/ 33814 w 566166"/>
                <a:gd name="connsiteY204" fmla="*/ 426339 h 585406"/>
                <a:gd name="connsiteX205" fmla="*/ 20383 w 566166"/>
                <a:gd name="connsiteY205" fmla="*/ 435388 h 585406"/>
                <a:gd name="connsiteX206" fmla="*/ 19907 w 566166"/>
                <a:gd name="connsiteY206" fmla="*/ 431863 h 585406"/>
                <a:gd name="connsiteX207" fmla="*/ 22574 w 566166"/>
                <a:gd name="connsiteY207" fmla="*/ 424244 h 585406"/>
                <a:gd name="connsiteX208" fmla="*/ 23717 w 566166"/>
                <a:gd name="connsiteY208" fmla="*/ 418624 h 585406"/>
                <a:gd name="connsiteX209" fmla="*/ 28861 w 566166"/>
                <a:gd name="connsiteY209" fmla="*/ 416147 h 585406"/>
                <a:gd name="connsiteX210" fmla="*/ 30194 w 566166"/>
                <a:gd name="connsiteY210" fmla="*/ 412337 h 585406"/>
                <a:gd name="connsiteX211" fmla="*/ 35147 w 566166"/>
                <a:gd name="connsiteY211" fmla="*/ 408051 h 585406"/>
                <a:gd name="connsiteX212" fmla="*/ 36290 w 566166"/>
                <a:gd name="connsiteY212" fmla="*/ 402431 h 585406"/>
                <a:gd name="connsiteX213" fmla="*/ 40100 w 566166"/>
                <a:gd name="connsiteY213" fmla="*/ 403765 h 585406"/>
                <a:gd name="connsiteX214" fmla="*/ 39814 w 566166"/>
                <a:gd name="connsiteY214" fmla="*/ 401955 h 585406"/>
                <a:gd name="connsiteX215" fmla="*/ 42577 w 566166"/>
                <a:gd name="connsiteY215" fmla="*/ 381667 h 585406"/>
                <a:gd name="connsiteX216" fmla="*/ 38957 w 566166"/>
                <a:gd name="connsiteY216" fmla="*/ 382143 h 585406"/>
                <a:gd name="connsiteX217" fmla="*/ 38290 w 566166"/>
                <a:gd name="connsiteY217" fmla="*/ 376809 h 585406"/>
                <a:gd name="connsiteX218" fmla="*/ 27241 w 566166"/>
                <a:gd name="connsiteY218" fmla="*/ 376428 h 585406"/>
                <a:gd name="connsiteX219" fmla="*/ 33052 w 566166"/>
                <a:gd name="connsiteY219" fmla="*/ 364807 h 585406"/>
                <a:gd name="connsiteX220" fmla="*/ 32575 w 566166"/>
                <a:gd name="connsiteY220" fmla="*/ 361188 h 585406"/>
                <a:gd name="connsiteX221" fmla="*/ 28765 w 566166"/>
                <a:gd name="connsiteY221" fmla="*/ 359950 h 585406"/>
                <a:gd name="connsiteX222" fmla="*/ 27622 w 566166"/>
                <a:gd name="connsiteY222" fmla="*/ 365570 h 585406"/>
                <a:gd name="connsiteX223" fmla="*/ 21146 w 566166"/>
                <a:gd name="connsiteY223" fmla="*/ 371856 h 585406"/>
                <a:gd name="connsiteX224" fmla="*/ 8572 w 566166"/>
                <a:gd name="connsiteY224" fmla="*/ 373475 h 585406"/>
                <a:gd name="connsiteX225" fmla="*/ 11716 w 566166"/>
                <a:gd name="connsiteY225" fmla="*/ 369475 h 585406"/>
                <a:gd name="connsiteX226" fmla="*/ 12763 w 566166"/>
                <a:gd name="connsiteY226" fmla="*/ 363855 h 585406"/>
                <a:gd name="connsiteX227" fmla="*/ 16573 w 566166"/>
                <a:gd name="connsiteY227" fmla="*/ 365188 h 585406"/>
                <a:gd name="connsiteX228" fmla="*/ 19717 w 566166"/>
                <a:gd name="connsiteY228" fmla="*/ 361093 h 585406"/>
                <a:gd name="connsiteX229" fmla="*/ 13145 w 566166"/>
                <a:gd name="connsiteY229" fmla="*/ 352901 h 585406"/>
                <a:gd name="connsiteX230" fmla="*/ 12478 w 566166"/>
                <a:gd name="connsiteY230" fmla="*/ 347567 h 585406"/>
                <a:gd name="connsiteX231" fmla="*/ 10001 w 566166"/>
                <a:gd name="connsiteY231" fmla="*/ 342424 h 585406"/>
                <a:gd name="connsiteX232" fmla="*/ 3048 w 566166"/>
                <a:gd name="connsiteY232" fmla="*/ 345186 h 585406"/>
                <a:gd name="connsiteX233" fmla="*/ 5905 w 566166"/>
                <a:gd name="connsiteY233" fmla="*/ 339376 h 585406"/>
                <a:gd name="connsiteX234" fmla="*/ 0 w 566166"/>
                <a:gd name="connsiteY234" fmla="*/ 336518 h 585406"/>
                <a:gd name="connsiteX235" fmla="*/ 3143 w 566166"/>
                <a:gd name="connsiteY235" fmla="*/ 332518 h 585406"/>
                <a:gd name="connsiteX236" fmla="*/ 7334 w 566166"/>
                <a:gd name="connsiteY236" fmla="*/ 322897 h 585406"/>
                <a:gd name="connsiteX237" fmla="*/ 16097 w 566166"/>
                <a:gd name="connsiteY237" fmla="*/ 319945 h 585406"/>
                <a:gd name="connsiteX238" fmla="*/ 29146 w 566166"/>
                <a:gd name="connsiteY238" fmla="*/ 321850 h 585406"/>
                <a:gd name="connsiteX239" fmla="*/ 32290 w 566166"/>
                <a:gd name="connsiteY239" fmla="*/ 317849 h 585406"/>
                <a:gd name="connsiteX240" fmla="*/ 33814 w 566166"/>
                <a:gd name="connsiteY240" fmla="*/ 315849 h 585406"/>
                <a:gd name="connsiteX241" fmla="*/ 41529 w 566166"/>
                <a:gd name="connsiteY241" fmla="*/ 318516 h 585406"/>
                <a:gd name="connsiteX242" fmla="*/ 45720 w 566166"/>
                <a:gd name="connsiteY242" fmla="*/ 308896 h 585406"/>
                <a:gd name="connsiteX243" fmla="*/ 40100 w 566166"/>
                <a:gd name="connsiteY243" fmla="*/ 307848 h 585406"/>
                <a:gd name="connsiteX244" fmla="*/ 38195 w 566166"/>
                <a:gd name="connsiteY244" fmla="*/ 293561 h 585406"/>
                <a:gd name="connsiteX245" fmla="*/ 38005 w 566166"/>
                <a:gd name="connsiteY245" fmla="*/ 291751 h 585406"/>
                <a:gd name="connsiteX246" fmla="*/ 41815 w 566166"/>
                <a:gd name="connsiteY246" fmla="*/ 293084 h 585406"/>
                <a:gd name="connsiteX247" fmla="*/ 42672 w 566166"/>
                <a:gd name="connsiteY247" fmla="*/ 285750 h 585406"/>
                <a:gd name="connsiteX248" fmla="*/ 36576 w 566166"/>
                <a:gd name="connsiteY248" fmla="*/ 281083 h 585406"/>
                <a:gd name="connsiteX249" fmla="*/ 30194 w 566166"/>
                <a:gd name="connsiteY249" fmla="*/ 274701 h 585406"/>
                <a:gd name="connsiteX250" fmla="*/ 23050 w 566166"/>
                <a:gd name="connsiteY250" fmla="*/ 275654 h 585406"/>
                <a:gd name="connsiteX251" fmla="*/ 15145 w 566166"/>
                <a:gd name="connsiteY251" fmla="*/ 271272 h 585406"/>
                <a:gd name="connsiteX252" fmla="*/ 8001 w 566166"/>
                <a:gd name="connsiteY252" fmla="*/ 272224 h 585406"/>
                <a:gd name="connsiteX253" fmla="*/ 7715 w 566166"/>
                <a:gd name="connsiteY253" fmla="*/ 270415 h 585406"/>
                <a:gd name="connsiteX254" fmla="*/ 9906 w 566166"/>
                <a:gd name="connsiteY254" fmla="*/ 259271 h 585406"/>
                <a:gd name="connsiteX255" fmla="*/ 7144 w 566166"/>
                <a:gd name="connsiteY255" fmla="*/ 252413 h 585406"/>
                <a:gd name="connsiteX256" fmla="*/ 10287 w 566166"/>
                <a:gd name="connsiteY256" fmla="*/ 248412 h 585406"/>
                <a:gd name="connsiteX257" fmla="*/ 17145 w 566166"/>
                <a:gd name="connsiteY257" fmla="*/ 231172 h 585406"/>
                <a:gd name="connsiteX258" fmla="*/ 21622 w 566166"/>
                <a:gd name="connsiteY258" fmla="*/ 223361 h 585406"/>
                <a:gd name="connsiteX259" fmla="*/ 22765 w 566166"/>
                <a:gd name="connsiteY259" fmla="*/ 217741 h 585406"/>
                <a:gd name="connsiteX260" fmla="*/ 25908 w 566166"/>
                <a:gd name="connsiteY260" fmla="*/ 213741 h 585406"/>
                <a:gd name="connsiteX261" fmla="*/ 27908 w 566166"/>
                <a:gd name="connsiteY261" fmla="*/ 215265 h 585406"/>
                <a:gd name="connsiteX262" fmla="*/ 34862 w 566166"/>
                <a:gd name="connsiteY262" fmla="*/ 212503 h 585406"/>
                <a:gd name="connsiteX263" fmla="*/ 38957 w 566166"/>
                <a:gd name="connsiteY263" fmla="*/ 215646 h 585406"/>
                <a:gd name="connsiteX264" fmla="*/ 40957 w 566166"/>
                <a:gd name="connsiteY264" fmla="*/ 217170 h 585406"/>
                <a:gd name="connsiteX265" fmla="*/ 42291 w 566166"/>
                <a:gd name="connsiteY265" fmla="*/ 213360 h 585406"/>
                <a:gd name="connsiteX266" fmla="*/ 49435 w 566166"/>
                <a:gd name="connsiteY266" fmla="*/ 212407 h 585406"/>
                <a:gd name="connsiteX267" fmla="*/ 50959 w 566166"/>
                <a:gd name="connsiteY267" fmla="*/ 210407 h 585406"/>
                <a:gd name="connsiteX268" fmla="*/ 56388 w 566166"/>
                <a:gd name="connsiteY268" fmla="*/ 209740 h 585406"/>
                <a:gd name="connsiteX269" fmla="*/ 54959 w 566166"/>
                <a:gd name="connsiteY269" fmla="*/ 199072 h 585406"/>
                <a:gd name="connsiteX270" fmla="*/ 45244 w 566166"/>
                <a:gd name="connsiteY270" fmla="*/ 194881 h 585406"/>
                <a:gd name="connsiteX271" fmla="*/ 44577 w 566166"/>
                <a:gd name="connsiteY271" fmla="*/ 189547 h 585406"/>
                <a:gd name="connsiteX272" fmla="*/ 40767 w 566166"/>
                <a:gd name="connsiteY272" fmla="*/ 188214 h 585406"/>
                <a:gd name="connsiteX273" fmla="*/ 40481 w 566166"/>
                <a:gd name="connsiteY273" fmla="*/ 186404 h 585406"/>
                <a:gd name="connsiteX274" fmla="*/ 29432 w 566166"/>
                <a:gd name="connsiteY274" fmla="*/ 186023 h 585406"/>
                <a:gd name="connsiteX275" fmla="*/ 25337 w 566166"/>
                <a:gd name="connsiteY275" fmla="*/ 182975 h 585406"/>
                <a:gd name="connsiteX276" fmla="*/ 25717 w 566166"/>
                <a:gd name="connsiteY276" fmla="*/ 172021 h 585406"/>
                <a:gd name="connsiteX277" fmla="*/ 28099 w 566166"/>
                <a:gd name="connsiteY277" fmla="*/ 162592 h 585406"/>
                <a:gd name="connsiteX278" fmla="*/ 31528 w 566166"/>
                <a:gd name="connsiteY278" fmla="*/ 160306 h 585406"/>
                <a:gd name="connsiteX279" fmla="*/ 33528 w 566166"/>
                <a:gd name="connsiteY279" fmla="*/ 161830 h 585406"/>
                <a:gd name="connsiteX280" fmla="*/ 42291 w 566166"/>
                <a:gd name="connsiteY280" fmla="*/ 158877 h 585406"/>
                <a:gd name="connsiteX281" fmla="*/ 41624 w 566166"/>
                <a:gd name="connsiteY281" fmla="*/ 153543 h 585406"/>
                <a:gd name="connsiteX282" fmla="*/ 47244 w 566166"/>
                <a:gd name="connsiteY282" fmla="*/ 154591 h 585406"/>
                <a:gd name="connsiteX283" fmla="*/ 46958 w 566166"/>
                <a:gd name="connsiteY283" fmla="*/ 152781 h 585406"/>
                <a:gd name="connsiteX284" fmla="*/ 43148 w 566166"/>
                <a:gd name="connsiteY284" fmla="*/ 151447 h 585406"/>
                <a:gd name="connsiteX285" fmla="*/ 48101 w 566166"/>
                <a:gd name="connsiteY285" fmla="*/ 147161 h 585406"/>
                <a:gd name="connsiteX286" fmla="*/ 51721 w 566166"/>
                <a:gd name="connsiteY286" fmla="*/ 146685 h 585406"/>
                <a:gd name="connsiteX287" fmla="*/ 54578 w 566166"/>
                <a:gd name="connsiteY287" fmla="*/ 140875 h 585406"/>
                <a:gd name="connsiteX288" fmla="*/ 55721 w 566166"/>
                <a:gd name="connsiteY288" fmla="*/ 135350 h 585406"/>
                <a:gd name="connsiteX289" fmla="*/ 59055 w 566166"/>
                <a:gd name="connsiteY289" fmla="*/ 133064 h 585406"/>
                <a:gd name="connsiteX290" fmla="*/ 54483 w 566166"/>
                <a:gd name="connsiteY290" fmla="*/ 126397 h 585406"/>
                <a:gd name="connsiteX291" fmla="*/ 57817 w 566166"/>
                <a:gd name="connsiteY291" fmla="*/ 124111 h 585406"/>
                <a:gd name="connsiteX292" fmla="*/ 55816 w 566166"/>
                <a:gd name="connsiteY292" fmla="*/ 122587 h 585406"/>
                <a:gd name="connsiteX293" fmla="*/ 55150 w 566166"/>
                <a:gd name="connsiteY293" fmla="*/ 117253 h 585406"/>
                <a:gd name="connsiteX294" fmla="*/ 56959 w 566166"/>
                <a:gd name="connsiteY294" fmla="*/ 117062 h 585406"/>
                <a:gd name="connsiteX295" fmla="*/ 67723 w 566166"/>
                <a:gd name="connsiteY295" fmla="*/ 115633 h 585406"/>
                <a:gd name="connsiteX296" fmla="*/ 72676 w 566166"/>
                <a:gd name="connsiteY296" fmla="*/ 111347 h 585406"/>
                <a:gd name="connsiteX297" fmla="*/ 76295 w 566166"/>
                <a:gd name="connsiteY297" fmla="*/ 110871 h 585406"/>
                <a:gd name="connsiteX298" fmla="*/ 91249 w 566166"/>
                <a:gd name="connsiteY298" fmla="*/ 99822 h 585406"/>
                <a:gd name="connsiteX299" fmla="*/ 94393 w 566166"/>
                <a:gd name="connsiteY299" fmla="*/ 95821 h 585406"/>
                <a:gd name="connsiteX300" fmla="*/ 95536 w 566166"/>
                <a:gd name="connsiteY300" fmla="*/ 90202 h 585406"/>
                <a:gd name="connsiteX301" fmla="*/ 97060 w 566166"/>
                <a:gd name="connsiteY301" fmla="*/ 88201 h 585406"/>
                <a:gd name="connsiteX302" fmla="*/ 106013 w 566166"/>
                <a:gd name="connsiteY302" fmla="*/ 87058 h 585406"/>
                <a:gd name="connsiteX303" fmla="*/ 106966 w 566166"/>
                <a:gd name="connsiteY303" fmla="*/ 94202 h 585406"/>
                <a:gd name="connsiteX304" fmla="*/ 109252 w 566166"/>
                <a:gd name="connsiteY304" fmla="*/ 97536 h 585406"/>
                <a:gd name="connsiteX305" fmla="*/ 108775 w 566166"/>
                <a:gd name="connsiteY305" fmla="*/ 93917 h 585406"/>
                <a:gd name="connsiteX306" fmla="*/ 113729 w 566166"/>
                <a:gd name="connsiteY306" fmla="*/ 89630 h 585406"/>
                <a:gd name="connsiteX307" fmla="*/ 113252 w 566166"/>
                <a:gd name="connsiteY307" fmla="*/ 86106 h 585406"/>
                <a:gd name="connsiteX308" fmla="*/ 120205 w 566166"/>
                <a:gd name="connsiteY308" fmla="*/ 83344 h 585406"/>
                <a:gd name="connsiteX309" fmla="*/ 128683 w 566166"/>
                <a:gd name="connsiteY309" fmla="*/ 78581 h 585406"/>
                <a:gd name="connsiteX310" fmla="*/ 131826 w 566166"/>
                <a:gd name="connsiteY310" fmla="*/ 74581 h 585406"/>
                <a:gd name="connsiteX311" fmla="*/ 140589 w 566166"/>
                <a:gd name="connsiteY311" fmla="*/ 71628 h 585406"/>
                <a:gd name="connsiteX312" fmla="*/ 140113 w 566166"/>
                <a:gd name="connsiteY312" fmla="*/ 68104 h 585406"/>
                <a:gd name="connsiteX313" fmla="*/ 138113 w 566166"/>
                <a:gd name="connsiteY313" fmla="*/ 66580 h 585406"/>
                <a:gd name="connsiteX314" fmla="*/ 141732 w 566166"/>
                <a:gd name="connsiteY314" fmla="*/ 66103 h 585406"/>
                <a:gd name="connsiteX315" fmla="*/ 135826 w 566166"/>
                <a:gd name="connsiteY315" fmla="*/ 63246 h 585406"/>
                <a:gd name="connsiteX316" fmla="*/ 137350 w 566166"/>
                <a:gd name="connsiteY316" fmla="*/ 61246 h 585406"/>
                <a:gd name="connsiteX317" fmla="*/ 128778 w 566166"/>
                <a:gd name="connsiteY317" fmla="*/ 51530 h 585406"/>
                <a:gd name="connsiteX318" fmla="*/ 136779 w 566166"/>
                <a:gd name="connsiteY318" fmla="*/ 43243 h 585406"/>
                <a:gd name="connsiteX319" fmla="*/ 131350 w 566166"/>
                <a:gd name="connsiteY319" fmla="*/ 43910 h 585406"/>
                <a:gd name="connsiteX320" fmla="*/ 127921 w 566166"/>
                <a:gd name="connsiteY320" fmla="*/ 31718 h 585406"/>
                <a:gd name="connsiteX321" fmla="*/ 127445 w 566166"/>
                <a:gd name="connsiteY321" fmla="*/ 28194 h 585406"/>
                <a:gd name="connsiteX322" fmla="*/ 131254 w 566166"/>
                <a:gd name="connsiteY322" fmla="*/ 29527 h 585406"/>
                <a:gd name="connsiteX323" fmla="*/ 132302 w 566166"/>
                <a:gd name="connsiteY323" fmla="*/ 23908 h 585406"/>
                <a:gd name="connsiteX324" fmla="*/ 137922 w 566166"/>
                <a:gd name="connsiteY324" fmla="*/ 24955 h 585406"/>
                <a:gd name="connsiteX325" fmla="*/ 140684 w 566166"/>
                <a:gd name="connsiteY325" fmla="*/ 31813 h 585406"/>
                <a:gd name="connsiteX326" fmla="*/ 150114 w 566166"/>
                <a:gd name="connsiteY326" fmla="*/ 34195 h 585406"/>
                <a:gd name="connsiteX327" fmla="*/ 164592 w 566166"/>
                <a:gd name="connsiteY327" fmla="*/ 46768 h 585406"/>
                <a:gd name="connsiteX328" fmla="*/ 170021 w 566166"/>
                <a:gd name="connsiteY328" fmla="*/ 46101 h 585406"/>
                <a:gd name="connsiteX329" fmla="*/ 168878 w 566166"/>
                <a:gd name="connsiteY329" fmla="*/ 37243 h 585406"/>
                <a:gd name="connsiteX330" fmla="*/ 176022 w 566166"/>
                <a:gd name="connsiteY330" fmla="*/ 36290 h 585406"/>
                <a:gd name="connsiteX331" fmla="*/ 175736 w 566166"/>
                <a:gd name="connsiteY331" fmla="*/ 34480 h 585406"/>
                <a:gd name="connsiteX332" fmla="*/ 175260 w 566166"/>
                <a:gd name="connsiteY332" fmla="*/ 30956 h 585406"/>
                <a:gd name="connsiteX333" fmla="*/ 167640 w 566166"/>
                <a:gd name="connsiteY333" fmla="*/ 28384 h 585406"/>
                <a:gd name="connsiteX334" fmla="*/ 174117 w 566166"/>
                <a:gd name="connsiteY334" fmla="*/ 22098 h 585406"/>
                <a:gd name="connsiteX335" fmla="*/ 178403 w 566166"/>
                <a:gd name="connsiteY335" fmla="*/ 26956 h 585406"/>
                <a:gd name="connsiteX336" fmla="*/ 178213 w 566166"/>
                <a:gd name="connsiteY336" fmla="*/ 25146 h 585406"/>
                <a:gd name="connsiteX337" fmla="*/ 179260 w 566166"/>
                <a:gd name="connsiteY337" fmla="*/ 19526 h 585406"/>
                <a:gd name="connsiteX338" fmla="*/ 172879 w 566166"/>
                <a:gd name="connsiteY338" fmla="*/ 13144 h 585406"/>
                <a:gd name="connsiteX339" fmla="*/ 176308 w 566166"/>
                <a:gd name="connsiteY339" fmla="*/ 10858 h 585406"/>
                <a:gd name="connsiteX340" fmla="*/ 176784 w 566166"/>
                <a:gd name="connsiteY340" fmla="*/ 14383 h 585406"/>
                <a:gd name="connsiteX341" fmla="*/ 180594 w 566166"/>
                <a:gd name="connsiteY341" fmla="*/ 15716 h 585406"/>
                <a:gd name="connsiteX342" fmla="*/ 180975 w 566166"/>
                <a:gd name="connsiteY342" fmla="*/ 4763 h 585406"/>
                <a:gd name="connsiteX343" fmla="*/ 184595 w 566166"/>
                <a:gd name="connsiteY343" fmla="*/ 4286 h 585406"/>
                <a:gd name="connsiteX344" fmla="*/ 188404 w 566166"/>
                <a:gd name="connsiteY344" fmla="*/ 5620 h 585406"/>
                <a:gd name="connsiteX345" fmla="*/ 189071 w 566166"/>
                <a:gd name="connsiteY345" fmla="*/ 10954 h 585406"/>
                <a:gd name="connsiteX346" fmla="*/ 187928 w 566166"/>
                <a:gd name="connsiteY346" fmla="*/ 16573 h 585406"/>
                <a:gd name="connsiteX347" fmla="*/ 188404 w 566166"/>
                <a:gd name="connsiteY347" fmla="*/ 20193 h 585406"/>
                <a:gd name="connsiteX348" fmla="*/ 190214 w 566166"/>
                <a:gd name="connsiteY348" fmla="*/ 19907 h 585406"/>
                <a:gd name="connsiteX349" fmla="*/ 191071 w 566166"/>
                <a:gd name="connsiteY349" fmla="*/ 12573 h 585406"/>
                <a:gd name="connsiteX350" fmla="*/ 194405 w 566166"/>
                <a:gd name="connsiteY350" fmla="*/ 10287 h 585406"/>
                <a:gd name="connsiteX351" fmla="*/ 195072 w 566166"/>
                <a:gd name="connsiteY351" fmla="*/ 15621 h 585406"/>
                <a:gd name="connsiteX352" fmla="*/ 198691 w 566166"/>
                <a:gd name="connsiteY352" fmla="*/ 15145 h 585406"/>
                <a:gd name="connsiteX353" fmla="*/ 199834 w 566166"/>
                <a:gd name="connsiteY353" fmla="*/ 9620 h 585406"/>
                <a:gd name="connsiteX354" fmla="*/ 204788 w 566166"/>
                <a:gd name="connsiteY354" fmla="*/ 5334 h 585406"/>
                <a:gd name="connsiteX355" fmla="*/ 200692 w 566166"/>
                <a:gd name="connsiteY355" fmla="*/ 2286 h 585406"/>
                <a:gd name="connsiteX356" fmla="*/ 204025 w 566166"/>
                <a:gd name="connsiteY356" fmla="*/ 0 h 585406"/>
                <a:gd name="connsiteX357" fmla="*/ 206312 w 566166"/>
                <a:gd name="connsiteY357" fmla="*/ 3334 h 585406"/>
                <a:gd name="connsiteX358" fmla="*/ 206312 w 566166"/>
                <a:gd name="connsiteY358" fmla="*/ 17812 h 585406"/>
                <a:gd name="connsiteX359" fmla="*/ 219646 w 566166"/>
                <a:gd name="connsiteY359" fmla="*/ 21431 h 585406"/>
                <a:gd name="connsiteX360" fmla="*/ 220123 w 566166"/>
                <a:gd name="connsiteY360" fmla="*/ 24955 h 585406"/>
                <a:gd name="connsiteX361" fmla="*/ 213646 w 566166"/>
                <a:gd name="connsiteY361" fmla="*/ 31242 h 585406"/>
                <a:gd name="connsiteX362" fmla="*/ 210788 w 566166"/>
                <a:gd name="connsiteY362" fmla="*/ 37052 h 585406"/>
                <a:gd name="connsiteX363" fmla="*/ 215360 w 566166"/>
                <a:gd name="connsiteY363" fmla="*/ 43720 h 585406"/>
                <a:gd name="connsiteX364" fmla="*/ 222028 w 566166"/>
                <a:gd name="connsiteY364" fmla="*/ 39148 h 585406"/>
                <a:gd name="connsiteX365" fmla="*/ 228124 w 566166"/>
                <a:gd name="connsiteY365" fmla="*/ 43815 h 585406"/>
                <a:gd name="connsiteX366" fmla="*/ 231934 w 566166"/>
                <a:gd name="connsiteY366" fmla="*/ 45148 h 585406"/>
                <a:gd name="connsiteX367" fmla="*/ 240697 w 566166"/>
                <a:gd name="connsiteY367" fmla="*/ 42196 h 585406"/>
                <a:gd name="connsiteX368" fmla="*/ 245269 w 566166"/>
                <a:gd name="connsiteY368" fmla="*/ 48863 h 585406"/>
                <a:gd name="connsiteX369" fmla="*/ 249364 w 566166"/>
                <a:gd name="connsiteY369" fmla="*/ 51911 h 585406"/>
                <a:gd name="connsiteX370" fmla="*/ 252127 w 566166"/>
                <a:gd name="connsiteY370" fmla="*/ 58769 h 585406"/>
                <a:gd name="connsiteX371" fmla="*/ 259651 w 566166"/>
                <a:gd name="connsiteY371" fmla="*/ 46863 h 585406"/>
                <a:gd name="connsiteX372" fmla="*/ 267081 w 566166"/>
                <a:gd name="connsiteY372" fmla="*/ 47625 h 585406"/>
                <a:gd name="connsiteX373" fmla="*/ 267271 w 566166"/>
                <a:gd name="connsiteY373" fmla="*/ 49435 h 585406"/>
                <a:gd name="connsiteX374" fmla="*/ 266224 w 566166"/>
                <a:gd name="connsiteY374" fmla="*/ 55054 h 585406"/>
                <a:gd name="connsiteX375" fmla="*/ 266700 w 566166"/>
                <a:gd name="connsiteY375" fmla="*/ 58579 h 585406"/>
                <a:gd name="connsiteX376" fmla="*/ 262033 w 566166"/>
                <a:gd name="connsiteY376" fmla="*/ 64579 h 585406"/>
                <a:gd name="connsiteX377" fmla="*/ 264033 w 566166"/>
                <a:gd name="connsiteY377" fmla="*/ 66103 h 585406"/>
                <a:gd name="connsiteX378" fmla="*/ 277273 w 566166"/>
                <a:gd name="connsiteY378" fmla="*/ 69818 h 585406"/>
                <a:gd name="connsiteX379" fmla="*/ 280035 w 566166"/>
                <a:gd name="connsiteY379" fmla="*/ 76676 h 585406"/>
                <a:gd name="connsiteX380" fmla="*/ 276701 w 566166"/>
                <a:gd name="connsiteY380" fmla="*/ 78867 h 585406"/>
                <a:gd name="connsiteX381" fmla="*/ 276320 w 566166"/>
                <a:gd name="connsiteY381" fmla="*/ 89821 h 585406"/>
                <a:gd name="connsiteX382" fmla="*/ 271177 w 566166"/>
                <a:gd name="connsiteY382" fmla="*/ 92297 h 585406"/>
                <a:gd name="connsiteX383" fmla="*/ 269843 w 566166"/>
                <a:gd name="connsiteY383" fmla="*/ 96107 h 585406"/>
                <a:gd name="connsiteX384" fmla="*/ 275939 w 566166"/>
                <a:gd name="connsiteY384" fmla="*/ 100679 h 585406"/>
                <a:gd name="connsiteX385" fmla="*/ 281559 w 566166"/>
                <a:gd name="connsiteY385" fmla="*/ 101727 h 585406"/>
                <a:gd name="connsiteX386" fmla="*/ 284035 w 566166"/>
                <a:gd name="connsiteY386" fmla="*/ 106871 h 585406"/>
                <a:gd name="connsiteX387" fmla="*/ 287655 w 566166"/>
                <a:gd name="connsiteY387" fmla="*/ 106394 h 585406"/>
                <a:gd name="connsiteX388" fmla="*/ 289941 w 566166"/>
                <a:gd name="connsiteY388" fmla="*/ 109728 h 585406"/>
                <a:gd name="connsiteX389" fmla="*/ 293560 w 566166"/>
                <a:gd name="connsiteY389" fmla="*/ 109252 h 585406"/>
                <a:gd name="connsiteX390" fmla="*/ 290036 w 566166"/>
                <a:gd name="connsiteY390" fmla="*/ 124206 h 585406"/>
                <a:gd name="connsiteX391" fmla="*/ 295370 w 566166"/>
                <a:gd name="connsiteY391" fmla="*/ 123444 h 585406"/>
                <a:gd name="connsiteX392" fmla="*/ 297180 w 566166"/>
                <a:gd name="connsiteY392" fmla="*/ 123253 h 585406"/>
                <a:gd name="connsiteX393" fmla="*/ 294322 w 566166"/>
                <a:gd name="connsiteY393" fmla="*/ 129064 h 585406"/>
                <a:gd name="connsiteX394" fmla="*/ 300133 w 566166"/>
                <a:gd name="connsiteY394" fmla="*/ 131921 h 585406"/>
                <a:gd name="connsiteX395" fmla="*/ 301657 w 566166"/>
                <a:gd name="connsiteY395" fmla="*/ 129921 h 585406"/>
                <a:gd name="connsiteX396" fmla="*/ 303657 w 566166"/>
                <a:gd name="connsiteY396" fmla="*/ 131445 h 585406"/>
                <a:gd name="connsiteX397" fmla="*/ 323374 w 566166"/>
                <a:gd name="connsiteY397" fmla="*/ 128778 h 585406"/>
                <a:gd name="connsiteX398" fmla="*/ 324898 w 566166"/>
                <a:gd name="connsiteY398" fmla="*/ 126778 h 585406"/>
                <a:gd name="connsiteX399" fmla="*/ 326422 w 566166"/>
                <a:gd name="connsiteY399" fmla="*/ 124777 h 585406"/>
                <a:gd name="connsiteX400" fmla="*/ 331851 w 566166"/>
                <a:gd name="connsiteY400" fmla="*/ 124015 h 585406"/>
                <a:gd name="connsiteX401" fmla="*/ 335185 w 566166"/>
                <a:gd name="connsiteY401" fmla="*/ 121729 h 585406"/>
                <a:gd name="connsiteX402" fmla="*/ 338614 w 566166"/>
                <a:gd name="connsiteY402" fmla="*/ 119443 h 585406"/>
                <a:gd name="connsiteX403" fmla="*/ 346043 w 566166"/>
                <a:gd name="connsiteY403" fmla="*/ 120301 h 585406"/>
                <a:gd name="connsiteX404" fmla="*/ 345567 w 566166"/>
                <a:gd name="connsiteY404" fmla="*/ 116776 h 585406"/>
                <a:gd name="connsiteX405" fmla="*/ 357473 w 566166"/>
                <a:gd name="connsiteY405" fmla="*/ 109728 h 585406"/>
                <a:gd name="connsiteX406" fmla="*/ 360807 w 566166"/>
                <a:gd name="connsiteY406" fmla="*/ 107442 h 585406"/>
                <a:gd name="connsiteX407" fmla="*/ 364903 w 566166"/>
                <a:gd name="connsiteY407" fmla="*/ 110490 h 585406"/>
                <a:gd name="connsiteX408" fmla="*/ 363569 w 566166"/>
                <a:gd name="connsiteY408" fmla="*/ 114300 h 585406"/>
                <a:gd name="connsiteX409" fmla="*/ 368998 w 566166"/>
                <a:gd name="connsiteY409" fmla="*/ 113538 h 585406"/>
                <a:gd name="connsiteX410" fmla="*/ 372237 w 566166"/>
                <a:gd name="connsiteY410" fmla="*/ 124015 h 585406"/>
                <a:gd name="connsiteX411" fmla="*/ 370046 w 566166"/>
                <a:gd name="connsiteY411" fmla="*/ 135160 h 585406"/>
                <a:gd name="connsiteX412" fmla="*/ 380143 w 566166"/>
                <a:gd name="connsiteY412" fmla="*/ 142875 h 585406"/>
                <a:gd name="connsiteX413" fmla="*/ 376142 w 566166"/>
                <a:gd name="connsiteY413" fmla="*/ 154305 h 585406"/>
                <a:gd name="connsiteX414" fmla="*/ 378905 w 566166"/>
                <a:gd name="connsiteY414" fmla="*/ 161163 h 585406"/>
                <a:gd name="connsiteX415" fmla="*/ 372999 w 566166"/>
                <a:gd name="connsiteY415" fmla="*/ 158305 h 585406"/>
                <a:gd name="connsiteX416" fmla="*/ 360997 w 566166"/>
                <a:gd name="connsiteY416" fmla="*/ 150781 h 585406"/>
                <a:gd name="connsiteX417" fmla="*/ 361474 w 566166"/>
                <a:gd name="connsiteY417" fmla="*/ 154305 h 585406"/>
                <a:gd name="connsiteX418" fmla="*/ 359664 w 566166"/>
                <a:gd name="connsiteY418" fmla="*/ 154496 h 585406"/>
                <a:gd name="connsiteX419" fmla="*/ 358330 w 566166"/>
                <a:gd name="connsiteY419" fmla="*/ 158305 h 585406"/>
                <a:gd name="connsiteX420" fmla="*/ 360616 w 566166"/>
                <a:gd name="connsiteY420" fmla="*/ 161639 h 585406"/>
                <a:gd name="connsiteX421" fmla="*/ 358807 w 566166"/>
                <a:gd name="connsiteY421" fmla="*/ 161830 h 585406"/>
                <a:gd name="connsiteX422" fmla="*/ 353378 w 566166"/>
                <a:gd name="connsiteY422" fmla="*/ 162496 h 585406"/>
                <a:gd name="connsiteX423" fmla="*/ 350615 w 566166"/>
                <a:gd name="connsiteY423" fmla="*/ 155638 h 585406"/>
                <a:gd name="connsiteX424" fmla="*/ 338042 w 566166"/>
                <a:gd name="connsiteY424" fmla="*/ 157258 h 585406"/>
                <a:gd name="connsiteX425" fmla="*/ 333756 w 566166"/>
                <a:gd name="connsiteY425" fmla="*/ 152400 h 585406"/>
                <a:gd name="connsiteX426" fmla="*/ 329755 w 566166"/>
                <a:gd name="connsiteY426" fmla="*/ 163830 h 585406"/>
                <a:gd name="connsiteX427" fmla="*/ 325946 w 566166"/>
                <a:gd name="connsiteY427" fmla="*/ 162496 h 585406"/>
                <a:gd name="connsiteX428" fmla="*/ 320992 w 566166"/>
                <a:gd name="connsiteY428" fmla="*/ 166783 h 585406"/>
                <a:gd name="connsiteX429" fmla="*/ 317373 w 566166"/>
                <a:gd name="connsiteY429" fmla="*/ 167259 h 585406"/>
                <a:gd name="connsiteX430" fmla="*/ 316325 w 566166"/>
                <a:gd name="connsiteY430" fmla="*/ 172784 h 585406"/>
                <a:gd name="connsiteX431" fmla="*/ 316516 w 566166"/>
                <a:gd name="connsiteY431" fmla="*/ 174593 h 585406"/>
                <a:gd name="connsiteX432" fmla="*/ 312896 w 566166"/>
                <a:gd name="connsiteY432" fmla="*/ 175069 h 585406"/>
                <a:gd name="connsiteX433" fmla="*/ 313372 w 566166"/>
                <a:gd name="connsiteY433" fmla="*/ 178689 h 585406"/>
                <a:gd name="connsiteX434" fmla="*/ 315373 w 566166"/>
                <a:gd name="connsiteY434" fmla="*/ 180213 h 585406"/>
                <a:gd name="connsiteX435" fmla="*/ 312230 w 566166"/>
                <a:gd name="connsiteY435" fmla="*/ 184213 h 585406"/>
                <a:gd name="connsiteX436" fmla="*/ 302800 w 566166"/>
                <a:gd name="connsiteY436" fmla="*/ 181832 h 585406"/>
                <a:gd name="connsiteX437" fmla="*/ 299942 w 566166"/>
                <a:gd name="connsiteY437" fmla="*/ 187642 h 585406"/>
                <a:gd name="connsiteX438" fmla="*/ 302228 w 566166"/>
                <a:gd name="connsiteY438" fmla="*/ 190976 h 585406"/>
                <a:gd name="connsiteX439" fmla="*/ 295084 w 566166"/>
                <a:gd name="connsiteY439" fmla="*/ 191929 h 585406"/>
                <a:gd name="connsiteX440" fmla="*/ 293275 w 566166"/>
                <a:gd name="connsiteY440" fmla="*/ 192214 h 585406"/>
                <a:gd name="connsiteX441" fmla="*/ 301180 w 566166"/>
                <a:gd name="connsiteY441" fmla="*/ 196596 h 585406"/>
                <a:gd name="connsiteX442" fmla="*/ 297847 w 566166"/>
                <a:gd name="connsiteY442" fmla="*/ 198882 h 585406"/>
                <a:gd name="connsiteX443" fmla="*/ 299847 w 566166"/>
                <a:gd name="connsiteY443" fmla="*/ 200406 h 585406"/>
                <a:gd name="connsiteX444" fmla="*/ 298323 w 566166"/>
                <a:gd name="connsiteY444" fmla="*/ 202406 h 585406"/>
                <a:gd name="connsiteX445" fmla="*/ 301085 w 566166"/>
                <a:gd name="connsiteY445" fmla="*/ 209264 h 585406"/>
                <a:gd name="connsiteX446" fmla="*/ 293846 w 566166"/>
                <a:gd name="connsiteY446" fmla="*/ 210217 h 585406"/>
                <a:gd name="connsiteX447" fmla="*/ 292703 w 566166"/>
                <a:gd name="connsiteY447" fmla="*/ 201359 h 585406"/>
                <a:gd name="connsiteX448" fmla="*/ 290703 w 566166"/>
                <a:gd name="connsiteY448" fmla="*/ 199834 h 585406"/>
                <a:gd name="connsiteX449" fmla="*/ 284226 w 566166"/>
                <a:gd name="connsiteY449" fmla="*/ 206121 h 585406"/>
                <a:gd name="connsiteX450" fmla="*/ 283083 w 566166"/>
                <a:gd name="connsiteY450" fmla="*/ 211741 h 585406"/>
                <a:gd name="connsiteX451" fmla="*/ 278511 w 566166"/>
                <a:gd name="connsiteY451" fmla="*/ 205073 h 585406"/>
                <a:gd name="connsiteX452" fmla="*/ 275177 w 566166"/>
                <a:gd name="connsiteY452" fmla="*/ 207359 h 585406"/>
                <a:gd name="connsiteX453" fmla="*/ 272034 w 566166"/>
                <a:gd name="connsiteY453" fmla="*/ 211360 h 585406"/>
                <a:gd name="connsiteX454" fmla="*/ 272224 w 566166"/>
                <a:gd name="connsiteY454" fmla="*/ 213170 h 585406"/>
                <a:gd name="connsiteX455" fmla="*/ 277273 w 566166"/>
                <a:gd name="connsiteY455" fmla="*/ 223361 h 585406"/>
                <a:gd name="connsiteX456" fmla="*/ 271939 w 566166"/>
                <a:gd name="connsiteY456" fmla="*/ 224123 h 585406"/>
                <a:gd name="connsiteX457" fmla="*/ 260699 w 566166"/>
                <a:gd name="connsiteY457" fmla="*/ 221932 h 585406"/>
                <a:gd name="connsiteX458" fmla="*/ 261938 w 566166"/>
                <a:gd name="connsiteY458" fmla="*/ 218122 h 585406"/>
                <a:gd name="connsiteX459" fmla="*/ 254032 w 566166"/>
                <a:gd name="connsiteY459" fmla="*/ 213741 h 585406"/>
                <a:gd name="connsiteX460" fmla="*/ 247269 w 566166"/>
                <a:gd name="connsiteY460" fmla="*/ 203740 h 585406"/>
                <a:gd name="connsiteX461" fmla="*/ 253460 w 566166"/>
                <a:gd name="connsiteY461" fmla="*/ 195643 h 585406"/>
                <a:gd name="connsiteX462" fmla="*/ 238792 w 566166"/>
                <a:gd name="connsiteY462" fmla="*/ 181261 h 585406"/>
                <a:gd name="connsiteX463" fmla="*/ 237458 w 566166"/>
                <a:gd name="connsiteY463" fmla="*/ 185071 h 585406"/>
                <a:gd name="connsiteX464" fmla="*/ 235458 w 566166"/>
                <a:gd name="connsiteY464" fmla="*/ 183547 h 585406"/>
                <a:gd name="connsiteX465" fmla="*/ 232696 w 566166"/>
                <a:gd name="connsiteY465" fmla="*/ 176689 h 585406"/>
                <a:gd name="connsiteX466" fmla="*/ 225266 w 566166"/>
                <a:gd name="connsiteY466" fmla="*/ 175831 h 585406"/>
                <a:gd name="connsiteX467" fmla="*/ 227266 w 566166"/>
                <a:gd name="connsiteY467" fmla="*/ 177355 h 585406"/>
                <a:gd name="connsiteX468" fmla="*/ 221837 w 566166"/>
                <a:gd name="connsiteY468" fmla="*/ 178022 h 585406"/>
                <a:gd name="connsiteX469" fmla="*/ 211646 w 566166"/>
                <a:gd name="connsiteY469" fmla="*/ 170307 h 585406"/>
                <a:gd name="connsiteX470" fmla="*/ 206978 w 566166"/>
                <a:gd name="connsiteY470" fmla="*/ 176403 h 585406"/>
                <a:gd name="connsiteX471" fmla="*/ 200978 w 566166"/>
                <a:gd name="connsiteY471" fmla="*/ 186309 h 585406"/>
                <a:gd name="connsiteX472" fmla="*/ 201644 w 566166"/>
                <a:gd name="connsiteY472" fmla="*/ 191643 h 585406"/>
                <a:gd name="connsiteX473" fmla="*/ 198310 w 566166"/>
                <a:gd name="connsiteY473" fmla="*/ 193929 h 585406"/>
                <a:gd name="connsiteX474" fmla="*/ 198787 w 566166"/>
                <a:gd name="connsiteY474" fmla="*/ 197453 h 585406"/>
                <a:gd name="connsiteX475" fmla="*/ 197263 w 566166"/>
                <a:gd name="connsiteY475" fmla="*/ 199453 h 585406"/>
                <a:gd name="connsiteX476" fmla="*/ 204025 w 566166"/>
                <a:gd name="connsiteY476" fmla="*/ 209455 h 585406"/>
                <a:gd name="connsiteX477" fmla="*/ 198882 w 566166"/>
                <a:gd name="connsiteY477" fmla="*/ 211931 h 585406"/>
                <a:gd name="connsiteX478" fmla="*/ 199168 w 566166"/>
                <a:gd name="connsiteY478" fmla="*/ 213741 h 585406"/>
                <a:gd name="connsiteX479" fmla="*/ 204597 w 566166"/>
                <a:gd name="connsiteY479" fmla="*/ 212979 h 585406"/>
                <a:gd name="connsiteX480" fmla="*/ 198596 w 566166"/>
                <a:gd name="connsiteY480" fmla="*/ 222885 h 585406"/>
                <a:gd name="connsiteX481" fmla="*/ 194596 w 566166"/>
                <a:gd name="connsiteY481" fmla="*/ 234315 h 585406"/>
                <a:gd name="connsiteX482" fmla="*/ 189166 w 566166"/>
                <a:gd name="connsiteY482" fmla="*/ 234982 h 585406"/>
                <a:gd name="connsiteX483" fmla="*/ 187357 w 566166"/>
                <a:gd name="connsiteY483" fmla="*/ 235267 h 585406"/>
                <a:gd name="connsiteX484" fmla="*/ 193262 w 566166"/>
                <a:gd name="connsiteY484" fmla="*/ 238125 h 585406"/>
                <a:gd name="connsiteX485" fmla="*/ 188119 w 566166"/>
                <a:gd name="connsiteY485" fmla="*/ 240601 h 585406"/>
                <a:gd name="connsiteX486" fmla="*/ 190595 w 566166"/>
                <a:gd name="connsiteY486" fmla="*/ 245650 h 585406"/>
                <a:gd name="connsiteX487" fmla="*/ 188976 w 566166"/>
                <a:gd name="connsiteY487" fmla="*/ 247650 h 585406"/>
                <a:gd name="connsiteX488" fmla="*/ 183261 w 566166"/>
                <a:gd name="connsiteY488" fmla="*/ 259271 h 585406"/>
                <a:gd name="connsiteX489" fmla="*/ 181737 w 566166"/>
                <a:gd name="connsiteY489" fmla="*/ 261271 h 585406"/>
                <a:gd name="connsiteX490" fmla="*/ 187357 w 566166"/>
                <a:gd name="connsiteY490" fmla="*/ 262319 h 585406"/>
                <a:gd name="connsiteX491" fmla="*/ 189833 w 566166"/>
                <a:gd name="connsiteY491" fmla="*/ 267462 h 585406"/>
                <a:gd name="connsiteX492" fmla="*/ 193357 w 566166"/>
                <a:gd name="connsiteY492" fmla="*/ 266986 h 585406"/>
                <a:gd name="connsiteX493" fmla="*/ 199263 w 566166"/>
                <a:gd name="connsiteY493" fmla="*/ 269843 h 585406"/>
                <a:gd name="connsiteX494" fmla="*/ 198406 w 566166"/>
                <a:gd name="connsiteY494" fmla="*/ 277178 h 585406"/>
                <a:gd name="connsiteX495" fmla="*/ 204502 w 566166"/>
                <a:gd name="connsiteY495" fmla="*/ 281845 h 585406"/>
                <a:gd name="connsiteX496" fmla="*/ 207740 w 566166"/>
                <a:gd name="connsiteY496" fmla="*/ 292322 h 585406"/>
                <a:gd name="connsiteX497" fmla="*/ 213360 w 566166"/>
                <a:gd name="connsiteY497" fmla="*/ 293370 h 585406"/>
                <a:gd name="connsiteX498" fmla="*/ 220504 w 566166"/>
                <a:gd name="connsiteY498" fmla="*/ 292417 h 585406"/>
                <a:gd name="connsiteX499" fmla="*/ 224314 w 566166"/>
                <a:gd name="connsiteY499" fmla="*/ 293751 h 585406"/>
                <a:gd name="connsiteX500" fmla="*/ 225171 w 566166"/>
                <a:gd name="connsiteY500" fmla="*/ 286417 h 585406"/>
                <a:gd name="connsiteX501" fmla="*/ 230314 w 566166"/>
                <a:gd name="connsiteY501" fmla="*/ 283940 h 585406"/>
                <a:gd name="connsiteX502" fmla="*/ 236410 w 566166"/>
                <a:gd name="connsiteY502" fmla="*/ 288607 h 585406"/>
                <a:gd name="connsiteX503" fmla="*/ 240030 w 566166"/>
                <a:gd name="connsiteY503" fmla="*/ 288131 h 585406"/>
                <a:gd name="connsiteX504" fmla="*/ 243649 w 566166"/>
                <a:gd name="connsiteY504" fmla="*/ 302133 h 585406"/>
                <a:gd name="connsiteX505" fmla="*/ 244126 w 566166"/>
                <a:gd name="connsiteY505" fmla="*/ 305657 h 585406"/>
                <a:gd name="connsiteX506" fmla="*/ 265271 w 566166"/>
                <a:gd name="connsiteY506" fmla="*/ 313658 h 585406"/>
                <a:gd name="connsiteX507" fmla="*/ 264414 w 566166"/>
                <a:gd name="connsiteY507" fmla="*/ 321088 h 585406"/>
                <a:gd name="connsiteX508" fmla="*/ 276130 w 566166"/>
                <a:gd name="connsiteY508" fmla="*/ 326803 h 585406"/>
                <a:gd name="connsiteX509" fmla="*/ 282892 w 566166"/>
                <a:gd name="connsiteY509" fmla="*/ 322326 h 585406"/>
                <a:gd name="connsiteX510" fmla="*/ 292322 w 566166"/>
                <a:gd name="connsiteY510" fmla="*/ 324707 h 585406"/>
                <a:gd name="connsiteX511" fmla="*/ 290703 w 566166"/>
                <a:gd name="connsiteY511" fmla="*/ 326707 h 585406"/>
                <a:gd name="connsiteX512" fmla="*/ 296608 w 566166"/>
                <a:gd name="connsiteY512" fmla="*/ 329565 h 585406"/>
                <a:gd name="connsiteX513" fmla="*/ 298513 w 566166"/>
                <a:gd name="connsiteY513" fmla="*/ 343853 h 585406"/>
                <a:gd name="connsiteX514" fmla="*/ 300514 w 566166"/>
                <a:gd name="connsiteY514" fmla="*/ 345376 h 585406"/>
                <a:gd name="connsiteX515" fmla="*/ 316421 w 566166"/>
                <a:gd name="connsiteY515" fmla="*/ 341471 h 585406"/>
                <a:gd name="connsiteX516" fmla="*/ 319088 w 566166"/>
                <a:gd name="connsiteY516" fmla="*/ 333851 h 585406"/>
                <a:gd name="connsiteX517" fmla="*/ 321088 w 566166"/>
                <a:gd name="connsiteY517" fmla="*/ 335375 h 585406"/>
                <a:gd name="connsiteX518" fmla="*/ 332137 w 566166"/>
                <a:gd name="connsiteY518" fmla="*/ 335756 h 585406"/>
                <a:gd name="connsiteX519" fmla="*/ 334137 w 566166"/>
                <a:gd name="connsiteY519" fmla="*/ 337280 h 585406"/>
                <a:gd name="connsiteX520" fmla="*/ 329184 w 566166"/>
                <a:gd name="connsiteY520" fmla="*/ 341566 h 585406"/>
                <a:gd name="connsiteX521" fmla="*/ 331184 w 566166"/>
                <a:gd name="connsiteY521" fmla="*/ 343090 h 585406"/>
                <a:gd name="connsiteX522" fmla="*/ 331470 w 566166"/>
                <a:gd name="connsiteY522" fmla="*/ 344900 h 585406"/>
                <a:gd name="connsiteX523" fmla="*/ 335280 w 566166"/>
                <a:gd name="connsiteY523" fmla="*/ 346234 h 585406"/>
                <a:gd name="connsiteX524" fmla="*/ 331946 w 566166"/>
                <a:gd name="connsiteY524" fmla="*/ 362998 h 585406"/>
                <a:gd name="connsiteX525" fmla="*/ 331089 w 566166"/>
                <a:gd name="connsiteY525" fmla="*/ 370332 h 585406"/>
                <a:gd name="connsiteX526" fmla="*/ 338328 w 566166"/>
                <a:gd name="connsiteY526" fmla="*/ 369380 h 585406"/>
                <a:gd name="connsiteX527" fmla="*/ 338042 w 566166"/>
                <a:gd name="connsiteY527" fmla="*/ 367570 h 585406"/>
                <a:gd name="connsiteX528" fmla="*/ 339566 w 566166"/>
                <a:gd name="connsiteY528" fmla="*/ 365570 h 585406"/>
                <a:gd name="connsiteX529" fmla="*/ 344710 w 566166"/>
                <a:gd name="connsiteY529" fmla="*/ 363093 h 585406"/>
                <a:gd name="connsiteX530" fmla="*/ 350615 w 566166"/>
                <a:gd name="connsiteY530" fmla="*/ 365855 h 585406"/>
                <a:gd name="connsiteX531" fmla="*/ 366998 w 566166"/>
                <a:gd name="connsiteY531" fmla="*/ 365474 h 585406"/>
                <a:gd name="connsiteX532" fmla="*/ 369189 w 566166"/>
                <a:gd name="connsiteY532" fmla="*/ 354330 h 585406"/>
                <a:gd name="connsiteX533" fmla="*/ 374523 w 566166"/>
                <a:gd name="connsiteY533" fmla="*/ 353568 h 585406"/>
                <a:gd name="connsiteX534" fmla="*/ 373951 w 566166"/>
                <a:gd name="connsiteY534" fmla="*/ 362712 h 585406"/>
                <a:gd name="connsiteX535" fmla="*/ 376904 w 566166"/>
                <a:gd name="connsiteY535" fmla="*/ 371380 h 585406"/>
                <a:gd name="connsiteX536" fmla="*/ 369760 w 566166"/>
                <a:gd name="connsiteY536" fmla="*/ 372332 h 585406"/>
                <a:gd name="connsiteX537" fmla="*/ 370713 w 566166"/>
                <a:gd name="connsiteY537" fmla="*/ 379476 h 585406"/>
                <a:gd name="connsiteX538" fmla="*/ 363474 w 566166"/>
                <a:gd name="connsiteY538" fmla="*/ 380429 h 585406"/>
                <a:gd name="connsiteX539" fmla="*/ 362045 w 566166"/>
                <a:gd name="connsiteY539" fmla="*/ 396907 h 585406"/>
                <a:gd name="connsiteX540" fmla="*/ 364522 w 566166"/>
                <a:gd name="connsiteY540" fmla="*/ 402050 h 585406"/>
                <a:gd name="connsiteX541" fmla="*/ 368332 w 566166"/>
                <a:gd name="connsiteY541" fmla="*/ 403384 h 585406"/>
                <a:gd name="connsiteX542" fmla="*/ 367379 w 566166"/>
                <a:gd name="connsiteY542" fmla="*/ 396240 h 585406"/>
                <a:gd name="connsiteX543" fmla="*/ 370522 w 566166"/>
                <a:gd name="connsiteY543" fmla="*/ 392239 h 585406"/>
                <a:gd name="connsiteX544" fmla="*/ 373856 w 566166"/>
                <a:gd name="connsiteY544" fmla="*/ 389954 h 585406"/>
                <a:gd name="connsiteX545" fmla="*/ 390525 w 566166"/>
                <a:gd name="connsiteY545" fmla="*/ 391382 h 585406"/>
                <a:gd name="connsiteX546" fmla="*/ 394621 w 566166"/>
                <a:gd name="connsiteY546" fmla="*/ 394430 h 585406"/>
                <a:gd name="connsiteX547" fmla="*/ 400050 w 566166"/>
                <a:gd name="connsiteY547" fmla="*/ 393668 h 585406"/>
                <a:gd name="connsiteX548" fmla="*/ 407480 w 566166"/>
                <a:gd name="connsiteY548" fmla="*/ 394525 h 585406"/>
                <a:gd name="connsiteX549" fmla="*/ 407194 w 566166"/>
                <a:gd name="connsiteY549" fmla="*/ 392716 h 585406"/>
                <a:gd name="connsiteX550" fmla="*/ 410718 w 566166"/>
                <a:gd name="connsiteY550" fmla="*/ 392239 h 585406"/>
                <a:gd name="connsiteX551" fmla="*/ 410242 w 566166"/>
                <a:gd name="connsiteY551" fmla="*/ 388715 h 585406"/>
                <a:gd name="connsiteX552" fmla="*/ 413861 w 566166"/>
                <a:gd name="connsiteY552" fmla="*/ 388239 h 585406"/>
                <a:gd name="connsiteX553" fmla="*/ 416338 w 566166"/>
                <a:gd name="connsiteY553" fmla="*/ 378809 h 585406"/>
                <a:gd name="connsiteX554" fmla="*/ 420148 w 566166"/>
                <a:gd name="connsiteY554" fmla="*/ 380143 h 585406"/>
                <a:gd name="connsiteX555" fmla="*/ 426910 w 566166"/>
                <a:gd name="connsiteY555" fmla="*/ 375666 h 585406"/>
                <a:gd name="connsiteX556" fmla="*/ 428911 w 566166"/>
                <a:gd name="connsiteY556" fmla="*/ 377190 h 585406"/>
                <a:gd name="connsiteX557" fmla="*/ 437674 w 566166"/>
                <a:gd name="connsiteY557" fmla="*/ 374237 h 585406"/>
                <a:gd name="connsiteX558" fmla="*/ 436531 w 566166"/>
                <a:gd name="connsiteY558" fmla="*/ 365284 h 585406"/>
                <a:gd name="connsiteX559" fmla="*/ 436912 w 566166"/>
                <a:gd name="connsiteY559" fmla="*/ 354330 h 585406"/>
                <a:gd name="connsiteX560" fmla="*/ 440531 w 566166"/>
                <a:gd name="connsiteY560" fmla="*/ 353854 h 585406"/>
                <a:gd name="connsiteX561" fmla="*/ 440246 w 566166"/>
                <a:gd name="connsiteY561" fmla="*/ 352044 h 585406"/>
                <a:gd name="connsiteX562" fmla="*/ 432816 w 566166"/>
                <a:gd name="connsiteY562" fmla="*/ 351187 h 585406"/>
                <a:gd name="connsiteX563" fmla="*/ 428244 w 566166"/>
                <a:gd name="connsiteY563" fmla="*/ 344519 h 585406"/>
                <a:gd name="connsiteX564" fmla="*/ 426339 w 566166"/>
                <a:gd name="connsiteY564" fmla="*/ 330232 h 585406"/>
                <a:gd name="connsiteX565" fmla="*/ 428149 w 566166"/>
                <a:gd name="connsiteY565" fmla="*/ 329946 h 585406"/>
                <a:gd name="connsiteX566" fmla="*/ 425672 w 566166"/>
                <a:gd name="connsiteY566" fmla="*/ 324803 h 585406"/>
                <a:gd name="connsiteX567" fmla="*/ 431863 w 566166"/>
                <a:gd name="connsiteY567" fmla="*/ 316706 h 585406"/>
                <a:gd name="connsiteX568" fmla="*/ 421957 w 566166"/>
                <a:gd name="connsiteY568" fmla="*/ 310801 h 585406"/>
                <a:gd name="connsiteX569" fmla="*/ 423100 w 566166"/>
                <a:gd name="connsiteY569" fmla="*/ 305181 h 585406"/>
                <a:gd name="connsiteX570" fmla="*/ 422148 w 566166"/>
                <a:gd name="connsiteY570" fmla="*/ 298037 h 585406"/>
                <a:gd name="connsiteX571" fmla="*/ 436245 w 566166"/>
                <a:gd name="connsiteY571" fmla="*/ 294322 h 585406"/>
                <a:gd name="connsiteX572" fmla="*/ 433959 w 566166"/>
                <a:gd name="connsiteY572" fmla="*/ 290989 h 585406"/>
                <a:gd name="connsiteX573" fmla="*/ 439103 w 566166"/>
                <a:gd name="connsiteY573" fmla="*/ 288512 h 585406"/>
                <a:gd name="connsiteX574" fmla="*/ 442722 w 566166"/>
                <a:gd name="connsiteY574" fmla="*/ 288036 h 585406"/>
                <a:gd name="connsiteX575" fmla="*/ 444246 w 566166"/>
                <a:gd name="connsiteY575" fmla="*/ 286036 h 585406"/>
                <a:gd name="connsiteX576" fmla="*/ 443770 w 566166"/>
                <a:gd name="connsiteY576" fmla="*/ 282512 h 585406"/>
                <a:gd name="connsiteX577" fmla="*/ 442341 w 566166"/>
                <a:gd name="connsiteY577" fmla="*/ 271844 h 585406"/>
                <a:gd name="connsiteX578" fmla="*/ 443389 w 566166"/>
                <a:gd name="connsiteY578" fmla="*/ 266224 h 585406"/>
                <a:gd name="connsiteX579" fmla="*/ 437483 w 566166"/>
                <a:gd name="connsiteY579" fmla="*/ 263366 h 585406"/>
                <a:gd name="connsiteX580" fmla="*/ 437197 w 566166"/>
                <a:gd name="connsiteY580" fmla="*/ 261556 h 585406"/>
                <a:gd name="connsiteX581" fmla="*/ 443960 w 566166"/>
                <a:gd name="connsiteY581" fmla="*/ 257080 h 585406"/>
                <a:gd name="connsiteX582" fmla="*/ 443484 w 566166"/>
                <a:gd name="connsiteY582" fmla="*/ 253555 h 585406"/>
                <a:gd name="connsiteX583" fmla="*/ 439388 w 566166"/>
                <a:gd name="connsiteY583" fmla="*/ 250507 h 585406"/>
                <a:gd name="connsiteX584" fmla="*/ 443008 w 566166"/>
                <a:gd name="connsiteY584" fmla="*/ 250031 h 585406"/>
                <a:gd name="connsiteX585" fmla="*/ 440055 w 566166"/>
                <a:gd name="connsiteY585" fmla="*/ 241363 h 585406"/>
                <a:gd name="connsiteX586" fmla="*/ 444532 w 566166"/>
                <a:gd name="connsiteY586" fmla="*/ 233553 h 585406"/>
                <a:gd name="connsiteX587" fmla="*/ 451009 w 566166"/>
                <a:gd name="connsiteY587" fmla="*/ 227266 h 585406"/>
                <a:gd name="connsiteX588" fmla="*/ 447770 w 566166"/>
                <a:gd name="connsiteY588" fmla="*/ 216789 h 585406"/>
                <a:gd name="connsiteX589" fmla="*/ 438817 w 566166"/>
                <a:gd name="connsiteY589" fmla="*/ 217932 h 585406"/>
                <a:gd name="connsiteX590" fmla="*/ 437483 w 566166"/>
                <a:gd name="connsiteY590" fmla="*/ 221742 h 585406"/>
                <a:gd name="connsiteX591" fmla="*/ 433864 w 566166"/>
                <a:gd name="connsiteY591" fmla="*/ 222218 h 585406"/>
                <a:gd name="connsiteX592" fmla="*/ 431482 w 566166"/>
                <a:gd name="connsiteY592" fmla="*/ 231648 h 585406"/>
                <a:gd name="connsiteX593" fmla="*/ 414909 w 566166"/>
                <a:gd name="connsiteY593" fmla="*/ 244697 h 585406"/>
                <a:gd name="connsiteX594" fmla="*/ 410718 w 566166"/>
                <a:gd name="connsiteY594" fmla="*/ 254317 h 585406"/>
                <a:gd name="connsiteX595" fmla="*/ 399002 w 566166"/>
                <a:gd name="connsiteY595" fmla="*/ 248603 h 585406"/>
                <a:gd name="connsiteX596" fmla="*/ 394716 w 566166"/>
                <a:gd name="connsiteY596" fmla="*/ 243745 h 585406"/>
                <a:gd name="connsiteX597" fmla="*/ 402241 w 566166"/>
                <a:gd name="connsiteY597" fmla="*/ 231838 h 585406"/>
                <a:gd name="connsiteX598" fmla="*/ 400240 w 566166"/>
                <a:gd name="connsiteY598" fmla="*/ 230314 h 585406"/>
                <a:gd name="connsiteX599" fmla="*/ 396621 w 566166"/>
                <a:gd name="connsiteY599" fmla="*/ 230791 h 585406"/>
                <a:gd name="connsiteX600" fmla="*/ 395954 w 566166"/>
                <a:gd name="connsiteY600" fmla="*/ 225457 h 585406"/>
                <a:gd name="connsiteX601" fmla="*/ 388239 w 566166"/>
                <a:gd name="connsiteY601" fmla="*/ 222885 h 585406"/>
                <a:gd name="connsiteX602" fmla="*/ 372428 w 566166"/>
                <a:gd name="connsiteY602" fmla="*/ 214122 h 585406"/>
                <a:gd name="connsiteX603" fmla="*/ 373761 w 566166"/>
                <a:gd name="connsiteY603" fmla="*/ 210312 h 585406"/>
                <a:gd name="connsiteX604" fmla="*/ 378905 w 566166"/>
                <a:gd name="connsiteY604" fmla="*/ 207836 h 585406"/>
                <a:gd name="connsiteX605" fmla="*/ 373380 w 566166"/>
                <a:gd name="connsiteY605" fmla="*/ 194024 h 585406"/>
                <a:gd name="connsiteX606" fmla="*/ 366808 w 566166"/>
                <a:gd name="connsiteY606" fmla="*/ 185833 h 585406"/>
                <a:gd name="connsiteX607" fmla="*/ 359664 w 566166"/>
                <a:gd name="connsiteY607" fmla="*/ 186785 h 585406"/>
                <a:gd name="connsiteX608" fmla="*/ 354901 w 566166"/>
                <a:gd name="connsiteY608" fmla="*/ 178403 h 585406"/>
                <a:gd name="connsiteX609" fmla="*/ 351282 w 566166"/>
                <a:gd name="connsiteY609" fmla="*/ 178879 h 585406"/>
                <a:gd name="connsiteX610" fmla="*/ 348996 w 566166"/>
                <a:gd name="connsiteY610" fmla="*/ 175546 h 585406"/>
                <a:gd name="connsiteX611" fmla="*/ 355759 w 566166"/>
                <a:gd name="connsiteY611" fmla="*/ 171069 h 585406"/>
                <a:gd name="connsiteX612" fmla="*/ 355282 w 566166"/>
                <a:gd name="connsiteY612" fmla="*/ 167449 h 585406"/>
                <a:gd name="connsiteX613" fmla="*/ 366522 w 566166"/>
                <a:gd name="connsiteY613" fmla="*/ 169640 h 585406"/>
                <a:gd name="connsiteX614" fmla="*/ 378142 w 566166"/>
                <a:gd name="connsiteY614" fmla="*/ 160877 h 585406"/>
                <a:gd name="connsiteX615" fmla="*/ 372237 w 566166"/>
                <a:gd name="connsiteY615" fmla="*/ 158020 h 585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</a:cxnLst>
              <a:rect l="l" t="t" r="r" b="b"/>
              <a:pathLst>
                <a:path w="566166" h="585406">
                  <a:moveTo>
                    <a:pt x="378809" y="160877"/>
                  </a:moveTo>
                  <a:lnTo>
                    <a:pt x="384715" y="163735"/>
                  </a:lnTo>
                  <a:lnTo>
                    <a:pt x="395478" y="162306"/>
                  </a:lnTo>
                  <a:lnTo>
                    <a:pt x="399955" y="154496"/>
                  </a:lnTo>
                  <a:lnTo>
                    <a:pt x="384810" y="136493"/>
                  </a:lnTo>
                  <a:lnTo>
                    <a:pt x="386810" y="138017"/>
                  </a:lnTo>
                  <a:lnTo>
                    <a:pt x="395097" y="131445"/>
                  </a:lnTo>
                  <a:lnTo>
                    <a:pt x="396240" y="125921"/>
                  </a:lnTo>
                  <a:lnTo>
                    <a:pt x="400050" y="127254"/>
                  </a:lnTo>
                  <a:lnTo>
                    <a:pt x="402526" y="132397"/>
                  </a:lnTo>
                  <a:lnTo>
                    <a:pt x="414909" y="128968"/>
                  </a:lnTo>
                  <a:lnTo>
                    <a:pt x="417385" y="134112"/>
                  </a:lnTo>
                  <a:lnTo>
                    <a:pt x="423196" y="136969"/>
                  </a:lnTo>
                  <a:lnTo>
                    <a:pt x="425672" y="142113"/>
                  </a:lnTo>
                  <a:lnTo>
                    <a:pt x="433768" y="148304"/>
                  </a:lnTo>
                  <a:lnTo>
                    <a:pt x="432435" y="152114"/>
                  </a:lnTo>
                  <a:lnTo>
                    <a:pt x="437197" y="160496"/>
                  </a:lnTo>
                  <a:lnTo>
                    <a:pt x="446246" y="159353"/>
                  </a:lnTo>
                  <a:lnTo>
                    <a:pt x="447199" y="166497"/>
                  </a:lnTo>
                  <a:lnTo>
                    <a:pt x="452628" y="165830"/>
                  </a:lnTo>
                  <a:lnTo>
                    <a:pt x="458724" y="170402"/>
                  </a:lnTo>
                  <a:lnTo>
                    <a:pt x="469392" y="181737"/>
                  </a:lnTo>
                  <a:lnTo>
                    <a:pt x="475012" y="182785"/>
                  </a:lnTo>
                  <a:lnTo>
                    <a:pt x="492633" y="164116"/>
                  </a:lnTo>
                  <a:lnTo>
                    <a:pt x="493966" y="160306"/>
                  </a:lnTo>
                  <a:lnTo>
                    <a:pt x="491490" y="155162"/>
                  </a:lnTo>
                  <a:lnTo>
                    <a:pt x="492823" y="151352"/>
                  </a:lnTo>
                  <a:lnTo>
                    <a:pt x="498443" y="152400"/>
                  </a:lnTo>
                  <a:lnTo>
                    <a:pt x="502539" y="155543"/>
                  </a:lnTo>
                  <a:lnTo>
                    <a:pt x="513302" y="154114"/>
                  </a:lnTo>
                  <a:lnTo>
                    <a:pt x="518065" y="162592"/>
                  </a:lnTo>
                  <a:lnTo>
                    <a:pt x="521684" y="162115"/>
                  </a:lnTo>
                  <a:lnTo>
                    <a:pt x="522732" y="156496"/>
                  </a:lnTo>
                  <a:lnTo>
                    <a:pt x="534638" y="149447"/>
                  </a:lnTo>
                  <a:lnTo>
                    <a:pt x="546068" y="153352"/>
                  </a:lnTo>
                  <a:lnTo>
                    <a:pt x="539020" y="168783"/>
                  </a:lnTo>
                  <a:lnTo>
                    <a:pt x="525304" y="176022"/>
                  </a:lnTo>
                  <a:lnTo>
                    <a:pt x="527685" y="193834"/>
                  </a:lnTo>
                  <a:lnTo>
                    <a:pt x="530162" y="198977"/>
                  </a:lnTo>
                  <a:lnTo>
                    <a:pt x="535305" y="196501"/>
                  </a:lnTo>
                  <a:lnTo>
                    <a:pt x="536257" y="203645"/>
                  </a:lnTo>
                  <a:lnTo>
                    <a:pt x="537210" y="210788"/>
                  </a:lnTo>
                  <a:lnTo>
                    <a:pt x="543497" y="217265"/>
                  </a:lnTo>
                  <a:lnTo>
                    <a:pt x="553403" y="223171"/>
                  </a:lnTo>
                  <a:lnTo>
                    <a:pt x="556546" y="219170"/>
                  </a:lnTo>
                  <a:lnTo>
                    <a:pt x="557022" y="222695"/>
                  </a:lnTo>
                  <a:lnTo>
                    <a:pt x="558165" y="231648"/>
                  </a:lnTo>
                  <a:lnTo>
                    <a:pt x="564547" y="238030"/>
                  </a:lnTo>
                  <a:lnTo>
                    <a:pt x="554260" y="242983"/>
                  </a:lnTo>
                  <a:lnTo>
                    <a:pt x="556736" y="248126"/>
                  </a:lnTo>
                  <a:lnTo>
                    <a:pt x="551116" y="247079"/>
                  </a:lnTo>
                  <a:lnTo>
                    <a:pt x="557213" y="251746"/>
                  </a:lnTo>
                  <a:lnTo>
                    <a:pt x="564737" y="267081"/>
                  </a:lnTo>
                  <a:lnTo>
                    <a:pt x="566166" y="277749"/>
                  </a:lnTo>
                  <a:lnTo>
                    <a:pt x="558927" y="278701"/>
                  </a:lnTo>
                  <a:lnTo>
                    <a:pt x="557593" y="282512"/>
                  </a:lnTo>
                  <a:lnTo>
                    <a:pt x="554260" y="284797"/>
                  </a:lnTo>
                  <a:lnTo>
                    <a:pt x="552736" y="286798"/>
                  </a:lnTo>
                  <a:lnTo>
                    <a:pt x="553403" y="292132"/>
                  </a:lnTo>
                  <a:lnTo>
                    <a:pt x="542830" y="295370"/>
                  </a:lnTo>
                  <a:lnTo>
                    <a:pt x="539210" y="295846"/>
                  </a:lnTo>
                  <a:lnTo>
                    <a:pt x="530257" y="296989"/>
                  </a:lnTo>
                  <a:lnTo>
                    <a:pt x="527304" y="288322"/>
                  </a:lnTo>
                  <a:lnTo>
                    <a:pt x="518541" y="291274"/>
                  </a:lnTo>
                  <a:lnTo>
                    <a:pt x="519208" y="296608"/>
                  </a:lnTo>
                  <a:lnTo>
                    <a:pt x="517398" y="296894"/>
                  </a:lnTo>
                  <a:lnTo>
                    <a:pt x="517684" y="298704"/>
                  </a:lnTo>
                  <a:lnTo>
                    <a:pt x="514064" y="299180"/>
                  </a:lnTo>
                  <a:lnTo>
                    <a:pt x="517017" y="307848"/>
                  </a:lnTo>
                  <a:lnTo>
                    <a:pt x="517684" y="313182"/>
                  </a:lnTo>
                  <a:lnTo>
                    <a:pt x="526256" y="322897"/>
                  </a:lnTo>
                  <a:lnTo>
                    <a:pt x="526732" y="326422"/>
                  </a:lnTo>
                  <a:lnTo>
                    <a:pt x="513112" y="348139"/>
                  </a:lnTo>
                  <a:lnTo>
                    <a:pt x="511588" y="350139"/>
                  </a:lnTo>
                  <a:lnTo>
                    <a:pt x="508730" y="355949"/>
                  </a:lnTo>
                  <a:lnTo>
                    <a:pt x="501205" y="367855"/>
                  </a:lnTo>
                  <a:lnTo>
                    <a:pt x="485108" y="384429"/>
                  </a:lnTo>
                  <a:lnTo>
                    <a:pt x="483489" y="386429"/>
                  </a:lnTo>
                  <a:lnTo>
                    <a:pt x="489395" y="389287"/>
                  </a:lnTo>
                  <a:lnTo>
                    <a:pt x="495776" y="395669"/>
                  </a:lnTo>
                  <a:lnTo>
                    <a:pt x="490633" y="398145"/>
                  </a:lnTo>
                  <a:lnTo>
                    <a:pt x="493205" y="403288"/>
                  </a:lnTo>
                  <a:lnTo>
                    <a:pt x="498824" y="404336"/>
                  </a:lnTo>
                  <a:lnTo>
                    <a:pt x="502444" y="403860"/>
                  </a:lnTo>
                  <a:lnTo>
                    <a:pt x="501967" y="400336"/>
                  </a:lnTo>
                  <a:lnTo>
                    <a:pt x="507968" y="390430"/>
                  </a:lnTo>
                  <a:lnTo>
                    <a:pt x="509968" y="391954"/>
                  </a:lnTo>
                  <a:lnTo>
                    <a:pt x="515398" y="391192"/>
                  </a:lnTo>
                  <a:lnTo>
                    <a:pt x="510730" y="397288"/>
                  </a:lnTo>
                  <a:lnTo>
                    <a:pt x="512540" y="397097"/>
                  </a:lnTo>
                  <a:lnTo>
                    <a:pt x="513016" y="400621"/>
                  </a:lnTo>
                  <a:lnTo>
                    <a:pt x="508063" y="404908"/>
                  </a:lnTo>
                  <a:lnTo>
                    <a:pt x="511683" y="418909"/>
                  </a:lnTo>
                  <a:lnTo>
                    <a:pt x="513683" y="420433"/>
                  </a:lnTo>
                  <a:lnTo>
                    <a:pt x="506825" y="437674"/>
                  </a:lnTo>
                  <a:lnTo>
                    <a:pt x="522160" y="442913"/>
                  </a:lnTo>
                  <a:lnTo>
                    <a:pt x="527590" y="456724"/>
                  </a:lnTo>
                  <a:lnTo>
                    <a:pt x="527209" y="467678"/>
                  </a:lnTo>
                  <a:lnTo>
                    <a:pt x="530447" y="478155"/>
                  </a:lnTo>
                  <a:lnTo>
                    <a:pt x="524828" y="477107"/>
                  </a:lnTo>
                  <a:lnTo>
                    <a:pt x="523113" y="491871"/>
                  </a:lnTo>
                  <a:lnTo>
                    <a:pt x="517970" y="494347"/>
                  </a:lnTo>
                  <a:lnTo>
                    <a:pt x="517112" y="501682"/>
                  </a:lnTo>
                  <a:lnTo>
                    <a:pt x="517398" y="503491"/>
                  </a:lnTo>
                  <a:lnTo>
                    <a:pt x="515588" y="503777"/>
                  </a:lnTo>
                  <a:lnTo>
                    <a:pt x="512445" y="507778"/>
                  </a:lnTo>
                  <a:lnTo>
                    <a:pt x="509111" y="510064"/>
                  </a:lnTo>
                  <a:lnTo>
                    <a:pt x="506825" y="506730"/>
                  </a:lnTo>
                  <a:lnTo>
                    <a:pt x="503206" y="507206"/>
                  </a:lnTo>
                  <a:lnTo>
                    <a:pt x="485965" y="514921"/>
                  </a:lnTo>
                  <a:lnTo>
                    <a:pt x="472154" y="507682"/>
                  </a:lnTo>
                  <a:lnTo>
                    <a:pt x="456152" y="497110"/>
                  </a:lnTo>
                  <a:lnTo>
                    <a:pt x="454628" y="499110"/>
                  </a:lnTo>
                  <a:lnTo>
                    <a:pt x="449866" y="490728"/>
                  </a:lnTo>
                  <a:lnTo>
                    <a:pt x="437102" y="505111"/>
                  </a:lnTo>
                  <a:lnTo>
                    <a:pt x="433006" y="502063"/>
                  </a:lnTo>
                  <a:lnTo>
                    <a:pt x="427863" y="504539"/>
                  </a:lnTo>
                  <a:lnTo>
                    <a:pt x="428054" y="506349"/>
                  </a:lnTo>
                  <a:lnTo>
                    <a:pt x="432340" y="511207"/>
                  </a:lnTo>
                  <a:lnTo>
                    <a:pt x="429482" y="517017"/>
                  </a:lnTo>
                  <a:lnTo>
                    <a:pt x="419195" y="521970"/>
                  </a:lnTo>
                  <a:lnTo>
                    <a:pt x="418338" y="529399"/>
                  </a:lnTo>
                  <a:lnTo>
                    <a:pt x="408527" y="537972"/>
                  </a:lnTo>
                  <a:lnTo>
                    <a:pt x="409194" y="543306"/>
                  </a:lnTo>
                  <a:lnTo>
                    <a:pt x="405860" y="545592"/>
                  </a:lnTo>
                  <a:lnTo>
                    <a:pt x="403574" y="542258"/>
                  </a:lnTo>
                  <a:lnTo>
                    <a:pt x="400145" y="544544"/>
                  </a:lnTo>
                  <a:lnTo>
                    <a:pt x="398335" y="544830"/>
                  </a:lnTo>
                  <a:lnTo>
                    <a:pt x="398812" y="548354"/>
                  </a:lnTo>
                  <a:lnTo>
                    <a:pt x="395478" y="550640"/>
                  </a:lnTo>
                  <a:lnTo>
                    <a:pt x="394621" y="557974"/>
                  </a:lnTo>
                  <a:lnTo>
                    <a:pt x="392621" y="556450"/>
                  </a:lnTo>
                  <a:lnTo>
                    <a:pt x="391287" y="560261"/>
                  </a:lnTo>
                  <a:lnTo>
                    <a:pt x="396526" y="572262"/>
                  </a:lnTo>
                  <a:lnTo>
                    <a:pt x="393192" y="574548"/>
                  </a:lnTo>
                  <a:lnTo>
                    <a:pt x="389858" y="576834"/>
                  </a:lnTo>
                  <a:lnTo>
                    <a:pt x="384238" y="575786"/>
                  </a:lnTo>
                  <a:lnTo>
                    <a:pt x="382905" y="579596"/>
                  </a:lnTo>
                  <a:lnTo>
                    <a:pt x="381381" y="581597"/>
                  </a:lnTo>
                  <a:lnTo>
                    <a:pt x="380047" y="585406"/>
                  </a:lnTo>
                  <a:lnTo>
                    <a:pt x="366236" y="578167"/>
                  </a:lnTo>
                  <a:lnTo>
                    <a:pt x="353187" y="576263"/>
                  </a:lnTo>
                  <a:lnTo>
                    <a:pt x="352520" y="570929"/>
                  </a:lnTo>
                  <a:lnTo>
                    <a:pt x="348901" y="571405"/>
                  </a:lnTo>
                  <a:lnTo>
                    <a:pt x="338518" y="561880"/>
                  </a:lnTo>
                  <a:lnTo>
                    <a:pt x="331375" y="562832"/>
                  </a:lnTo>
                  <a:lnTo>
                    <a:pt x="311848" y="567214"/>
                  </a:lnTo>
                  <a:lnTo>
                    <a:pt x="309086" y="560356"/>
                  </a:lnTo>
                  <a:lnTo>
                    <a:pt x="314230" y="557879"/>
                  </a:lnTo>
                  <a:lnTo>
                    <a:pt x="308991" y="545878"/>
                  </a:lnTo>
                  <a:lnTo>
                    <a:pt x="310039" y="540258"/>
                  </a:lnTo>
                  <a:lnTo>
                    <a:pt x="312896" y="534448"/>
                  </a:lnTo>
                  <a:lnTo>
                    <a:pt x="310896" y="532924"/>
                  </a:lnTo>
                  <a:lnTo>
                    <a:pt x="311944" y="527304"/>
                  </a:lnTo>
                  <a:lnTo>
                    <a:pt x="304324" y="524637"/>
                  </a:lnTo>
                  <a:lnTo>
                    <a:pt x="303276" y="530257"/>
                  </a:lnTo>
                  <a:lnTo>
                    <a:pt x="299180" y="527209"/>
                  </a:lnTo>
                  <a:lnTo>
                    <a:pt x="286036" y="537972"/>
                  </a:lnTo>
                  <a:lnTo>
                    <a:pt x="273748" y="541401"/>
                  </a:lnTo>
                  <a:lnTo>
                    <a:pt x="275749" y="542925"/>
                  </a:lnTo>
                  <a:lnTo>
                    <a:pt x="265938" y="551497"/>
                  </a:lnTo>
                  <a:lnTo>
                    <a:pt x="240982" y="556641"/>
                  </a:lnTo>
                  <a:lnTo>
                    <a:pt x="226409" y="556641"/>
                  </a:lnTo>
                  <a:cubicBezTo>
                    <a:pt x="226409" y="556641"/>
                    <a:pt x="227743" y="552926"/>
                    <a:pt x="227743" y="552926"/>
                  </a:cubicBezTo>
                  <a:lnTo>
                    <a:pt x="234220" y="546640"/>
                  </a:lnTo>
                  <a:lnTo>
                    <a:pt x="228124" y="542068"/>
                  </a:lnTo>
                  <a:lnTo>
                    <a:pt x="231267" y="537972"/>
                  </a:lnTo>
                  <a:lnTo>
                    <a:pt x="220218" y="523113"/>
                  </a:lnTo>
                  <a:lnTo>
                    <a:pt x="218694" y="525113"/>
                  </a:lnTo>
                  <a:lnTo>
                    <a:pt x="210312" y="517112"/>
                  </a:lnTo>
                  <a:lnTo>
                    <a:pt x="215265" y="512826"/>
                  </a:lnTo>
                  <a:lnTo>
                    <a:pt x="212979" y="509492"/>
                  </a:lnTo>
                  <a:lnTo>
                    <a:pt x="214313" y="505682"/>
                  </a:lnTo>
                  <a:lnTo>
                    <a:pt x="195739" y="489966"/>
                  </a:lnTo>
                  <a:lnTo>
                    <a:pt x="186023" y="485775"/>
                  </a:lnTo>
                  <a:lnTo>
                    <a:pt x="181928" y="482727"/>
                  </a:lnTo>
                  <a:lnTo>
                    <a:pt x="183451" y="480727"/>
                  </a:lnTo>
                  <a:lnTo>
                    <a:pt x="177832" y="479679"/>
                  </a:lnTo>
                  <a:lnTo>
                    <a:pt x="175831" y="478155"/>
                  </a:lnTo>
                  <a:lnTo>
                    <a:pt x="178975" y="474155"/>
                  </a:lnTo>
                  <a:lnTo>
                    <a:pt x="164116" y="472440"/>
                  </a:lnTo>
                  <a:lnTo>
                    <a:pt x="163925" y="470630"/>
                  </a:lnTo>
                  <a:lnTo>
                    <a:pt x="160115" y="469297"/>
                  </a:lnTo>
                  <a:lnTo>
                    <a:pt x="153162" y="472059"/>
                  </a:lnTo>
                  <a:lnTo>
                    <a:pt x="141256" y="479107"/>
                  </a:lnTo>
                  <a:lnTo>
                    <a:pt x="130588" y="495014"/>
                  </a:lnTo>
                  <a:lnTo>
                    <a:pt x="128111" y="489966"/>
                  </a:lnTo>
                  <a:lnTo>
                    <a:pt x="121825" y="483584"/>
                  </a:lnTo>
                  <a:lnTo>
                    <a:pt x="121158" y="478250"/>
                  </a:lnTo>
                  <a:lnTo>
                    <a:pt x="114395" y="468249"/>
                  </a:lnTo>
                  <a:lnTo>
                    <a:pt x="109442" y="472535"/>
                  </a:lnTo>
                  <a:lnTo>
                    <a:pt x="97726" y="466820"/>
                  </a:lnTo>
                  <a:lnTo>
                    <a:pt x="94488" y="456343"/>
                  </a:lnTo>
                  <a:lnTo>
                    <a:pt x="92964" y="458343"/>
                  </a:lnTo>
                  <a:lnTo>
                    <a:pt x="86392" y="450151"/>
                  </a:lnTo>
                  <a:lnTo>
                    <a:pt x="68580" y="454342"/>
                  </a:lnTo>
                  <a:lnTo>
                    <a:pt x="63437" y="456819"/>
                  </a:lnTo>
                  <a:lnTo>
                    <a:pt x="57817" y="455771"/>
                  </a:lnTo>
                  <a:lnTo>
                    <a:pt x="52864" y="460057"/>
                  </a:lnTo>
                  <a:lnTo>
                    <a:pt x="51054" y="460343"/>
                  </a:lnTo>
                  <a:lnTo>
                    <a:pt x="53721" y="452723"/>
                  </a:lnTo>
                  <a:lnTo>
                    <a:pt x="44291" y="450342"/>
                  </a:lnTo>
                  <a:lnTo>
                    <a:pt x="43339" y="443198"/>
                  </a:lnTo>
                  <a:lnTo>
                    <a:pt x="45339" y="430244"/>
                  </a:lnTo>
                  <a:lnTo>
                    <a:pt x="33814" y="426339"/>
                  </a:lnTo>
                  <a:lnTo>
                    <a:pt x="20383" y="435388"/>
                  </a:lnTo>
                  <a:lnTo>
                    <a:pt x="19907" y="431863"/>
                  </a:lnTo>
                  <a:lnTo>
                    <a:pt x="22574" y="424244"/>
                  </a:lnTo>
                  <a:lnTo>
                    <a:pt x="23717" y="418624"/>
                  </a:lnTo>
                  <a:lnTo>
                    <a:pt x="28861" y="416147"/>
                  </a:lnTo>
                  <a:lnTo>
                    <a:pt x="30194" y="412337"/>
                  </a:lnTo>
                  <a:lnTo>
                    <a:pt x="35147" y="408051"/>
                  </a:lnTo>
                  <a:lnTo>
                    <a:pt x="36290" y="402431"/>
                  </a:lnTo>
                  <a:lnTo>
                    <a:pt x="40100" y="403765"/>
                  </a:lnTo>
                  <a:lnTo>
                    <a:pt x="39814" y="401955"/>
                  </a:lnTo>
                  <a:lnTo>
                    <a:pt x="42577" y="381667"/>
                  </a:lnTo>
                  <a:lnTo>
                    <a:pt x="38957" y="382143"/>
                  </a:lnTo>
                  <a:lnTo>
                    <a:pt x="38290" y="376809"/>
                  </a:lnTo>
                  <a:lnTo>
                    <a:pt x="27241" y="376428"/>
                  </a:lnTo>
                  <a:lnTo>
                    <a:pt x="33052" y="364807"/>
                  </a:lnTo>
                  <a:lnTo>
                    <a:pt x="32575" y="361188"/>
                  </a:lnTo>
                  <a:lnTo>
                    <a:pt x="28765" y="359950"/>
                  </a:lnTo>
                  <a:lnTo>
                    <a:pt x="27622" y="365570"/>
                  </a:lnTo>
                  <a:lnTo>
                    <a:pt x="21146" y="371856"/>
                  </a:lnTo>
                  <a:lnTo>
                    <a:pt x="8572" y="373475"/>
                  </a:lnTo>
                  <a:lnTo>
                    <a:pt x="11716" y="369475"/>
                  </a:lnTo>
                  <a:lnTo>
                    <a:pt x="12763" y="363855"/>
                  </a:lnTo>
                  <a:lnTo>
                    <a:pt x="16573" y="365188"/>
                  </a:lnTo>
                  <a:lnTo>
                    <a:pt x="19717" y="361093"/>
                  </a:lnTo>
                  <a:lnTo>
                    <a:pt x="13145" y="352901"/>
                  </a:lnTo>
                  <a:lnTo>
                    <a:pt x="12478" y="347567"/>
                  </a:lnTo>
                  <a:lnTo>
                    <a:pt x="10001" y="342424"/>
                  </a:lnTo>
                  <a:lnTo>
                    <a:pt x="3048" y="345186"/>
                  </a:lnTo>
                  <a:lnTo>
                    <a:pt x="5905" y="339376"/>
                  </a:lnTo>
                  <a:lnTo>
                    <a:pt x="0" y="336518"/>
                  </a:lnTo>
                  <a:lnTo>
                    <a:pt x="3143" y="332518"/>
                  </a:lnTo>
                  <a:lnTo>
                    <a:pt x="7334" y="322897"/>
                  </a:lnTo>
                  <a:lnTo>
                    <a:pt x="16097" y="319945"/>
                  </a:lnTo>
                  <a:lnTo>
                    <a:pt x="29146" y="321850"/>
                  </a:lnTo>
                  <a:lnTo>
                    <a:pt x="32290" y="317849"/>
                  </a:lnTo>
                  <a:lnTo>
                    <a:pt x="33814" y="315849"/>
                  </a:lnTo>
                  <a:lnTo>
                    <a:pt x="41529" y="318516"/>
                  </a:lnTo>
                  <a:lnTo>
                    <a:pt x="45720" y="308896"/>
                  </a:lnTo>
                  <a:lnTo>
                    <a:pt x="40100" y="307848"/>
                  </a:lnTo>
                  <a:lnTo>
                    <a:pt x="38195" y="293561"/>
                  </a:lnTo>
                  <a:lnTo>
                    <a:pt x="38005" y="291751"/>
                  </a:lnTo>
                  <a:lnTo>
                    <a:pt x="41815" y="293084"/>
                  </a:lnTo>
                  <a:lnTo>
                    <a:pt x="42672" y="285750"/>
                  </a:lnTo>
                  <a:lnTo>
                    <a:pt x="36576" y="281083"/>
                  </a:lnTo>
                  <a:lnTo>
                    <a:pt x="30194" y="274701"/>
                  </a:lnTo>
                  <a:lnTo>
                    <a:pt x="23050" y="275654"/>
                  </a:lnTo>
                  <a:lnTo>
                    <a:pt x="15145" y="271272"/>
                  </a:lnTo>
                  <a:lnTo>
                    <a:pt x="8001" y="272224"/>
                  </a:lnTo>
                  <a:lnTo>
                    <a:pt x="7715" y="270415"/>
                  </a:lnTo>
                  <a:lnTo>
                    <a:pt x="9906" y="259271"/>
                  </a:lnTo>
                  <a:lnTo>
                    <a:pt x="7144" y="252413"/>
                  </a:lnTo>
                  <a:lnTo>
                    <a:pt x="10287" y="248412"/>
                  </a:lnTo>
                  <a:lnTo>
                    <a:pt x="17145" y="231172"/>
                  </a:lnTo>
                  <a:lnTo>
                    <a:pt x="21622" y="223361"/>
                  </a:lnTo>
                  <a:lnTo>
                    <a:pt x="22765" y="217741"/>
                  </a:lnTo>
                  <a:lnTo>
                    <a:pt x="25908" y="213741"/>
                  </a:lnTo>
                  <a:lnTo>
                    <a:pt x="27908" y="215265"/>
                  </a:lnTo>
                  <a:lnTo>
                    <a:pt x="34862" y="212503"/>
                  </a:lnTo>
                  <a:lnTo>
                    <a:pt x="38957" y="215646"/>
                  </a:lnTo>
                  <a:lnTo>
                    <a:pt x="40957" y="217170"/>
                  </a:lnTo>
                  <a:lnTo>
                    <a:pt x="42291" y="213360"/>
                  </a:lnTo>
                  <a:lnTo>
                    <a:pt x="49435" y="212407"/>
                  </a:lnTo>
                  <a:lnTo>
                    <a:pt x="50959" y="210407"/>
                  </a:lnTo>
                  <a:lnTo>
                    <a:pt x="56388" y="209740"/>
                  </a:lnTo>
                  <a:lnTo>
                    <a:pt x="54959" y="199072"/>
                  </a:lnTo>
                  <a:lnTo>
                    <a:pt x="45244" y="194881"/>
                  </a:lnTo>
                  <a:lnTo>
                    <a:pt x="44577" y="189547"/>
                  </a:lnTo>
                  <a:lnTo>
                    <a:pt x="40767" y="188214"/>
                  </a:lnTo>
                  <a:lnTo>
                    <a:pt x="40481" y="186404"/>
                  </a:lnTo>
                  <a:lnTo>
                    <a:pt x="29432" y="186023"/>
                  </a:lnTo>
                  <a:lnTo>
                    <a:pt x="25337" y="182975"/>
                  </a:lnTo>
                  <a:lnTo>
                    <a:pt x="25717" y="172021"/>
                  </a:lnTo>
                  <a:lnTo>
                    <a:pt x="28099" y="162592"/>
                  </a:lnTo>
                  <a:lnTo>
                    <a:pt x="31528" y="160306"/>
                  </a:lnTo>
                  <a:lnTo>
                    <a:pt x="33528" y="161830"/>
                  </a:lnTo>
                  <a:lnTo>
                    <a:pt x="42291" y="158877"/>
                  </a:lnTo>
                  <a:lnTo>
                    <a:pt x="41624" y="153543"/>
                  </a:lnTo>
                  <a:lnTo>
                    <a:pt x="47244" y="154591"/>
                  </a:lnTo>
                  <a:lnTo>
                    <a:pt x="46958" y="152781"/>
                  </a:lnTo>
                  <a:lnTo>
                    <a:pt x="43148" y="151447"/>
                  </a:lnTo>
                  <a:lnTo>
                    <a:pt x="48101" y="147161"/>
                  </a:lnTo>
                  <a:lnTo>
                    <a:pt x="51721" y="146685"/>
                  </a:lnTo>
                  <a:lnTo>
                    <a:pt x="54578" y="140875"/>
                  </a:lnTo>
                  <a:lnTo>
                    <a:pt x="55721" y="135350"/>
                  </a:lnTo>
                  <a:lnTo>
                    <a:pt x="59055" y="133064"/>
                  </a:lnTo>
                  <a:lnTo>
                    <a:pt x="54483" y="126397"/>
                  </a:lnTo>
                  <a:lnTo>
                    <a:pt x="57817" y="124111"/>
                  </a:lnTo>
                  <a:lnTo>
                    <a:pt x="55816" y="122587"/>
                  </a:lnTo>
                  <a:lnTo>
                    <a:pt x="55150" y="117253"/>
                  </a:lnTo>
                  <a:lnTo>
                    <a:pt x="56959" y="117062"/>
                  </a:lnTo>
                  <a:lnTo>
                    <a:pt x="67723" y="115633"/>
                  </a:lnTo>
                  <a:lnTo>
                    <a:pt x="72676" y="111347"/>
                  </a:lnTo>
                  <a:lnTo>
                    <a:pt x="76295" y="110871"/>
                  </a:lnTo>
                  <a:lnTo>
                    <a:pt x="91249" y="99822"/>
                  </a:lnTo>
                  <a:lnTo>
                    <a:pt x="94393" y="95821"/>
                  </a:lnTo>
                  <a:lnTo>
                    <a:pt x="95536" y="90202"/>
                  </a:lnTo>
                  <a:lnTo>
                    <a:pt x="97060" y="88201"/>
                  </a:lnTo>
                  <a:lnTo>
                    <a:pt x="106013" y="87058"/>
                  </a:lnTo>
                  <a:lnTo>
                    <a:pt x="106966" y="94202"/>
                  </a:lnTo>
                  <a:lnTo>
                    <a:pt x="109252" y="97536"/>
                  </a:lnTo>
                  <a:lnTo>
                    <a:pt x="108775" y="93917"/>
                  </a:lnTo>
                  <a:lnTo>
                    <a:pt x="113729" y="89630"/>
                  </a:lnTo>
                  <a:lnTo>
                    <a:pt x="113252" y="86106"/>
                  </a:lnTo>
                  <a:lnTo>
                    <a:pt x="120205" y="83344"/>
                  </a:lnTo>
                  <a:lnTo>
                    <a:pt x="128683" y="78581"/>
                  </a:lnTo>
                  <a:lnTo>
                    <a:pt x="131826" y="74581"/>
                  </a:lnTo>
                  <a:lnTo>
                    <a:pt x="140589" y="71628"/>
                  </a:lnTo>
                  <a:lnTo>
                    <a:pt x="140113" y="68104"/>
                  </a:lnTo>
                  <a:lnTo>
                    <a:pt x="138113" y="66580"/>
                  </a:lnTo>
                  <a:lnTo>
                    <a:pt x="141732" y="66103"/>
                  </a:lnTo>
                  <a:lnTo>
                    <a:pt x="135826" y="63246"/>
                  </a:lnTo>
                  <a:lnTo>
                    <a:pt x="137350" y="61246"/>
                  </a:lnTo>
                  <a:lnTo>
                    <a:pt x="128778" y="51530"/>
                  </a:lnTo>
                  <a:lnTo>
                    <a:pt x="136779" y="43243"/>
                  </a:lnTo>
                  <a:lnTo>
                    <a:pt x="131350" y="43910"/>
                  </a:lnTo>
                  <a:lnTo>
                    <a:pt x="127921" y="31718"/>
                  </a:lnTo>
                  <a:lnTo>
                    <a:pt x="127445" y="28194"/>
                  </a:lnTo>
                  <a:lnTo>
                    <a:pt x="131254" y="29527"/>
                  </a:lnTo>
                  <a:lnTo>
                    <a:pt x="132302" y="23908"/>
                  </a:lnTo>
                  <a:lnTo>
                    <a:pt x="137922" y="24955"/>
                  </a:lnTo>
                  <a:lnTo>
                    <a:pt x="140684" y="31813"/>
                  </a:lnTo>
                  <a:lnTo>
                    <a:pt x="150114" y="34195"/>
                  </a:lnTo>
                  <a:lnTo>
                    <a:pt x="164592" y="46768"/>
                  </a:lnTo>
                  <a:lnTo>
                    <a:pt x="170021" y="46101"/>
                  </a:lnTo>
                  <a:lnTo>
                    <a:pt x="168878" y="37243"/>
                  </a:lnTo>
                  <a:lnTo>
                    <a:pt x="176022" y="36290"/>
                  </a:lnTo>
                  <a:lnTo>
                    <a:pt x="175736" y="34480"/>
                  </a:lnTo>
                  <a:lnTo>
                    <a:pt x="175260" y="30956"/>
                  </a:lnTo>
                  <a:lnTo>
                    <a:pt x="167640" y="28384"/>
                  </a:lnTo>
                  <a:lnTo>
                    <a:pt x="174117" y="22098"/>
                  </a:lnTo>
                  <a:lnTo>
                    <a:pt x="178403" y="26956"/>
                  </a:lnTo>
                  <a:lnTo>
                    <a:pt x="178213" y="25146"/>
                  </a:lnTo>
                  <a:lnTo>
                    <a:pt x="179260" y="19526"/>
                  </a:lnTo>
                  <a:lnTo>
                    <a:pt x="172879" y="13144"/>
                  </a:lnTo>
                  <a:lnTo>
                    <a:pt x="176308" y="10858"/>
                  </a:lnTo>
                  <a:lnTo>
                    <a:pt x="176784" y="14383"/>
                  </a:lnTo>
                  <a:lnTo>
                    <a:pt x="180594" y="15716"/>
                  </a:lnTo>
                  <a:lnTo>
                    <a:pt x="180975" y="4763"/>
                  </a:lnTo>
                  <a:lnTo>
                    <a:pt x="184595" y="4286"/>
                  </a:lnTo>
                  <a:lnTo>
                    <a:pt x="188404" y="5620"/>
                  </a:lnTo>
                  <a:lnTo>
                    <a:pt x="189071" y="10954"/>
                  </a:lnTo>
                  <a:lnTo>
                    <a:pt x="187928" y="16573"/>
                  </a:lnTo>
                  <a:lnTo>
                    <a:pt x="188404" y="20193"/>
                  </a:lnTo>
                  <a:lnTo>
                    <a:pt x="190214" y="19907"/>
                  </a:lnTo>
                  <a:lnTo>
                    <a:pt x="191071" y="12573"/>
                  </a:lnTo>
                  <a:lnTo>
                    <a:pt x="194405" y="10287"/>
                  </a:lnTo>
                  <a:lnTo>
                    <a:pt x="195072" y="15621"/>
                  </a:lnTo>
                  <a:lnTo>
                    <a:pt x="198691" y="15145"/>
                  </a:lnTo>
                  <a:lnTo>
                    <a:pt x="199834" y="9620"/>
                  </a:lnTo>
                  <a:lnTo>
                    <a:pt x="204788" y="5334"/>
                  </a:lnTo>
                  <a:lnTo>
                    <a:pt x="200692" y="2286"/>
                  </a:lnTo>
                  <a:lnTo>
                    <a:pt x="204025" y="0"/>
                  </a:lnTo>
                  <a:lnTo>
                    <a:pt x="206312" y="3334"/>
                  </a:lnTo>
                  <a:lnTo>
                    <a:pt x="206312" y="17812"/>
                  </a:lnTo>
                  <a:cubicBezTo>
                    <a:pt x="206312" y="17812"/>
                    <a:pt x="219646" y="21431"/>
                    <a:pt x="219646" y="21431"/>
                  </a:cubicBezTo>
                  <a:lnTo>
                    <a:pt x="220123" y="24955"/>
                  </a:lnTo>
                  <a:lnTo>
                    <a:pt x="213646" y="31242"/>
                  </a:lnTo>
                  <a:lnTo>
                    <a:pt x="210788" y="37052"/>
                  </a:lnTo>
                  <a:lnTo>
                    <a:pt x="215360" y="43720"/>
                  </a:lnTo>
                  <a:lnTo>
                    <a:pt x="222028" y="39148"/>
                  </a:lnTo>
                  <a:lnTo>
                    <a:pt x="228124" y="43815"/>
                  </a:lnTo>
                  <a:lnTo>
                    <a:pt x="231934" y="45148"/>
                  </a:lnTo>
                  <a:lnTo>
                    <a:pt x="240697" y="42196"/>
                  </a:lnTo>
                  <a:lnTo>
                    <a:pt x="245269" y="48863"/>
                  </a:lnTo>
                  <a:lnTo>
                    <a:pt x="249364" y="51911"/>
                  </a:lnTo>
                  <a:lnTo>
                    <a:pt x="252127" y="58769"/>
                  </a:lnTo>
                  <a:lnTo>
                    <a:pt x="259651" y="46863"/>
                  </a:lnTo>
                  <a:lnTo>
                    <a:pt x="267081" y="47625"/>
                  </a:lnTo>
                  <a:lnTo>
                    <a:pt x="267271" y="49435"/>
                  </a:lnTo>
                  <a:lnTo>
                    <a:pt x="266224" y="55054"/>
                  </a:lnTo>
                  <a:lnTo>
                    <a:pt x="266700" y="58579"/>
                  </a:lnTo>
                  <a:lnTo>
                    <a:pt x="262033" y="64579"/>
                  </a:lnTo>
                  <a:lnTo>
                    <a:pt x="264033" y="66103"/>
                  </a:lnTo>
                  <a:lnTo>
                    <a:pt x="277273" y="69818"/>
                  </a:lnTo>
                  <a:lnTo>
                    <a:pt x="280035" y="76676"/>
                  </a:lnTo>
                  <a:lnTo>
                    <a:pt x="276701" y="78867"/>
                  </a:lnTo>
                  <a:lnTo>
                    <a:pt x="276320" y="89821"/>
                  </a:lnTo>
                  <a:lnTo>
                    <a:pt x="271177" y="92297"/>
                  </a:lnTo>
                  <a:lnTo>
                    <a:pt x="269843" y="96107"/>
                  </a:lnTo>
                  <a:lnTo>
                    <a:pt x="275939" y="100679"/>
                  </a:lnTo>
                  <a:lnTo>
                    <a:pt x="281559" y="101727"/>
                  </a:lnTo>
                  <a:lnTo>
                    <a:pt x="284035" y="106871"/>
                  </a:lnTo>
                  <a:lnTo>
                    <a:pt x="287655" y="106394"/>
                  </a:lnTo>
                  <a:lnTo>
                    <a:pt x="289941" y="109728"/>
                  </a:lnTo>
                  <a:lnTo>
                    <a:pt x="293560" y="109252"/>
                  </a:lnTo>
                  <a:lnTo>
                    <a:pt x="290036" y="124206"/>
                  </a:lnTo>
                  <a:lnTo>
                    <a:pt x="295370" y="123444"/>
                  </a:lnTo>
                  <a:lnTo>
                    <a:pt x="297180" y="123253"/>
                  </a:lnTo>
                  <a:lnTo>
                    <a:pt x="294322" y="129064"/>
                  </a:lnTo>
                  <a:lnTo>
                    <a:pt x="300133" y="131921"/>
                  </a:lnTo>
                  <a:lnTo>
                    <a:pt x="301657" y="129921"/>
                  </a:lnTo>
                  <a:lnTo>
                    <a:pt x="303657" y="131445"/>
                  </a:lnTo>
                  <a:lnTo>
                    <a:pt x="323374" y="128778"/>
                  </a:lnTo>
                  <a:lnTo>
                    <a:pt x="324898" y="126778"/>
                  </a:lnTo>
                  <a:lnTo>
                    <a:pt x="326422" y="124777"/>
                  </a:lnTo>
                  <a:lnTo>
                    <a:pt x="331851" y="124015"/>
                  </a:lnTo>
                  <a:lnTo>
                    <a:pt x="335185" y="121729"/>
                  </a:lnTo>
                  <a:lnTo>
                    <a:pt x="338614" y="119443"/>
                  </a:lnTo>
                  <a:lnTo>
                    <a:pt x="346043" y="120301"/>
                  </a:lnTo>
                  <a:lnTo>
                    <a:pt x="345567" y="116776"/>
                  </a:lnTo>
                  <a:lnTo>
                    <a:pt x="357473" y="109728"/>
                  </a:lnTo>
                  <a:lnTo>
                    <a:pt x="360807" y="107442"/>
                  </a:lnTo>
                  <a:lnTo>
                    <a:pt x="364903" y="110490"/>
                  </a:lnTo>
                  <a:lnTo>
                    <a:pt x="363569" y="114300"/>
                  </a:lnTo>
                  <a:lnTo>
                    <a:pt x="368998" y="113538"/>
                  </a:lnTo>
                  <a:lnTo>
                    <a:pt x="372237" y="124015"/>
                  </a:lnTo>
                  <a:lnTo>
                    <a:pt x="370046" y="135160"/>
                  </a:lnTo>
                  <a:lnTo>
                    <a:pt x="380143" y="142875"/>
                  </a:lnTo>
                  <a:lnTo>
                    <a:pt x="376142" y="154305"/>
                  </a:lnTo>
                  <a:lnTo>
                    <a:pt x="378905" y="161163"/>
                  </a:lnTo>
                  <a:moveTo>
                    <a:pt x="372999" y="158305"/>
                  </a:moveTo>
                  <a:lnTo>
                    <a:pt x="360997" y="150781"/>
                  </a:lnTo>
                  <a:lnTo>
                    <a:pt x="361474" y="154305"/>
                  </a:lnTo>
                  <a:lnTo>
                    <a:pt x="359664" y="154496"/>
                  </a:lnTo>
                  <a:lnTo>
                    <a:pt x="358330" y="158305"/>
                  </a:lnTo>
                  <a:lnTo>
                    <a:pt x="360616" y="161639"/>
                  </a:lnTo>
                  <a:lnTo>
                    <a:pt x="358807" y="161830"/>
                  </a:lnTo>
                  <a:lnTo>
                    <a:pt x="353378" y="162496"/>
                  </a:lnTo>
                  <a:lnTo>
                    <a:pt x="350615" y="155638"/>
                  </a:lnTo>
                  <a:lnTo>
                    <a:pt x="338042" y="157258"/>
                  </a:lnTo>
                  <a:lnTo>
                    <a:pt x="333756" y="152400"/>
                  </a:lnTo>
                  <a:lnTo>
                    <a:pt x="329755" y="163830"/>
                  </a:lnTo>
                  <a:lnTo>
                    <a:pt x="325946" y="162496"/>
                  </a:lnTo>
                  <a:lnTo>
                    <a:pt x="320992" y="166783"/>
                  </a:lnTo>
                  <a:lnTo>
                    <a:pt x="317373" y="167259"/>
                  </a:lnTo>
                  <a:lnTo>
                    <a:pt x="316325" y="172784"/>
                  </a:lnTo>
                  <a:lnTo>
                    <a:pt x="316516" y="174593"/>
                  </a:lnTo>
                  <a:lnTo>
                    <a:pt x="312896" y="175069"/>
                  </a:lnTo>
                  <a:lnTo>
                    <a:pt x="313372" y="178689"/>
                  </a:lnTo>
                  <a:lnTo>
                    <a:pt x="315373" y="180213"/>
                  </a:lnTo>
                  <a:lnTo>
                    <a:pt x="312230" y="184213"/>
                  </a:lnTo>
                  <a:lnTo>
                    <a:pt x="302800" y="181832"/>
                  </a:lnTo>
                  <a:lnTo>
                    <a:pt x="299942" y="187642"/>
                  </a:lnTo>
                  <a:lnTo>
                    <a:pt x="302228" y="190976"/>
                  </a:lnTo>
                  <a:lnTo>
                    <a:pt x="295084" y="191929"/>
                  </a:lnTo>
                  <a:lnTo>
                    <a:pt x="293275" y="192214"/>
                  </a:lnTo>
                  <a:lnTo>
                    <a:pt x="301180" y="196596"/>
                  </a:lnTo>
                  <a:lnTo>
                    <a:pt x="297847" y="198882"/>
                  </a:lnTo>
                  <a:lnTo>
                    <a:pt x="299847" y="200406"/>
                  </a:lnTo>
                  <a:lnTo>
                    <a:pt x="298323" y="202406"/>
                  </a:lnTo>
                  <a:lnTo>
                    <a:pt x="301085" y="209264"/>
                  </a:lnTo>
                  <a:lnTo>
                    <a:pt x="293846" y="210217"/>
                  </a:lnTo>
                  <a:lnTo>
                    <a:pt x="292703" y="201359"/>
                  </a:lnTo>
                  <a:lnTo>
                    <a:pt x="290703" y="199834"/>
                  </a:lnTo>
                  <a:lnTo>
                    <a:pt x="284226" y="206121"/>
                  </a:lnTo>
                  <a:lnTo>
                    <a:pt x="283083" y="211741"/>
                  </a:lnTo>
                  <a:lnTo>
                    <a:pt x="278511" y="205073"/>
                  </a:lnTo>
                  <a:lnTo>
                    <a:pt x="275177" y="207359"/>
                  </a:lnTo>
                  <a:lnTo>
                    <a:pt x="272034" y="211360"/>
                  </a:lnTo>
                  <a:lnTo>
                    <a:pt x="272224" y="213170"/>
                  </a:lnTo>
                  <a:lnTo>
                    <a:pt x="277273" y="223361"/>
                  </a:lnTo>
                  <a:lnTo>
                    <a:pt x="271939" y="224123"/>
                  </a:lnTo>
                  <a:lnTo>
                    <a:pt x="260699" y="221932"/>
                  </a:lnTo>
                  <a:lnTo>
                    <a:pt x="261938" y="218122"/>
                  </a:lnTo>
                  <a:lnTo>
                    <a:pt x="254032" y="213741"/>
                  </a:lnTo>
                  <a:lnTo>
                    <a:pt x="247269" y="203740"/>
                  </a:lnTo>
                  <a:lnTo>
                    <a:pt x="253460" y="195643"/>
                  </a:lnTo>
                  <a:lnTo>
                    <a:pt x="238792" y="181261"/>
                  </a:lnTo>
                  <a:lnTo>
                    <a:pt x="237458" y="185071"/>
                  </a:lnTo>
                  <a:lnTo>
                    <a:pt x="235458" y="183547"/>
                  </a:lnTo>
                  <a:lnTo>
                    <a:pt x="232696" y="176689"/>
                  </a:lnTo>
                  <a:lnTo>
                    <a:pt x="225266" y="175831"/>
                  </a:lnTo>
                  <a:lnTo>
                    <a:pt x="227266" y="177355"/>
                  </a:lnTo>
                  <a:lnTo>
                    <a:pt x="221837" y="178022"/>
                  </a:lnTo>
                  <a:lnTo>
                    <a:pt x="211646" y="170307"/>
                  </a:lnTo>
                  <a:lnTo>
                    <a:pt x="206978" y="176403"/>
                  </a:lnTo>
                  <a:lnTo>
                    <a:pt x="200978" y="186309"/>
                  </a:lnTo>
                  <a:lnTo>
                    <a:pt x="201644" y="191643"/>
                  </a:lnTo>
                  <a:lnTo>
                    <a:pt x="198310" y="193929"/>
                  </a:lnTo>
                  <a:lnTo>
                    <a:pt x="198787" y="197453"/>
                  </a:lnTo>
                  <a:lnTo>
                    <a:pt x="197263" y="199453"/>
                  </a:lnTo>
                  <a:lnTo>
                    <a:pt x="204025" y="209455"/>
                  </a:lnTo>
                  <a:lnTo>
                    <a:pt x="198882" y="211931"/>
                  </a:lnTo>
                  <a:lnTo>
                    <a:pt x="199168" y="213741"/>
                  </a:lnTo>
                  <a:lnTo>
                    <a:pt x="204597" y="212979"/>
                  </a:lnTo>
                  <a:lnTo>
                    <a:pt x="198596" y="222885"/>
                  </a:lnTo>
                  <a:lnTo>
                    <a:pt x="194596" y="234315"/>
                  </a:lnTo>
                  <a:lnTo>
                    <a:pt x="189166" y="234982"/>
                  </a:lnTo>
                  <a:lnTo>
                    <a:pt x="187357" y="235267"/>
                  </a:lnTo>
                  <a:lnTo>
                    <a:pt x="193262" y="238125"/>
                  </a:lnTo>
                  <a:lnTo>
                    <a:pt x="188119" y="240601"/>
                  </a:lnTo>
                  <a:lnTo>
                    <a:pt x="190595" y="245650"/>
                  </a:lnTo>
                  <a:lnTo>
                    <a:pt x="188976" y="247650"/>
                  </a:lnTo>
                  <a:lnTo>
                    <a:pt x="183261" y="259271"/>
                  </a:lnTo>
                  <a:lnTo>
                    <a:pt x="181737" y="261271"/>
                  </a:lnTo>
                  <a:lnTo>
                    <a:pt x="187357" y="262319"/>
                  </a:lnTo>
                  <a:lnTo>
                    <a:pt x="189833" y="267462"/>
                  </a:lnTo>
                  <a:lnTo>
                    <a:pt x="193357" y="266986"/>
                  </a:lnTo>
                  <a:lnTo>
                    <a:pt x="199263" y="269843"/>
                  </a:lnTo>
                  <a:lnTo>
                    <a:pt x="198406" y="277178"/>
                  </a:lnTo>
                  <a:lnTo>
                    <a:pt x="204502" y="281845"/>
                  </a:lnTo>
                  <a:lnTo>
                    <a:pt x="207740" y="292322"/>
                  </a:lnTo>
                  <a:lnTo>
                    <a:pt x="213360" y="293370"/>
                  </a:lnTo>
                  <a:lnTo>
                    <a:pt x="220504" y="292417"/>
                  </a:lnTo>
                  <a:lnTo>
                    <a:pt x="224314" y="293751"/>
                  </a:lnTo>
                  <a:lnTo>
                    <a:pt x="225171" y="286417"/>
                  </a:lnTo>
                  <a:lnTo>
                    <a:pt x="230314" y="283940"/>
                  </a:lnTo>
                  <a:lnTo>
                    <a:pt x="236410" y="288607"/>
                  </a:lnTo>
                  <a:lnTo>
                    <a:pt x="240030" y="288131"/>
                  </a:lnTo>
                  <a:lnTo>
                    <a:pt x="243649" y="302133"/>
                  </a:lnTo>
                  <a:lnTo>
                    <a:pt x="244126" y="305657"/>
                  </a:lnTo>
                  <a:lnTo>
                    <a:pt x="265271" y="313658"/>
                  </a:lnTo>
                  <a:lnTo>
                    <a:pt x="264414" y="321088"/>
                  </a:lnTo>
                  <a:lnTo>
                    <a:pt x="276130" y="326803"/>
                  </a:lnTo>
                  <a:lnTo>
                    <a:pt x="282892" y="322326"/>
                  </a:lnTo>
                  <a:lnTo>
                    <a:pt x="292322" y="324707"/>
                  </a:lnTo>
                  <a:lnTo>
                    <a:pt x="290703" y="326707"/>
                  </a:lnTo>
                  <a:lnTo>
                    <a:pt x="296608" y="329565"/>
                  </a:lnTo>
                  <a:lnTo>
                    <a:pt x="298513" y="343853"/>
                  </a:lnTo>
                  <a:lnTo>
                    <a:pt x="300514" y="345376"/>
                  </a:lnTo>
                  <a:lnTo>
                    <a:pt x="316421" y="341471"/>
                  </a:lnTo>
                  <a:lnTo>
                    <a:pt x="319088" y="333851"/>
                  </a:lnTo>
                  <a:lnTo>
                    <a:pt x="321088" y="335375"/>
                  </a:lnTo>
                  <a:lnTo>
                    <a:pt x="332137" y="335756"/>
                  </a:lnTo>
                  <a:lnTo>
                    <a:pt x="334137" y="337280"/>
                  </a:lnTo>
                  <a:lnTo>
                    <a:pt x="329184" y="341566"/>
                  </a:lnTo>
                  <a:lnTo>
                    <a:pt x="331184" y="343090"/>
                  </a:lnTo>
                  <a:lnTo>
                    <a:pt x="331470" y="344900"/>
                  </a:lnTo>
                  <a:lnTo>
                    <a:pt x="335280" y="346234"/>
                  </a:lnTo>
                  <a:lnTo>
                    <a:pt x="331946" y="362998"/>
                  </a:lnTo>
                  <a:lnTo>
                    <a:pt x="331089" y="370332"/>
                  </a:lnTo>
                  <a:lnTo>
                    <a:pt x="338328" y="369380"/>
                  </a:lnTo>
                  <a:lnTo>
                    <a:pt x="338042" y="367570"/>
                  </a:lnTo>
                  <a:lnTo>
                    <a:pt x="339566" y="365570"/>
                  </a:lnTo>
                  <a:lnTo>
                    <a:pt x="344710" y="363093"/>
                  </a:lnTo>
                  <a:lnTo>
                    <a:pt x="350615" y="365855"/>
                  </a:lnTo>
                  <a:lnTo>
                    <a:pt x="366998" y="365474"/>
                  </a:lnTo>
                  <a:lnTo>
                    <a:pt x="369189" y="354330"/>
                  </a:lnTo>
                  <a:lnTo>
                    <a:pt x="374523" y="353568"/>
                  </a:lnTo>
                  <a:lnTo>
                    <a:pt x="373951" y="362712"/>
                  </a:lnTo>
                  <a:lnTo>
                    <a:pt x="376904" y="371380"/>
                  </a:lnTo>
                  <a:lnTo>
                    <a:pt x="369760" y="372332"/>
                  </a:lnTo>
                  <a:lnTo>
                    <a:pt x="370713" y="379476"/>
                  </a:lnTo>
                  <a:lnTo>
                    <a:pt x="363474" y="380429"/>
                  </a:lnTo>
                  <a:lnTo>
                    <a:pt x="362045" y="396907"/>
                  </a:lnTo>
                  <a:lnTo>
                    <a:pt x="364522" y="402050"/>
                  </a:lnTo>
                  <a:lnTo>
                    <a:pt x="368332" y="403384"/>
                  </a:lnTo>
                  <a:lnTo>
                    <a:pt x="367379" y="396240"/>
                  </a:lnTo>
                  <a:lnTo>
                    <a:pt x="370522" y="392239"/>
                  </a:lnTo>
                  <a:lnTo>
                    <a:pt x="373856" y="389954"/>
                  </a:lnTo>
                  <a:lnTo>
                    <a:pt x="390525" y="391382"/>
                  </a:lnTo>
                  <a:lnTo>
                    <a:pt x="394621" y="394430"/>
                  </a:lnTo>
                  <a:lnTo>
                    <a:pt x="400050" y="393668"/>
                  </a:lnTo>
                  <a:lnTo>
                    <a:pt x="407480" y="394525"/>
                  </a:lnTo>
                  <a:lnTo>
                    <a:pt x="407194" y="392716"/>
                  </a:lnTo>
                  <a:lnTo>
                    <a:pt x="410718" y="392239"/>
                  </a:lnTo>
                  <a:lnTo>
                    <a:pt x="410242" y="388715"/>
                  </a:lnTo>
                  <a:lnTo>
                    <a:pt x="413861" y="388239"/>
                  </a:lnTo>
                  <a:lnTo>
                    <a:pt x="416338" y="378809"/>
                  </a:lnTo>
                  <a:lnTo>
                    <a:pt x="420148" y="380143"/>
                  </a:lnTo>
                  <a:lnTo>
                    <a:pt x="426910" y="375666"/>
                  </a:lnTo>
                  <a:lnTo>
                    <a:pt x="428911" y="377190"/>
                  </a:lnTo>
                  <a:lnTo>
                    <a:pt x="437674" y="374237"/>
                  </a:lnTo>
                  <a:lnTo>
                    <a:pt x="436531" y="365284"/>
                  </a:lnTo>
                  <a:lnTo>
                    <a:pt x="436912" y="354330"/>
                  </a:lnTo>
                  <a:lnTo>
                    <a:pt x="440531" y="353854"/>
                  </a:lnTo>
                  <a:lnTo>
                    <a:pt x="440246" y="352044"/>
                  </a:lnTo>
                  <a:lnTo>
                    <a:pt x="432816" y="351187"/>
                  </a:lnTo>
                  <a:lnTo>
                    <a:pt x="428244" y="344519"/>
                  </a:lnTo>
                  <a:lnTo>
                    <a:pt x="426339" y="330232"/>
                  </a:lnTo>
                  <a:lnTo>
                    <a:pt x="428149" y="329946"/>
                  </a:lnTo>
                  <a:lnTo>
                    <a:pt x="425672" y="324803"/>
                  </a:lnTo>
                  <a:lnTo>
                    <a:pt x="431863" y="316706"/>
                  </a:lnTo>
                  <a:lnTo>
                    <a:pt x="421957" y="310801"/>
                  </a:lnTo>
                  <a:lnTo>
                    <a:pt x="423100" y="305181"/>
                  </a:lnTo>
                  <a:lnTo>
                    <a:pt x="422148" y="298037"/>
                  </a:lnTo>
                  <a:lnTo>
                    <a:pt x="436245" y="294322"/>
                  </a:lnTo>
                  <a:lnTo>
                    <a:pt x="433959" y="290989"/>
                  </a:lnTo>
                  <a:lnTo>
                    <a:pt x="439103" y="288512"/>
                  </a:lnTo>
                  <a:lnTo>
                    <a:pt x="442722" y="288036"/>
                  </a:lnTo>
                  <a:lnTo>
                    <a:pt x="444246" y="286036"/>
                  </a:lnTo>
                  <a:lnTo>
                    <a:pt x="443770" y="282512"/>
                  </a:lnTo>
                  <a:lnTo>
                    <a:pt x="442341" y="271844"/>
                  </a:lnTo>
                  <a:lnTo>
                    <a:pt x="443389" y="266224"/>
                  </a:lnTo>
                  <a:lnTo>
                    <a:pt x="437483" y="263366"/>
                  </a:lnTo>
                  <a:lnTo>
                    <a:pt x="437197" y="261556"/>
                  </a:lnTo>
                  <a:lnTo>
                    <a:pt x="443960" y="257080"/>
                  </a:lnTo>
                  <a:lnTo>
                    <a:pt x="443484" y="253555"/>
                  </a:lnTo>
                  <a:lnTo>
                    <a:pt x="439388" y="250507"/>
                  </a:lnTo>
                  <a:lnTo>
                    <a:pt x="443008" y="250031"/>
                  </a:lnTo>
                  <a:lnTo>
                    <a:pt x="440055" y="241363"/>
                  </a:lnTo>
                  <a:lnTo>
                    <a:pt x="444532" y="233553"/>
                  </a:lnTo>
                  <a:lnTo>
                    <a:pt x="451009" y="227266"/>
                  </a:lnTo>
                  <a:lnTo>
                    <a:pt x="447770" y="216789"/>
                  </a:lnTo>
                  <a:lnTo>
                    <a:pt x="438817" y="217932"/>
                  </a:lnTo>
                  <a:lnTo>
                    <a:pt x="437483" y="221742"/>
                  </a:lnTo>
                  <a:lnTo>
                    <a:pt x="433864" y="222218"/>
                  </a:lnTo>
                  <a:lnTo>
                    <a:pt x="431482" y="231648"/>
                  </a:lnTo>
                  <a:lnTo>
                    <a:pt x="414909" y="244697"/>
                  </a:lnTo>
                  <a:lnTo>
                    <a:pt x="410718" y="254317"/>
                  </a:lnTo>
                  <a:lnTo>
                    <a:pt x="399002" y="248603"/>
                  </a:lnTo>
                  <a:lnTo>
                    <a:pt x="394716" y="243745"/>
                  </a:lnTo>
                  <a:lnTo>
                    <a:pt x="402241" y="231838"/>
                  </a:lnTo>
                  <a:lnTo>
                    <a:pt x="400240" y="230314"/>
                  </a:lnTo>
                  <a:lnTo>
                    <a:pt x="396621" y="230791"/>
                  </a:lnTo>
                  <a:lnTo>
                    <a:pt x="395954" y="225457"/>
                  </a:lnTo>
                  <a:lnTo>
                    <a:pt x="388239" y="222885"/>
                  </a:lnTo>
                  <a:lnTo>
                    <a:pt x="372428" y="214122"/>
                  </a:lnTo>
                  <a:lnTo>
                    <a:pt x="373761" y="210312"/>
                  </a:lnTo>
                  <a:lnTo>
                    <a:pt x="378905" y="207836"/>
                  </a:lnTo>
                  <a:lnTo>
                    <a:pt x="373380" y="194024"/>
                  </a:lnTo>
                  <a:lnTo>
                    <a:pt x="366808" y="185833"/>
                  </a:lnTo>
                  <a:lnTo>
                    <a:pt x="359664" y="186785"/>
                  </a:lnTo>
                  <a:lnTo>
                    <a:pt x="354901" y="178403"/>
                  </a:lnTo>
                  <a:lnTo>
                    <a:pt x="351282" y="178879"/>
                  </a:lnTo>
                  <a:lnTo>
                    <a:pt x="348996" y="175546"/>
                  </a:lnTo>
                  <a:lnTo>
                    <a:pt x="355759" y="171069"/>
                  </a:lnTo>
                  <a:lnTo>
                    <a:pt x="355282" y="167449"/>
                  </a:lnTo>
                  <a:lnTo>
                    <a:pt x="366522" y="169640"/>
                  </a:lnTo>
                  <a:lnTo>
                    <a:pt x="378142" y="160877"/>
                  </a:lnTo>
                  <a:lnTo>
                    <a:pt x="372237" y="15802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5" name="Volný tvar: obrazec 54">
              <a:extLst>
                <a:ext uri="{FF2B5EF4-FFF2-40B4-BE49-F238E27FC236}">
                  <a16:creationId xmlns:a16="http://schemas.microsoft.com/office/drawing/2014/main" id="{8468BDF3-E6A8-2525-2447-942AA67FE3FC}"/>
                </a:ext>
              </a:extLst>
            </p:cNvPr>
            <p:cNvSpPr/>
            <p:nvPr userDrawn="1"/>
          </p:nvSpPr>
          <p:spPr>
            <a:xfrm>
              <a:off x="6950058" y="4099845"/>
              <a:ext cx="269747" cy="252698"/>
            </a:xfrm>
            <a:custGeom>
              <a:avLst/>
              <a:gdLst>
                <a:gd name="connsiteX0" fmla="*/ 196882 w 269747"/>
                <a:gd name="connsiteY0" fmla="*/ 10287 h 252698"/>
                <a:gd name="connsiteX1" fmla="*/ 185261 w 269747"/>
                <a:gd name="connsiteY1" fmla="*/ 19050 h 252698"/>
                <a:gd name="connsiteX2" fmla="*/ 174022 w 269747"/>
                <a:gd name="connsiteY2" fmla="*/ 16954 h 252698"/>
                <a:gd name="connsiteX3" fmla="*/ 174498 w 269747"/>
                <a:gd name="connsiteY3" fmla="*/ 20479 h 252698"/>
                <a:gd name="connsiteX4" fmla="*/ 167830 w 269747"/>
                <a:gd name="connsiteY4" fmla="*/ 25051 h 252698"/>
                <a:gd name="connsiteX5" fmla="*/ 170116 w 269747"/>
                <a:gd name="connsiteY5" fmla="*/ 28384 h 252698"/>
                <a:gd name="connsiteX6" fmla="*/ 173641 w 269747"/>
                <a:gd name="connsiteY6" fmla="*/ 27908 h 252698"/>
                <a:gd name="connsiteX7" fmla="*/ 178498 w 269747"/>
                <a:gd name="connsiteY7" fmla="*/ 36290 h 252698"/>
                <a:gd name="connsiteX8" fmla="*/ 185642 w 269747"/>
                <a:gd name="connsiteY8" fmla="*/ 35338 h 252698"/>
                <a:gd name="connsiteX9" fmla="*/ 192214 w 269747"/>
                <a:gd name="connsiteY9" fmla="*/ 43529 h 252698"/>
                <a:gd name="connsiteX10" fmla="*/ 197644 w 269747"/>
                <a:gd name="connsiteY10" fmla="*/ 57340 h 252698"/>
                <a:gd name="connsiteX11" fmla="*/ 192500 w 269747"/>
                <a:gd name="connsiteY11" fmla="*/ 59817 h 252698"/>
                <a:gd name="connsiteX12" fmla="*/ 191167 w 269747"/>
                <a:gd name="connsiteY12" fmla="*/ 63627 h 252698"/>
                <a:gd name="connsiteX13" fmla="*/ 206978 w 269747"/>
                <a:gd name="connsiteY13" fmla="*/ 72390 h 252698"/>
                <a:gd name="connsiteX14" fmla="*/ 214598 w 269747"/>
                <a:gd name="connsiteY14" fmla="*/ 75057 h 252698"/>
                <a:gd name="connsiteX15" fmla="*/ 215360 w 269747"/>
                <a:gd name="connsiteY15" fmla="*/ 80391 h 252698"/>
                <a:gd name="connsiteX16" fmla="*/ 218980 w 269747"/>
                <a:gd name="connsiteY16" fmla="*/ 79915 h 252698"/>
                <a:gd name="connsiteX17" fmla="*/ 220980 w 269747"/>
                <a:gd name="connsiteY17" fmla="*/ 81439 h 252698"/>
                <a:gd name="connsiteX18" fmla="*/ 213360 w 269747"/>
                <a:gd name="connsiteY18" fmla="*/ 93345 h 252698"/>
                <a:gd name="connsiteX19" fmla="*/ 217646 w 269747"/>
                <a:gd name="connsiteY19" fmla="*/ 98203 h 252698"/>
                <a:gd name="connsiteX20" fmla="*/ 229457 w 269747"/>
                <a:gd name="connsiteY20" fmla="*/ 103918 h 252698"/>
                <a:gd name="connsiteX21" fmla="*/ 233648 w 269747"/>
                <a:gd name="connsiteY21" fmla="*/ 94297 h 252698"/>
                <a:gd name="connsiteX22" fmla="*/ 250222 w 269747"/>
                <a:gd name="connsiteY22" fmla="*/ 81248 h 252698"/>
                <a:gd name="connsiteX23" fmla="*/ 252603 w 269747"/>
                <a:gd name="connsiteY23" fmla="*/ 71819 h 252698"/>
                <a:gd name="connsiteX24" fmla="*/ 256222 w 269747"/>
                <a:gd name="connsiteY24" fmla="*/ 71342 h 252698"/>
                <a:gd name="connsiteX25" fmla="*/ 257461 w 269747"/>
                <a:gd name="connsiteY25" fmla="*/ 67532 h 252698"/>
                <a:gd name="connsiteX26" fmla="*/ 266509 w 269747"/>
                <a:gd name="connsiteY26" fmla="*/ 66389 h 252698"/>
                <a:gd name="connsiteX27" fmla="*/ 269748 w 269747"/>
                <a:gd name="connsiteY27" fmla="*/ 76771 h 252698"/>
                <a:gd name="connsiteX28" fmla="*/ 263176 w 269747"/>
                <a:gd name="connsiteY28" fmla="*/ 83058 h 252698"/>
                <a:gd name="connsiteX29" fmla="*/ 258794 w 269747"/>
                <a:gd name="connsiteY29" fmla="*/ 90964 h 252698"/>
                <a:gd name="connsiteX30" fmla="*/ 261747 w 269747"/>
                <a:gd name="connsiteY30" fmla="*/ 99631 h 252698"/>
                <a:gd name="connsiteX31" fmla="*/ 258127 w 269747"/>
                <a:gd name="connsiteY31" fmla="*/ 100108 h 252698"/>
                <a:gd name="connsiteX32" fmla="*/ 262223 w 269747"/>
                <a:gd name="connsiteY32" fmla="*/ 103156 h 252698"/>
                <a:gd name="connsiteX33" fmla="*/ 262699 w 269747"/>
                <a:gd name="connsiteY33" fmla="*/ 106775 h 252698"/>
                <a:gd name="connsiteX34" fmla="*/ 255937 w 269747"/>
                <a:gd name="connsiteY34" fmla="*/ 111252 h 252698"/>
                <a:gd name="connsiteX35" fmla="*/ 256222 w 269747"/>
                <a:gd name="connsiteY35" fmla="*/ 113062 h 252698"/>
                <a:gd name="connsiteX36" fmla="*/ 262033 w 269747"/>
                <a:gd name="connsiteY36" fmla="*/ 115919 h 252698"/>
                <a:gd name="connsiteX37" fmla="*/ 260985 w 269747"/>
                <a:gd name="connsiteY37" fmla="*/ 121444 h 252698"/>
                <a:gd name="connsiteX38" fmla="*/ 262414 w 269747"/>
                <a:gd name="connsiteY38" fmla="*/ 132207 h 252698"/>
                <a:gd name="connsiteX39" fmla="*/ 262890 w 269747"/>
                <a:gd name="connsiteY39" fmla="*/ 135731 h 252698"/>
                <a:gd name="connsiteX40" fmla="*/ 261271 w 269747"/>
                <a:gd name="connsiteY40" fmla="*/ 137731 h 252698"/>
                <a:gd name="connsiteX41" fmla="*/ 257746 w 269747"/>
                <a:gd name="connsiteY41" fmla="*/ 138208 h 252698"/>
                <a:gd name="connsiteX42" fmla="*/ 252508 w 269747"/>
                <a:gd name="connsiteY42" fmla="*/ 140684 h 252698"/>
                <a:gd name="connsiteX43" fmla="*/ 254794 w 269747"/>
                <a:gd name="connsiteY43" fmla="*/ 144018 h 252698"/>
                <a:gd name="connsiteX44" fmla="*/ 240697 w 269747"/>
                <a:gd name="connsiteY44" fmla="*/ 147733 h 252698"/>
                <a:gd name="connsiteX45" fmla="*/ 241649 w 269747"/>
                <a:gd name="connsiteY45" fmla="*/ 154877 h 252698"/>
                <a:gd name="connsiteX46" fmla="*/ 240506 w 269747"/>
                <a:gd name="connsiteY46" fmla="*/ 160496 h 252698"/>
                <a:gd name="connsiteX47" fmla="*/ 250507 w 269747"/>
                <a:gd name="connsiteY47" fmla="*/ 166402 h 252698"/>
                <a:gd name="connsiteX48" fmla="*/ 244221 w 269747"/>
                <a:gd name="connsiteY48" fmla="*/ 174498 h 252698"/>
                <a:gd name="connsiteX49" fmla="*/ 246697 w 269747"/>
                <a:gd name="connsiteY49" fmla="*/ 179546 h 252698"/>
                <a:gd name="connsiteX50" fmla="*/ 244983 w 269747"/>
                <a:gd name="connsiteY50" fmla="*/ 179832 h 252698"/>
                <a:gd name="connsiteX51" fmla="*/ 246793 w 269747"/>
                <a:gd name="connsiteY51" fmla="*/ 194024 h 252698"/>
                <a:gd name="connsiteX52" fmla="*/ 251365 w 269747"/>
                <a:gd name="connsiteY52" fmla="*/ 200692 h 252698"/>
                <a:gd name="connsiteX53" fmla="*/ 258794 w 269747"/>
                <a:gd name="connsiteY53" fmla="*/ 201549 h 252698"/>
                <a:gd name="connsiteX54" fmla="*/ 259080 w 269747"/>
                <a:gd name="connsiteY54" fmla="*/ 203359 h 252698"/>
                <a:gd name="connsiteX55" fmla="*/ 255460 w 269747"/>
                <a:gd name="connsiteY55" fmla="*/ 203835 h 252698"/>
                <a:gd name="connsiteX56" fmla="*/ 255079 w 269747"/>
                <a:gd name="connsiteY56" fmla="*/ 214789 h 252698"/>
                <a:gd name="connsiteX57" fmla="*/ 256222 w 269747"/>
                <a:gd name="connsiteY57" fmla="*/ 223647 h 252698"/>
                <a:gd name="connsiteX58" fmla="*/ 247459 w 269747"/>
                <a:gd name="connsiteY58" fmla="*/ 226600 h 252698"/>
                <a:gd name="connsiteX59" fmla="*/ 245459 w 269747"/>
                <a:gd name="connsiteY59" fmla="*/ 225076 h 252698"/>
                <a:gd name="connsiteX60" fmla="*/ 238696 w 269747"/>
                <a:gd name="connsiteY60" fmla="*/ 229553 h 252698"/>
                <a:gd name="connsiteX61" fmla="*/ 234886 w 269747"/>
                <a:gd name="connsiteY61" fmla="*/ 228314 h 252698"/>
                <a:gd name="connsiteX62" fmla="*/ 232505 w 269747"/>
                <a:gd name="connsiteY62" fmla="*/ 237649 h 252698"/>
                <a:gd name="connsiteX63" fmla="*/ 228886 w 269747"/>
                <a:gd name="connsiteY63" fmla="*/ 238125 h 252698"/>
                <a:gd name="connsiteX64" fmla="*/ 229362 w 269747"/>
                <a:gd name="connsiteY64" fmla="*/ 241745 h 252698"/>
                <a:gd name="connsiteX65" fmla="*/ 225742 w 269747"/>
                <a:gd name="connsiteY65" fmla="*/ 242125 h 252698"/>
                <a:gd name="connsiteX66" fmla="*/ 226028 w 269747"/>
                <a:gd name="connsiteY66" fmla="*/ 243935 h 252698"/>
                <a:gd name="connsiteX67" fmla="*/ 218599 w 269747"/>
                <a:gd name="connsiteY67" fmla="*/ 243078 h 252698"/>
                <a:gd name="connsiteX68" fmla="*/ 213169 w 269747"/>
                <a:gd name="connsiteY68" fmla="*/ 243840 h 252698"/>
                <a:gd name="connsiteX69" fmla="*/ 209169 w 269747"/>
                <a:gd name="connsiteY69" fmla="*/ 240792 h 252698"/>
                <a:gd name="connsiteX70" fmla="*/ 192500 w 269747"/>
                <a:gd name="connsiteY70" fmla="*/ 239363 h 252698"/>
                <a:gd name="connsiteX71" fmla="*/ 189166 w 269747"/>
                <a:gd name="connsiteY71" fmla="*/ 241554 h 252698"/>
                <a:gd name="connsiteX72" fmla="*/ 186023 w 269747"/>
                <a:gd name="connsiteY72" fmla="*/ 245650 h 252698"/>
                <a:gd name="connsiteX73" fmla="*/ 186976 w 269747"/>
                <a:gd name="connsiteY73" fmla="*/ 252698 h 252698"/>
                <a:gd name="connsiteX74" fmla="*/ 183166 w 269747"/>
                <a:gd name="connsiteY74" fmla="*/ 251460 h 252698"/>
                <a:gd name="connsiteX75" fmla="*/ 180689 w 269747"/>
                <a:gd name="connsiteY75" fmla="*/ 246316 h 252698"/>
                <a:gd name="connsiteX76" fmla="*/ 182118 w 269747"/>
                <a:gd name="connsiteY76" fmla="*/ 229838 h 252698"/>
                <a:gd name="connsiteX77" fmla="*/ 189262 w 269747"/>
                <a:gd name="connsiteY77" fmla="*/ 228886 h 252698"/>
                <a:gd name="connsiteX78" fmla="*/ 188309 w 269747"/>
                <a:gd name="connsiteY78" fmla="*/ 221742 h 252698"/>
                <a:gd name="connsiteX79" fmla="*/ 195548 w 269747"/>
                <a:gd name="connsiteY79" fmla="*/ 220789 h 252698"/>
                <a:gd name="connsiteX80" fmla="*/ 192595 w 269747"/>
                <a:gd name="connsiteY80" fmla="*/ 212122 h 252698"/>
                <a:gd name="connsiteX81" fmla="*/ 193167 w 269747"/>
                <a:gd name="connsiteY81" fmla="*/ 202978 h 252698"/>
                <a:gd name="connsiteX82" fmla="*/ 187833 w 269747"/>
                <a:gd name="connsiteY82" fmla="*/ 203740 h 252698"/>
                <a:gd name="connsiteX83" fmla="*/ 185642 w 269747"/>
                <a:gd name="connsiteY83" fmla="*/ 214884 h 252698"/>
                <a:gd name="connsiteX84" fmla="*/ 169164 w 269747"/>
                <a:gd name="connsiteY84" fmla="*/ 215170 h 252698"/>
                <a:gd name="connsiteX85" fmla="*/ 163354 w 269747"/>
                <a:gd name="connsiteY85" fmla="*/ 212407 h 252698"/>
                <a:gd name="connsiteX86" fmla="*/ 158210 w 269747"/>
                <a:gd name="connsiteY86" fmla="*/ 214884 h 252698"/>
                <a:gd name="connsiteX87" fmla="*/ 156686 w 269747"/>
                <a:gd name="connsiteY87" fmla="*/ 216884 h 252698"/>
                <a:gd name="connsiteX88" fmla="*/ 156876 w 269747"/>
                <a:gd name="connsiteY88" fmla="*/ 218694 h 252698"/>
                <a:gd name="connsiteX89" fmla="*/ 149638 w 269747"/>
                <a:gd name="connsiteY89" fmla="*/ 219646 h 252698"/>
                <a:gd name="connsiteX90" fmla="*/ 150495 w 269747"/>
                <a:gd name="connsiteY90" fmla="*/ 212217 h 252698"/>
                <a:gd name="connsiteX91" fmla="*/ 153829 w 269747"/>
                <a:gd name="connsiteY91" fmla="*/ 195453 h 252698"/>
                <a:gd name="connsiteX92" fmla="*/ 150019 w 269747"/>
                <a:gd name="connsiteY92" fmla="*/ 194215 h 252698"/>
                <a:gd name="connsiteX93" fmla="*/ 149733 w 269747"/>
                <a:gd name="connsiteY93" fmla="*/ 192405 h 252698"/>
                <a:gd name="connsiteX94" fmla="*/ 147733 w 269747"/>
                <a:gd name="connsiteY94" fmla="*/ 190881 h 252698"/>
                <a:gd name="connsiteX95" fmla="*/ 152590 w 269747"/>
                <a:gd name="connsiteY95" fmla="*/ 186595 h 252698"/>
                <a:gd name="connsiteX96" fmla="*/ 150590 w 269747"/>
                <a:gd name="connsiteY96" fmla="*/ 185071 h 252698"/>
                <a:gd name="connsiteX97" fmla="*/ 139541 w 269747"/>
                <a:gd name="connsiteY97" fmla="*/ 184690 h 252698"/>
                <a:gd name="connsiteX98" fmla="*/ 137541 w 269747"/>
                <a:gd name="connsiteY98" fmla="*/ 183166 h 252698"/>
                <a:gd name="connsiteX99" fmla="*/ 134874 w 269747"/>
                <a:gd name="connsiteY99" fmla="*/ 190786 h 252698"/>
                <a:gd name="connsiteX100" fmla="*/ 118967 w 269747"/>
                <a:gd name="connsiteY100" fmla="*/ 194691 h 252698"/>
                <a:gd name="connsiteX101" fmla="*/ 116967 w 269747"/>
                <a:gd name="connsiteY101" fmla="*/ 193167 h 252698"/>
                <a:gd name="connsiteX102" fmla="*/ 115062 w 269747"/>
                <a:gd name="connsiteY102" fmla="*/ 178879 h 252698"/>
                <a:gd name="connsiteX103" fmla="*/ 109156 w 269747"/>
                <a:gd name="connsiteY103" fmla="*/ 176022 h 252698"/>
                <a:gd name="connsiteX104" fmla="*/ 110776 w 269747"/>
                <a:gd name="connsiteY104" fmla="*/ 174022 h 252698"/>
                <a:gd name="connsiteX105" fmla="*/ 101346 w 269747"/>
                <a:gd name="connsiteY105" fmla="*/ 171640 h 252698"/>
                <a:gd name="connsiteX106" fmla="*/ 94583 w 269747"/>
                <a:gd name="connsiteY106" fmla="*/ 176117 h 252698"/>
                <a:gd name="connsiteX107" fmla="*/ 82867 w 269747"/>
                <a:gd name="connsiteY107" fmla="*/ 170402 h 252698"/>
                <a:gd name="connsiteX108" fmla="*/ 83725 w 269747"/>
                <a:gd name="connsiteY108" fmla="*/ 163068 h 252698"/>
                <a:gd name="connsiteX109" fmla="*/ 62579 w 269747"/>
                <a:gd name="connsiteY109" fmla="*/ 154972 h 252698"/>
                <a:gd name="connsiteX110" fmla="*/ 62103 w 269747"/>
                <a:gd name="connsiteY110" fmla="*/ 151447 h 252698"/>
                <a:gd name="connsiteX111" fmla="*/ 58388 w 269747"/>
                <a:gd name="connsiteY111" fmla="*/ 137446 h 252698"/>
                <a:gd name="connsiteX112" fmla="*/ 54769 w 269747"/>
                <a:gd name="connsiteY112" fmla="*/ 137922 h 252698"/>
                <a:gd name="connsiteX113" fmla="*/ 48673 w 269747"/>
                <a:gd name="connsiteY113" fmla="*/ 133255 h 252698"/>
                <a:gd name="connsiteX114" fmla="*/ 43529 w 269747"/>
                <a:gd name="connsiteY114" fmla="*/ 135731 h 252698"/>
                <a:gd name="connsiteX115" fmla="*/ 42672 w 269747"/>
                <a:gd name="connsiteY115" fmla="*/ 143161 h 252698"/>
                <a:gd name="connsiteX116" fmla="*/ 38862 w 269747"/>
                <a:gd name="connsiteY116" fmla="*/ 141827 h 252698"/>
                <a:gd name="connsiteX117" fmla="*/ 31718 w 269747"/>
                <a:gd name="connsiteY117" fmla="*/ 142780 h 252698"/>
                <a:gd name="connsiteX118" fmla="*/ 26098 w 269747"/>
                <a:gd name="connsiteY118" fmla="*/ 141732 h 252698"/>
                <a:gd name="connsiteX119" fmla="*/ 22860 w 269747"/>
                <a:gd name="connsiteY119" fmla="*/ 131254 h 252698"/>
                <a:gd name="connsiteX120" fmla="*/ 16764 w 269747"/>
                <a:gd name="connsiteY120" fmla="*/ 126587 h 252698"/>
                <a:gd name="connsiteX121" fmla="*/ 17621 w 269747"/>
                <a:gd name="connsiteY121" fmla="*/ 119253 h 252698"/>
                <a:gd name="connsiteX122" fmla="*/ 11716 w 269747"/>
                <a:gd name="connsiteY122" fmla="*/ 116396 h 252698"/>
                <a:gd name="connsiteX123" fmla="*/ 8191 w 269747"/>
                <a:gd name="connsiteY123" fmla="*/ 116872 h 252698"/>
                <a:gd name="connsiteX124" fmla="*/ 5620 w 269747"/>
                <a:gd name="connsiteY124" fmla="*/ 111728 h 252698"/>
                <a:gd name="connsiteX125" fmla="*/ 0 w 269747"/>
                <a:gd name="connsiteY125" fmla="*/ 110680 h 252698"/>
                <a:gd name="connsiteX126" fmla="*/ 1619 w 269747"/>
                <a:gd name="connsiteY126" fmla="*/ 108680 h 252698"/>
                <a:gd name="connsiteX127" fmla="*/ 7334 w 269747"/>
                <a:gd name="connsiteY127" fmla="*/ 97060 h 252698"/>
                <a:gd name="connsiteX128" fmla="*/ 8953 w 269747"/>
                <a:gd name="connsiteY128" fmla="*/ 94964 h 252698"/>
                <a:gd name="connsiteX129" fmla="*/ 6382 w 269747"/>
                <a:gd name="connsiteY129" fmla="*/ 89916 h 252698"/>
                <a:gd name="connsiteX130" fmla="*/ 11620 w 269747"/>
                <a:gd name="connsiteY130" fmla="*/ 87439 h 252698"/>
                <a:gd name="connsiteX131" fmla="*/ 5715 w 269747"/>
                <a:gd name="connsiteY131" fmla="*/ 84582 h 252698"/>
                <a:gd name="connsiteX132" fmla="*/ 7525 w 269747"/>
                <a:gd name="connsiteY132" fmla="*/ 84296 h 252698"/>
                <a:gd name="connsiteX133" fmla="*/ 12859 w 269747"/>
                <a:gd name="connsiteY133" fmla="*/ 83629 h 252698"/>
                <a:gd name="connsiteX134" fmla="*/ 16859 w 269747"/>
                <a:gd name="connsiteY134" fmla="*/ 72199 h 252698"/>
                <a:gd name="connsiteX135" fmla="*/ 22860 w 269747"/>
                <a:gd name="connsiteY135" fmla="*/ 62294 h 252698"/>
                <a:gd name="connsiteX136" fmla="*/ 17431 w 269747"/>
                <a:gd name="connsiteY136" fmla="*/ 63055 h 252698"/>
                <a:gd name="connsiteX137" fmla="*/ 17240 w 269747"/>
                <a:gd name="connsiteY137" fmla="*/ 61246 h 252698"/>
                <a:gd name="connsiteX138" fmla="*/ 22384 w 269747"/>
                <a:gd name="connsiteY138" fmla="*/ 58769 h 252698"/>
                <a:gd name="connsiteX139" fmla="*/ 15621 w 269747"/>
                <a:gd name="connsiteY139" fmla="*/ 48768 h 252698"/>
                <a:gd name="connsiteX140" fmla="*/ 17145 w 269747"/>
                <a:gd name="connsiteY140" fmla="*/ 46768 h 252698"/>
                <a:gd name="connsiteX141" fmla="*/ 16669 w 269747"/>
                <a:gd name="connsiteY141" fmla="*/ 43243 h 252698"/>
                <a:gd name="connsiteX142" fmla="*/ 20002 w 269747"/>
                <a:gd name="connsiteY142" fmla="*/ 40958 h 252698"/>
                <a:gd name="connsiteX143" fmla="*/ 19336 w 269747"/>
                <a:gd name="connsiteY143" fmla="*/ 35623 h 252698"/>
                <a:gd name="connsiteX144" fmla="*/ 25336 w 269747"/>
                <a:gd name="connsiteY144" fmla="*/ 25717 h 252698"/>
                <a:gd name="connsiteX145" fmla="*/ 30004 w 269747"/>
                <a:gd name="connsiteY145" fmla="*/ 19717 h 252698"/>
                <a:gd name="connsiteX146" fmla="*/ 40195 w 269747"/>
                <a:gd name="connsiteY146" fmla="*/ 27432 h 252698"/>
                <a:gd name="connsiteX147" fmla="*/ 45529 w 269747"/>
                <a:gd name="connsiteY147" fmla="*/ 26670 h 252698"/>
                <a:gd name="connsiteX148" fmla="*/ 43529 w 269747"/>
                <a:gd name="connsiteY148" fmla="*/ 25146 h 252698"/>
                <a:gd name="connsiteX149" fmla="*/ 50959 w 269747"/>
                <a:gd name="connsiteY149" fmla="*/ 26003 h 252698"/>
                <a:gd name="connsiteX150" fmla="*/ 53721 w 269747"/>
                <a:gd name="connsiteY150" fmla="*/ 32861 h 252698"/>
                <a:gd name="connsiteX151" fmla="*/ 55721 w 269747"/>
                <a:gd name="connsiteY151" fmla="*/ 34385 h 252698"/>
                <a:gd name="connsiteX152" fmla="*/ 57055 w 269747"/>
                <a:gd name="connsiteY152" fmla="*/ 30671 h 252698"/>
                <a:gd name="connsiteX153" fmla="*/ 71723 w 269747"/>
                <a:gd name="connsiteY153" fmla="*/ 44958 h 252698"/>
                <a:gd name="connsiteX154" fmla="*/ 65532 w 269747"/>
                <a:gd name="connsiteY154" fmla="*/ 53054 h 252698"/>
                <a:gd name="connsiteX155" fmla="*/ 72295 w 269747"/>
                <a:gd name="connsiteY155" fmla="*/ 63055 h 252698"/>
                <a:gd name="connsiteX156" fmla="*/ 80200 w 269747"/>
                <a:gd name="connsiteY156" fmla="*/ 67437 h 252698"/>
                <a:gd name="connsiteX157" fmla="*/ 78867 w 269747"/>
                <a:gd name="connsiteY157" fmla="*/ 71247 h 252698"/>
                <a:gd name="connsiteX158" fmla="*/ 90106 w 269747"/>
                <a:gd name="connsiteY158" fmla="*/ 73438 h 252698"/>
                <a:gd name="connsiteX159" fmla="*/ 95536 w 269747"/>
                <a:gd name="connsiteY159" fmla="*/ 72676 h 252698"/>
                <a:gd name="connsiteX160" fmla="*/ 90488 w 269747"/>
                <a:gd name="connsiteY160" fmla="*/ 62484 h 252698"/>
                <a:gd name="connsiteX161" fmla="*/ 90297 w 269747"/>
                <a:gd name="connsiteY161" fmla="*/ 60674 h 252698"/>
                <a:gd name="connsiteX162" fmla="*/ 93440 w 269747"/>
                <a:gd name="connsiteY162" fmla="*/ 56579 h 252698"/>
                <a:gd name="connsiteX163" fmla="*/ 96774 w 269747"/>
                <a:gd name="connsiteY163" fmla="*/ 54388 h 252698"/>
                <a:gd name="connsiteX164" fmla="*/ 101251 w 269747"/>
                <a:gd name="connsiteY164" fmla="*/ 61055 h 252698"/>
                <a:gd name="connsiteX165" fmla="*/ 102394 w 269747"/>
                <a:gd name="connsiteY165" fmla="*/ 55436 h 252698"/>
                <a:gd name="connsiteX166" fmla="*/ 108871 w 269747"/>
                <a:gd name="connsiteY166" fmla="*/ 49149 h 252698"/>
                <a:gd name="connsiteX167" fmla="*/ 110871 w 269747"/>
                <a:gd name="connsiteY167" fmla="*/ 50673 h 252698"/>
                <a:gd name="connsiteX168" fmla="*/ 112014 w 269747"/>
                <a:gd name="connsiteY168" fmla="*/ 59627 h 252698"/>
                <a:gd name="connsiteX169" fmla="*/ 119253 w 269747"/>
                <a:gd name="connsiteY169" fmla="*/ 58674 h 252698"/>
                <a:gd name="connsiteX170" fmla="*/ 116491 w 269747"/>
                <a:gd name="connsiteY170" fmla="*/ 51816 h 252698"/>
                <a:gd name="connsiteX171" fmla="*/ 118110 w 269747"/>
                <a:gd name="connsiteY171" fmla="*/ 49721 h 252698"/>
                <a:gd name="connsiteX172" fmla="*/ 116014 w 269747"/>
                <a:gd name="connsiteY172" fmla="*/ 48196 h 252698"/>
                <a:gd name="connsiteX173" fmla="*/ 119443 w 269747"/>
                <a:gd name="connsiteY173" fmla="*/ 45910 h 252698"/>
                <a:gd name="connsiteX174" fmla="*/ 111538 w 269747"/>
                <a:gd name="connsiteY174" fmla="*/ 41529 h 252698"/>
                <a:gd name="connsiteX175" fmla="*/ 113347 w 269747"/>
                <a:gd name="connsiteY175" fmla="*/ 41338 h 252698"/>
                <a:gd name="connsiteX176" fmla="*/ 120491 w 269747"/>
                <a:gd name="connsiteY176" fmla="*/ 40291 h 252698"/>
                <a:gd name="connsiteX177" fmla="*/ 118205 w 269747"/>
                <a:gd name="connsiteY177" fmla="*/ 37052 h 252698"/>
                <a:gd name="connsiteX178" fmla="*/ 121063 w 269747"/>
                <a:gd name="connsiteY178" fmla="*/ 31242 h 252698"/>
                <a:gd name="connsiteX179" fmla="*/ 130588 w 269747"/>
                <a:gd name="connsiteY179" fmla="*/ 33528 h 252698"/>
                <a:gd name="connsiteX180" fmla="*/ 133636 w 269747"/>
                <a:gd name="connsiteY180" fmla="*/ 29527 h 252698"/>
                <a:gd name="connsiteX181" fmla="*/ 131635 w 269747"/>
                <a:gd name="connsiteY181" fmla="*/ 28004 h 252698"/>
                <a:gd name="connsiteX182" fmla="*/ 131159 w 269747"/>
                <a:gd name="connsiteY182" fmla="*/ 24384 h 252698"/>
                <a:gd name="connsiteX183" fmla="*/ 134779 w 269747"/>
                <a:gd name="connsiteY183" fmla="*/ 24003 h 252698"/>
                <a:gd name="connsiteX184" fmla="*/ 134588 w 269747"/>
                <a:gd name="connsiteY184" fmla="*/ 22193 h 252698"/>
                <a:gd name="connsiteX185" fmla="*/ 135636 w 269747"/>
                <a:gd name="connsiteY185" fmla="*/ 16573 h 252698"/>
                <a:gd name="connsiteX186" fmla="*/ 139255 w 269747"/>
                <a:gd name="connsiteY186" fmla="*/ 16097 h 252698"/>
                <a:gd name="connsiteX187" fmla="*/ 144113 w 269747"/>
                <a:gd name="connsiteY187" fmla="*/ 11811 h 252698"/>
                <a:gd name="connsiteX188" fmla="*/ 147923 w 269747"/>
                <a:gd name="connsiteY188" fmla="*/ 13144 h 252698"/>
                <a:gd name="connsiteX189" fmla="*/ 151924 w 269747"/>
                <a:gd name="connsiteY189" fmla="*/ 1714 h 252698"/>
                <a:gd name="connsiteX190" fmla="*/ 156210 w 269747"/>
                <a:gd name="connsiteY190" fmla="*/ 6572 h 252698"/>
                <a:gd name="connsiteX191" fmla="*/ 168783 w 269747"/>
                <a:gd name="connsiteY191" fmla="*/ 4953 h 252698"/>
                <a:gd name="connsiteX192" fmla="*/ 171545 w 269747"/>
                <a:gd name="connsiteY192" fmla="*/ 11811 h 252698"/>
                <a:gd name="connsiteX193" fmla="*/ 176974 w 269747"/>
                <a:gd name="connsiteY193" fmla="*/ 11144 h 252698"/>
                <a:gd name="connsiteX194" fmla="*/ 178784 w 269747"/>
                <a:gd name="connsiteY194" fmla="*/ 10858 h 252698"/>
                <a:gd name="connsiteX195" fmla="*/ 176498 w 269747"/>
                <a:gd name="connsiteY195" fmla="*/ 7525 h 252698"/>
                <a:gd name="connsiteX196" fmla="*/ 177832 w 269747"/>
                <a:gd name="connsiteY196" fmla="*/ 3715 h 252698"/>
                <a:gd name="connsiteX197" fmla="*/ 179546 w 269747"/>
                <a:gd name="connsiteY197" fmla="*/ 3524 h 252698"/>
                <a:gd name="connsiteX198" fmla="*/ 179070 w 269747"/>
                <a:gd name="connsiteY198" fmla="*/ 0 h 252698"/>
                <a:gd name="connsiteX199" fmla="*/ 191071 w 269747"/>
                <a:gd name="connsiteY199" fmla="*/ 7429 h 252698"/>
                <a:gd name="connsiteX200" fmla="*/ 196882 w 269747"/>
                <a:gd name="connsiteY200" fmla="*/ 10287 h 25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69747" h="252698">
                  <a:moveTo>
                    <a:pt x="196882" y="10287"/>
                  </a:moveTo>
                  <a:lnTo>
                    <a:pt x="185261" y="19050"/>
                  </a:lnTo>
                  <a:lnTo>
                    <a:pt x="174022" y="16954"/>
                  </a:lnTo>
                  <a:lnTo>
                    <a:pt x="174498" y="20479"/>
                  </a:lnTo>
                  <a:lnTo>
                    <a:pt x="167830" y="25051"/>
                  </a:lnTo>
                  <a:lnTo>
                    <a:pt x="170116" y="28384"/>
                  </a:lnTo>
                  <a:lnTo>
                    <a:pt x="173641" y="27908"/>
                  </a:lnTo>
                  <a:lnTo>
                    <a:pt x="178498" y="36290"/>
                  </a:lnTo>
                  <a:lnTo>
                    <a:pt x="185642" y="35338"/>
                  </a:lnTo>
                  <a:lnTo>
                    <a:pt x="192214" y="43529"/>
                  </a:lnTo>
                  <a:lnTo>
                    <a:pt x="197644" y="57340"/>
                  </a:lnTo>
                  <a:lnTo>
                    <a:pt x="192500" y="59817"/>
                  </a:lnTo>
                  <a:lnTo>
                    <a:pt x="191167" y="63627"/>
                  </a:lnTo>
                  <a:lnTo>
                    <a:pt x="206978" y="72390"/>
                  </a:lnTo>
                  <a:lnTo>
                    <a:pt x="214598" y="75057"/>
                  </a:lnTo>
                  <a:lnTo>
                    <a:pt x="215360" y="80391"/>
                  </a:lnTo>
                  <a:lnTo>
                    <a:pt x="218980" y="79915"/>
                  </a:lnTo>
                  <a:lnTo>
                    <a:pt x="220980" y="81439"/>
                  </a:lnTo>
                  <a:lnTo>
                    <a:pt x="213360" y="93345"/>
                  </a:lnTo>
                  <a:lnTo>
                    <a:pt x="217646" y="98203"/>
                  </a:lnTo>
                  <a:lnTo>
                    <a:pt x="229457" y="103918"/>
                  </a:lnTo>
                  <a:lnTo>
                    <a:pt x="233648" y="94297"/>
                  </a:lnTo>
                  <a:lnTo>
                    <a:pt x="250222" y="81248"/>
                  </a:lnTo>
                  <a:lnTo>
                    <a:pt x="252603" y="71819"/>
                  </a:lnTo>
                  <a:lnTo>
                    <a:pt x="256222" y="71342"/>
                  </a:lnTo>
                  <a:lnTo>
                    <a:pt x="257461" y="67532"/>
                  </a:lnTo>
                  <a:lnTo>
                    <a:pt x="266509" y="66389"/>
                  </a:lnTo>
                  <a:lnTo>
                    <a:pt x="269748" y="76771"/>
                  </a:lnTo>
                  <a:lnTo>
                    <a:pt x="263176" y="83058"/>
                  </a:lnTo>
                  <a:lnTo>
                    <a:pt x="258794" y="90964"/>
                  </a:lnTo>
                  <a:lnTo>
                    <a:pt x="261747" y="99631"/>
                  </a:lnTo>
                  <a:lnTo>
                    <a:pt x="258127" y="100108"/>
                  </a:lnTo>
                  <a:lnTo>
                    <a:pt x="262223" y="103156"/>
                  </a:lnTo>
                  <a:lnTo>
                    <a:pt x="262699" y="106775"/>
                  </a:lnTo>
                  <a:lnTo>
                    <a:pt x="255937" y="111252"/>
                  </a:lnTo>
                  <a:lnTo>
                    <a:pt x="256222" y="113062"/>
                  </a:lnTo>
                  <a:lnTo>
                    <a:pt x="262033" y="115919"/>
                  </a:lnTo>
                  <a:lnTo>
                    <a:pt x="260985" y="121444"/>
                  </a:lnTo>
                  <a:lnTo>
                    <a:pt x="262414" y="132207"/>
                  </a:lnTo>
                  <a:lnTo>
                    <a:pt x="262890" y="135731"/>
                  </a:lnTo>
                  <a:lnTo>
                    <a:pt x="261271" y="137731"/>
                  </a:lnTo>
                  <a:lnTo>
                    <a:pt x="257746" y="138208"/>
                  </a:lnTo>
                  <a:lnTo>
                    <a:pt x="252508" y="140684"/>
                  </a:lnTo>
                  <a:lnTo>
                    <a:pt x="254794" y="144018"/>
                  </a:lnTo>
                  <a:lnTo>
                    <a:pt x="240697" y="147733"/>
                  </a:lnTo>
                  <a:lnTo>
                    <a:pt x="241649" y="154877"/>
                  </a:lnTo>
                  <a:lnTo>
                    <a:pt x="240506" y="160496"/>
                  </a:lnTo>
                  <a:lnTo>
                    <a:pt x="250507" y="166402"/>
                  </a:lnTo>
                  <a:lnTo>
                    <a:pt x="244221" y="174498"/>
                  </a:lnTo>
                  <a:lnTo>
                    <a:pt x="246697" y="179546"/>
                  </a:lnTo>
                  <a:lnTo>
                    <a:pt x="244983" y="179832"/>
                  </a:lnTo>
                  <a:lnTo>
                    <a:pt x="246793" y="194024"/>
                  </a:lnTo>
                  <a:lnTo>
                    <a:pt x="251365" y="200692"/>
                  </a:lnTo>
                  <a:lnTo>
                    <a:pt x="258794" y="201549"/>
                  </a:lnTo>
                  <a:lnTo>
                    <a:pt x="259080" y="203359"/>
                  </a:lnTo>
                  <a:lnTo>
                    <a:pt x="255460" y="203835"/>
                  </a:lnTo>
                  <a:lnTo>
                    <a:pt x="255079" y="214789"/>
                  </a:lnTo>
                  <a:lnTo>
                    <a:pt x="256222" y="223647"/>
                  </a:lnTo>
                  <a:lnTo>
                    <a:pt x="247459" y="226600"/>
                  </a:lnTo>
                  <a:lnTo>
                    <a:pt x="245459" y="225076"/>
                  </a:lnTo>
                  <a:lnTo>
                    <a:pt x="238696" y="229553"/>
                  </a:lnTo>
                  <a:lnTo>
                    <a:pt x="234886" y="228314"/>
                  </a:lnTo>
                  <a:lnTo>
                    <a:pt x="232505" y="237649"/>
                  </a:lnTo>
                  <a:lnTo>
                    <a:pt x="228886" y="238125"/>
                  </a:lnTo>
                  <a:lnTo>
                    <a:pt x="229362" y="241745"/>
                  </a:lnTo>
                  <a:lnTo>
                    <a:pt x="225742" y="242125"/>
                  </a:lnTo>
                  <a:lnTo>
                    <a:pt x="226028" y="243935"/>
                  </a:lnTo>
                  <a:lnTo>
                    <a:pt x="218599" y="243078"/>
                  </a:lnTo>
                  <a:lnTo>
                    <a:pt x="213169" y="243840"/>
                  </a:lnTo>
                  <a:lnTo>
                    <a:pt x="209169" y="240792"/>
                  </a:lnTo>
                  <a:lnTo>
                    <a:pt x="192500" y="239363"/>
                  </a:lnTo>
                  <a:lnTo>
                    <a:pt x="189166" y="241554"/>
                  </a:lnTo>
                  <a:lnTo>
                    <a:pt x="186023" y="245650"/>
                  </a:lnTo>
                  <a:lnTo>
                    <a:pt x="186976" y="252698"/>
                  </a:lnTo>
                  <a:lnTo>
                    <a:pt x="183166" y="251460"/>
                  </a:lnTo>
                  <a:lnTo>
                    <a:pt x="180689" y="246316"/>
                  </a:lnTo>
                  <a:lnTo>
                    <a:pt x="182118" y="229838"/>
                  </a:lnTo>
                  <a:lnTo>
                    <a:pt x="189262" y="228886"/>
                  </a:lnTo>
                  <a:lnTo>
                    <a:pt x="188309" y="221742"/>
                  </a:lnTo>
                  <a:lnTo>
                    <a:pt x="195548" y="220789"/>
                  </a:lnTo>
                  <a:lnTo>
                    <a:pt x="192595" y="212122"/>
                  </a:lnTo>
                  <a:lnTo>
                    <a:pt x="193167" y="202978"/>
                  </a:lnTo>
                  <a:lnTo>
                    <a:pt x="187833" y="203740"/>
                  </a:lnTo>
                  <a:lnTo>
                    <a:pt x="185642" y="214884"/>
                  </a:lnTo>
                  <a:lnTo>
                    <a:pt x="169164" y="215170"/>
                  </a:lnTo>
                  <a:lnTo>
                    <a:pt x="163354" y="212407"/>
                  </a:lnTo>
                  <a:lnTo>
                    <a:pt x="158210" y="214884"/>
                  </a:lnTo>
                  <a:lnTo>
                    <a:pt x="156686" y="216884"/>
                  </a:lnTo>
                  <a:lnTo>
                    <a:pt x="156876" y="218694"/>
                  </a:lnTo>
                  <a:lnTo>
                    <a:pt x="149638" y="219646"/>
                  </a:lnTo>
                  <a:lnTo>
                    <a:pt x="150495" y="212217"/>
                  </a:lnTo>
                  <a:lnTo>
                    <a:pt x="153829" y="195453"/>
                  </a:lnTo>
                  <a:lnTo>
                    <a:pt x="150019" y="194215"/>
                  </a:lnTo>
                  <a:lnTo>
                    <a:pt x="149733" y="192405"/>
                  </a:lnTo>
                  <a:lnTo>
                    <a:pt x="147733" y="190881"/>
                  </a:lnTo>
                  <a:lnTo>
                    <a:pt x="152590" y="186595"/>
                  </a:lnTo>
                  <a:lnTo>
                    <a:pt x="150590" y="185071"/>
                  </a:lnTo>
                  <a:lnTo>
                    <a:pt x="139541" y="184690"/>
                  </a:lnTo>
                  <a:lnTo>
                    <a:pt x="137541" y="183166"/>
                  </a:lnTo>
                  <a:lnTo>
                    <a:pt x="134874" y="190786"/>
                  </a:lnTo>
                  <a:lnTo>
                    <a:pt x="118967" y="194691"/>
                  </a:lnTo>
                  <a:lnTo>
                    <a:pt x="116967" y="193167"/>
                  </a:lnTo>
                  <a:lnTo>
                    <a:pt x="115062" y="178879"/>
                  </a:lnTo>
                  <a:lnTo>
                    <a:pt x="109156" y="176022"/>
                  </a:lnTo>
                  <a:lnTo>
                    <a:pt x="110776" y="174022"/>
                  </a:lnTo>
                  <a:lnTo>
                    <a:pt x="101346" y="171640"/>
                  </a:lnTo>
                  <a:lnTo>
                    <a:pt x="94583" y="176117"/>
                  </a:lnTo>
                  <a:lnTo>
                    <a:pt x="82867" y="170402"/>
                  </a:lnTo>
                  <a:lnTo>
                    <a:pt x="83725" y="163068"/>
                  </a:lnTo>
                  <a:lnTo>
                    <a:pt x="62579" y="154972"/>
                  </a:lnTo>
                  <a:lnTo>
                    <a:pt x="62103" y="151447"/>
                  </a:lnTo>
                  <a:lnTo>
                    <a:pt x="58388" y="137446"/>
                  </a:lnTo>
                  <a:lnTo>
                    <a:pt x="54769" y="137922"/>
                  </a:lnTo>
                  <a:lnTo>
                    <a:pt x="48673" y="133255"/>
                  </a:lnTo>
                  <a:lnTo>
                    <a:pt x="43529" y="135731"/>
                  </a:lnTo>
                  <a:lnTo>
                    <a:pt x="42672" y="143161"/>
                  </a:lnTo>
                  <a:lnTo>
                    <a:pt x="38862" y="141827"/>
                  </a:lnTo>
                  <a:lnTo>
                    <a:pt x="31718" y="142780"/>
                  </a:lnTo>
                  <a:lnTo>
                    <a:pt x="26098" y="141732"/>
                  </a:lnTo>
                  <a:lnTo>
                    <a:pt x="22860" y="131254"/>
                  </a:lnTo>
                  <a:lnTo>
                    <a:pt x="16764" y="126587"/>
                  </a:lnTo>
                  <a:lnTo>
                    <a:pt x="17621" y="119253"/>
                  </a:lnTo>
                  <a:lnTo>
                    <a:pt x="11716" y="116396"/>
                  </a:lnTo>
                  <a:lnTo>
                    <a:pt x="8191" y="116872"/>
                  </a:lnTo>
                  <a:lnTo>
                    <a:pt x="5620" y="111728"/>
                  </a:lnTo>
                  <a:lnTo>
                    <a:pt x="0" y="110680"/>
                  </a:lnTo>
                  <a:lnTo>
                    <a:pt x="1619" y="108680"/>
                  </a:lnTo>
                  <a:lnTo>
                    <a:pt x="7334" y="97060"/>
                  </a:lnTo>
                  <a:lnTo>
                    <a:pt x="8953" y="94964"/>
                  </a:lnTo>
                  <a:lnTo>
                    <a:pt x="6382" y="89916"/>
                  </a:lnTo>
                  <a:lnTo>
                    <a:pt x="11620" y="87439"/>
                  </a:lnTo>
                  <a:lnTo>
                    <a:pt x="5715" y="84582"/>
                  </a:lnTo>
                  <a:lnTo>
                    <a:pt x="7525" y="84296"/>
                  </a:lnTo>
                  <a:lnTo>
                    <a:pt x="12859" y="83629"/>
                  </a:lnTo>
                  <a:lnTo>
                    <a:pt x="16859" y="72199"/>
                  </a:lnTo>
                  <a:lnTo>
                    <a:pt x="22860" y="62294"/>
                  </a:lnTo>
                  <a:lnTo>
                    <a:pt x="17431" y="63055"/>
                  </a:lnTo>
                  <a:lnTo>
                    <a:pt x="17240" y="61246"/>
                  </a:lnTo>
                  <a:lnTo>
                    <a:pt x="22384" y="58769"/>
                  </a:lnTo>
                  <a:lnTo>
                    <a:pt x="15621" y="48768"/>
                  </a:lnTo>
                  <a:lnTo>
                    <a:pt x="17145" y="46768"/>
                  </a:lnTo>
                  <a:lnTo>
                    <a:pt x="16669" y="43243"/>
                  </a:lnTo>
                  <a:lnTo>
                    <a:pt x="20002" y="40958"/>
                  </a:lnTo>
                  <a:lnTo>
                    <a:pt x="19336" y="35623"/>
                  </a:lnTo>
                  <a:lnTo>
                    <a:pt x="25336" y="25717"/>
                  </a:lnTo>
                  <a:lnTo>
                    <a:pt x="30004" y="19717"/>
                  </a:lnTo>
                  <a:lnTo>
                    <a:pt x="40195" y="27432"/>
                  </a:lnTo>
                  <a:lnTo>
                    <a:pt x="45529" y="26670"/>
                  </a:lnTo>
                  <a:lnTo>
                    <a:pt x="43529" y="25146"/>
                  </a:lnTo>
                  <a:lnTo>
                    <a:pt x="50959" y="26003"/>
                  </a:lnTo>
                  <a:lnTo>
                    <a:pt x="53721" y="32861"/>
                  </a:lnTo>
                  <a:lnTo>
                    <a:pt x="55721" y="34385"/>
                  </a:lnTo>
                  <a:lnTo>
                    <a:pt x="57055" y="30671"/>
                  </a:lnTo>
                  <a:lnTo>
                    <a:pt x="71723" y="44958"/>
                  </a:lnTo>
                  <a:lnTo>
                    <a:pt x="65532" y="53054"/>
                  </a:lnTo>
                  <a:lnTo>
                    <a:pt x="72295" y="63055"/>
                  </a:lnTo>
                  <a:lnTo>
                    <a:pt x="80200" y="67437"/>
                  </a:lnTo>
                  <a:lnTo>
                    <a:pt x="78867" y="71247"/>
                  </a:lnTo>
                  <a:lnTo>
                    <a:pt x="90106" y="73438"/>
                  </a:lnTo>
                  <a:lnTo>
                    <a:pt x="95536" y="72676"/>
                  </a:lnTo>
                  <a:lnTo>
                    <a:pt x="90488" y="62484"/>
                  </a:lnTo>
                  <a:lnTo>
                    <a:pt x="90297" y="60674"/>
                  </a:lnTo>
                  <a:lnTo>
                    <a:pt x="93440" y="56579"/>
                  </a:lnTo>
                  <a:lnTo>
                    <a:pt x="96774" y="54388"/>
                  </a:lnTo>
                  <a:lnTo>
                    <a:pt x="101251" y="61055"/>
                  </a:lnTo>
                  <a:lnTo>
                    <a:pt x="102394" y="55436"/>
                  </a:lnTo>
                  <a:lnTo>
                    <a:pt x="108871" y="49149"/>
                  </a:lnTo>
                  <a:lnTo>
                    <a:pt x="110871" y="50673"/>
                  </a:lnTo>
                  <a:lnTo>
                    <a:pt x="112014" y="59627"/>
                  </a:lnTo>
                  <a:lnTo>
                    <a:pt x="119253" y="58674"/>
                  </a:lnTo>
                  <a:lnTo>
                    <a:pt x="116491" y="51816"/>
                  </a:lnTo>
                  <a:lnTo>
                    <a:pt x="118110" y="49721"/>
                  </a:lnTo>
                  <a:lnTo>
                    <a:pt x="116014" y="48196"/>
                  </a:lnTo>
                  <a:lnTo>
                    <a:pt x="119443" y="45910"/>
                  </a:lnTo>
                  <a:lnTo>
                    <a:pt x="111538" y="41529"/>
                  </a:lnTo>
                  <a:lnTo>
                    <a:pt x="113347" y="41338"/>
                  </a:lnTo>
                  <a:lnTo>
                    <a:pt x="120491" y="40291"/>
                  </a:lnTo>
                  <a:lnTo>
                    <a:pt x="118205" y="37052"/>
                  </a:lnTo>
                  <a:lnTo>
                    <a:pt x="121063" y="31242"/>
                  </a:lnTo>
                  <a:lnTo>
                    <a:pt x="130588" y="33528"/>
                  </a:lnTo>
                  <a:lnTo>
                    <a:pt x="133636" y="29527"/>
                  </a:lnTo>
                  <a:lnTo>
                    <a:pt x="131635" y="28004"/>
                  </a:lnTo>
                  <a:lnTo>
                    <a:pt x="131159" y="24384"/>
                  </a:lnTo>
                  <a:lnTo>
                    <a:pt x="134779" y="24003"/>
                  </a:lnTo>
                  <a:lnTo>
                    <a:pt x="134588" y="22193"/>
                  </a:lnTo>
                  <a:lnTo>
                    <a:pt x="135636" y="16573"/>
                  </a:lnTo>
                  <a:lnTo>
                    <a:pt x="139255" y="16097"/>
                  </a:lnTo>
                  <a:lnTo>
                    <a:pt x="144113" y="11811"/>
                  </a:lnTo>
                  <a:lnTo>
                    <a:pt x="147923" y="13144"/>
                  </a:lnTo>
                  <a:lnTo>
                    <a:pt x="151924" y="1714"/>
                  </a:lnTo>
                  <a:lnTo>
                    <a:pt x="156210" y="6572"/>
                  </a:lnTo>
                  <a:lnTo>
                    <a:pt x="168783" y="4953"/>
                  </a:lnTo>
                  <a:lnTo>
                    <a:pt x="171545" y="11811"/>
                  </a:lnTo>
                  <a:lnTo>
                    <a:pt x="176974" y="11144"/>
                  </a:lnTo>
                  <a:lnTo>
                    <a:pt x="178784" y="10858"/>
                  </a:lnTo>
                  <a:lnTo>
                    <a:pt x="176498" y="7525"/>
                  </a:lnTo>
                  <a:lnTo>
                    <a:pt x="177832" y="3715"/>
                  </a:lnTo>
                  <a:lnTo>
                    <a:pt x="179546" y="3524"/>
                  </a:lnTo>
                  <a:lnTo>
                    <a:pt x="179070" y="0"/>
                  </a:lnTo>
                  <a:lnTo>
                    <a:pt x="191071" y="7429"/>
                  </a:lnTo>
                  <a:lnTo>
                    <a:pt x="196882" y="102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6" name="Volný tvar: obrazec 55">
              <a:extLst>
                <a:ext uri="{FF2B5EF4-FFF2-40B4-BE49-F238E27FC236}">
                  <a16:creationId xmlns:a16="http://schemas.microsoft.com/office/drawing/2014/main" id="{FC5A1216-FCFC-6373-045F-6EC1091F2D6A}"/>
                </a:ext>
              </a:extLst>
            </p:cNvPr>
            <p:cNvSpPr/>
            <p:nvPr userDrawn="1"/>
          </p:nvSpPr>
          <p:spPr>
            <a:xfrm>
              <a:off x="6152149" y="4371974"/>
              <a:ext cx="853154" cy="506729"/>
            </a:xfrm>
            <a:custGeom>
              <a:avLst/>
              <a:gdLst>
                <a:gd name="connsiteX0" fmla="*/ 842486 w 853154"/>
                <a:gd name="connsiteY0" fmla="*/ 133636 h 506729"/>
                <a:gd name="connsiteX1" fmla="*/ 834390 w 853154"/>
                <a:gd name="connsiteY1" fmla="*/ 141922 h 506729"/>
                <a:gd name="connsiteX2" fmla="*/ 848201 w 853154"/>
                <a:gd name="connsiteY2" fmla="*/ 149162 h 506729"/>
                <a:gd name="connsiteX3" fmla="*/ 845344 w 853154"/>
                <a:gd name="connsiteY3" fmla="*/ 154972 h 506729"/>
                <a:gd name="connsiteX4" fmla="*/ 853154 w 853154"/>
                <a:gd name="connsiteY4" fmla="*/ 159448 h 506729"/>
                <a:gd name="connsiteX5" fmla="*/ 847154 w 853154"/>
                <a:gd name="connsiteY5" fmla="*/ 169259 h 506729"/>
                <a:gd name="connsiteX6" fmla="*/ 842010 w 853154"/>
                <a:gd name="connsiteY6" fmla="*/ 171736 h 506729"/>
                <a:gd name="connsiteX7" fmla="*/ 842486 w 853154"/>
                <a:gd name="connsiteY7" fmla="*/ 175355 h 506729"/>
                <a:gd name="connsiteX8" fmla="*/ 829913 w 853154"/>
                <a:gd name="connsiteY8" fmla="*/ 176974 h 506729"/>
                <a:gd name="connsiteX9" fmla="*/ 832961 w 853154"/>
                <a:gd name="connsiteY9" fmla="*/ 185642 h 506729"/>
                <a:gd name="connsiteX10" fmla="*/ 842391 w 853154"/>
                <a:gd name="connsiteY10" fmla="*/ 188023 h 506729"/>
                <a:gd name="connsiteX11" fmla="*/ 833247 w 853154"/>
                <a:gd name="connsiteY11" fmla="*/ 201930 h 506729"/>
                <a:gd name="connsiteX12" fmla="*/ 827151 w 853154"/>
                <a:gd name="connsiteY12" fmla="*/ 197263 h 506729"/>
                <a:gd name="connsiteX13" fmla="*/ 819531 w 853154"/>
                <a:gd name="connsiteY13" fmla="*/ 209169 h 506729"/>
                <a:gd name="connsiteX14" fmla="*/ 815816 w 853154"/>
                <a:gd name="connsiteY14" fmla="*/ 222409 h 506729"/>
                <a:gd name="connsiteX15" fmla="*/ 838581 w 853154"/>
                <a:gd name="connsiteY15" fmla="*/ 228409 h 506729"/>
                <a:gd name="connsiteX16" fmla="*/ 842867 w 853154"/>
                <a:gd name="connsiteY16" fmla="*/ 233267 h 506729"/>
                <a:gd name="connsiteX17" fmla="*/ 848963 w 853154"/>
                <a:gd name="connsiteY17" fmla="*/ 237934 h 506729"/>
                <a:gd name="connsiteX18" fmla="*/ 850202 w 853154"/>
                <a:gd name="connsiteY18" fmla="*/ 261366 h 506729"/>
                <a:gd name="connsiteX19" fmla="*/ 828008 w 853154"/>
                <a:gd name="connsiteY19" fmla="*/ 273367 h 506729"/>
                <a:gd name="connsiteX20" fmla="*/ 822008 w 853154"/>
                <a:gd name="connsiteY20" fmla="*/ 283178 h 506729"/>
                <a:gd name="connsiteX21" fmla="*/ 813149 w 853154"/>
                <a:gd name="connsiteY21" fmla="*/ 298894 h 506729"/>
                <a:gd name="connsiteX22" fmla="*/ 819245 w 853154"/>
                <a:gd name="connsiteY22" fmla="*/ 303466 h 506729"/>
                <a:gd name="connsiteX23" fmla="*/ 813911 w 853154"/>
                <a:gd name="connsiteY23" fmla="*/ 318706 h 506729"/>
                <a:gd name="connsiteX24" fmla="*/ 810101 w 853154"/>
                <a:gd name="connsiteY24" fmla="*/ 317373 h 506729"/>
                <a:gd name="connsiteX25" fmla="*/ 812673 w 853154"/>
                <a:gd name="connsiteY25" fmla="*/ 322516 h 506729"/>
                <a:gd name="connsiteX26" fmla="*/ 805339 w 853154"/>
                <a:gd name="connsiteY26" fmla="*/ 336137 h 506729"/>
                <a:gd name="connsiteX27" fmla="*/ 802196 w 853154"/>
                <a:gd name="connsiteY27" fmla="*/ 340233 h 506729"/>
                <a:gd name="connsiteX28" fmla="*/ 806291 w 853154"/>
                <a:gd name="connsiteY28" fmla="*/ 343281 h 506729"/>
                <a:gd name="connsiteX29" fmla="*/ 812006 w 853154"/>
                <a:gd name="connsiteY29" fmla="*/ 358807 h 506729"/>
                <a:gd name="connsiteX30" fmla="*/ 811339 w 853154"/>
                <a:gd name="connsiteY30" fmla="*/ 367951 h 506729"/>
                <a:gd name="connsiteX31" fmla="*/ 808672 w 853154"/>
                <a:gd name="connsiteY31" fmla="*/ 375571 h 506729"/>
                <a:gd name="connsiteX32" fmla="*/ 809149 w 853154"/>
                <a:gd name="connsiteY32" fmla="*/ 379190 h 506729"/>
                <a:gd name="connsiteX33" fmla="*/ 826008 w 853154"/>
                <a:gd name="connsiteY33" fmla="*/ 382333 h 506729"/>
                <a:gd name="connsiteX34" fmla="*/ 837724 w 853154"/>
                <a:gd name="connsiteY34" fmla="*/ 388048 h 506729"/>
                <a:gd name="connsiteX35" fmla="*/ 842105 w 853154"/>
                <a:gd name="connsiteY35" fmla="*/ 392906 h 506729"/>
                <a:gd name="connsiteX36" fmla="*/ 838676 w 853154"/>
                <a:gd name="connsiteY36" fmla="*/ 395192 h 506729"/>
                <a:gd name="connsiteX37" fmla="*/ 840677 w 853154"/>
                <a:gd name="connsiteY37" fmla="*/ 396716 h 506729"/>
                <a:gd name="connsiteX38" fmla="*/ 840962 w 853154"/>
                <a:gd name="connsiteY38" fmla="*/ 398526 h 506729"/>
                <a:gd name="connsiteX39" fmla="*/ 830866 w 853154"/>
                <a:gd name="connsiteY39" fmla="*/ 405289 h 506729"/>
                <a:gd name="connsiteX40" fmla="*/ 828008 w 853154"/>
                <a:gd name="connsiteY40" fmla="*/ 411099 h 506729"/>
                <a:gd name="connsiteX41" fmla="*/ 829151 w 853154"/>
                <a:gd name="connsiteY41" fmla="*/ 420052 h 506729"/>
                <a:gd name="connsiteX42" fmla="*/ 821436 w 853154"/>
                <a:gd name="connsiteY42" fmla="*/ 430149 h 506729"/>
                <a:gd name="connsiteX43" fmla="*/ 817150 w 853154"/>
                <a:gd name="connsiteY43" fmla="*/ 439769 h 506729"/>
                <a:gd name="connsiteX44" fmla="*/ 817436 w 853154"/>
                <a:gd name="connsiteY44" fmla="*/ 441579 h 506729"/>
                <a:gd name="connsiteX45" fmla="*/ 821246 w 853154"/>
                <a:gd name="connsiteY45" fmla="*/ 442817 h 506729"/>
                <a:gd name="connsiteX46" fmla="*/ 818579 w 853154"/>
                <a:gd name="connsiteY46" fmla="*/ 450437 h 506729"/>
                <a:gd name="connsiteX47" fmla="*/ 813911 w 853154"/>
                <a:gd name="connsiteY47" fmla="*/ 456533 h 506729"/>
                <a:gd name="connsiteX48" fmla="*/ 805148 w 853154"/>
                <a:gd name="connsiteY48" fmla="*/ 459486 h 506729"/>
                <a:gd name="connsiteX49" fmla="*/ 799147 w 853154"/>
                <a:gd name="connsiteY49" fmla="*/ 469297 h 506729"/>
                <a:gd name="connsiteX50" fmla="*/ 798100 w 853154"/>
                <a:gd name="connsiteY50" fmla="*/ 474916 h 506729"/>
                <a:gd name="connsiteX51" fmla="*/ 796290 w 853154"/>
                <a:gd name="connsiteY51" fmla="*/ 475107 h 506729"/>
                <a:gd name="connsiteX52" fmla="*/ 794099 w 853154"/>
                <a:gd name="connsiteY52" fmla="*/ 486346 h 506729"/>
                <a:gd name="connsiteX53" fmla="*/ 790766 w 853154"/>
                <a:gd name="connsiteY53" fmla="*/ 488632 h 506729"/>
                <a:gd name="connsiteX54" fmla="*/ 788670 w 853154"/>
                <a:gd name="connsiteY54" fmla="*/ 487013 h 506729"/>
                <a:gd name="connsiteX55" fmla="*/ 780383 w 853154"/>
                <a:gd name="connsiteY55" fmla="*/ 493585 h 506729"/>
                <a:gd name="connsiteX56" fmla="*/ 778193 w 853154"/>
                <a:gd name="connsiteY56" fmla="*/ 490252 h 506729"/>
                <a:gd name="connsiteX57" fmla="*/ 776383 w 853154"/>
                <a:gd name="connsiteY57" fmla="*/ 490538 h 506729"/>
                <a:gd name="connsiteX58" fmla="*/ 775049 w 853154"/>
                <a:gd name="connsiteY58" fmla="*/ 494252 h 506729"/>
                <a:gd name="connsiteX59" fmla="*/ 773525 w 853154"/>
                <a:gd name="connsiteY59" fmla="*/ 496348 h 506729"/>
                <a:gd name="connsiteX60" fmla="*/ 770572 w 853154"/>
                <a:gd name="connsiteY60" fmla="*/ 502063 h 506729"/>
                <a:gd name="connsiteX61" fmla="*/ 769048 w 853154"/>
                <a:gd name="connsiteY61" fmla="*/ 504158 h 506729"/>
                <a:gd name="connsiteX62" fmla="*/ 765429 w 853154"/>
                <a:gd name="connsiteY62" fmla="*/ 504634 h 506729"/>
                <a:gd name="connsiteX63" fmla="*/ 765238 w 853154"/>
                <a:gd name="connsiteY63" fmla="*/ 502825 h 506729"/>
                <a:gd name="connsiteX64" fmla="*/ 749332 w 853154"/>
                <a:gd name="connsiteY64" fmla="*/ 506730 h 506729"/>
                <a:gd name="connsiteX65" fmla="*/ 748760 w 853154"/>
                <a:gd name="connsiteY65" fmla="*/ 503206 h 506729"/>
                <a:gd name="connsiteX66" fmla="*/ 747046 w 853154"/>
                <a:gd name="connsiteY66" fmla="*/ 503396 h 506729"/>
                <a:gd name="connsiteX67" fmla="*/ 742664 w 853154"/>
                <a:gd name="connsiteY67" fmla="*/ 498538 h 506729"/>
                <a:gd name="connsiteX68" fmla="*/ 747617 w 853154"/>
                <a:gd name="connsiteY68" fmla="*/ 494252 h 506729"/>
                <a:gd name="connsiteX69" fmla="*/ 745331 w 853154"/>
                <a:gd name="connsiteY69" fmla="*/ 490918 h 506729"/>
                <a:gd name="connsiteX70" fmla="*/ 741331 w 853154"/>
                <a:gd name="connsiteY70" fmla="*/ 487871 h 506729"/>
                <a:gd name="connsiteX71" fmla="*/ 736187 w 853154"/>
                <a:gd name="connsiteY71" fmla="*/ 490347 h 506729"/>
                <a:gd name="connsiteX72" fmla="*/ 733139 w 853154"/>
                <a:gd name="connsiteY72" fmla="*/ 481679 h 506729"/>
                <a:gd name="connsiteX73" fmla="*/ 733901 w 853154"/>
                <a:gd name="connsiteY73" fmla="*/ 487013 h 506729"/>
                <a:gd name="connsiteX74" fmla="*/ 730568 w 853154"/>
                <a:gd name="connsiteY74" fmla="*/ 489299 h 506729"/>
                <a:gd name="connsiteX75" fmla="*/ 729901 w 853154"/>
                <a:gd name="connsiteY75" fmla="*/ 498443 h 506729"/>
                <a:gd name="connsiteX76" fmla="*/ 723138 w 853154"/>
                <a:gd name="connsiteY76" fmla="*/ 502920 h 506729"/>
                <a:gd name="connsiteX77" fmla="*/ 706374 w 853154"/>
                <a:gd name="connsiteY77" fmla="*/ 499777 h 506729"/>
                <a:gd name="connsiteX78" fmla="*/ 696182 w 853154"/>
                <a:gd name="connsiteY78" fmla="*/ 492062 h 506729"/>
                <a:gd name="connsiteX79" fmla="*/ 690753 w 853154"/>
                <a:gd name="connsiteY79" fmla="*/ 492728 h 506729"/>
                <a:gd name="connsiteX80" fmla="*/ 673894 w 853154"/>
                <a:gd name="connsiteY80" fmla="*/ 489490 h 506729"/>
                <a:gd name="connsiteX81" fmla="*/ 663321 w 853154"/>
                <a:gd name="connsiteY81" fmla="*/ 492728 h 506729"/>
                <a:gd name="connsiteX82" fmla="*/ 659987 w 853154"/>
                <a:gd name="connsiteY82" fmla="*/ 495014 h 506729"/>
                <a:gd name="connsiteX83" fmla="*/ 658178 w 853154"/>
                <a:gd name="connsiteY83" fmla="*/ 495205 h 506729"/>
                <a:gd name="connsiteX84" fmla="*/ 646938 w 853154"/>
                <a:gd name="connsiteY84" fmla="*/ 493109 h 506729"/>
                <a:gd name="connsiteX85" fmla="*/ 598837 w 853154"/>
                <a:gd name="connsiteY85" fmla="*/ 488537 h 506729"/>
                <a:gd name="connsiteX86" fmla="*/ 561499 w 853154"/>
                <a:gd name="connsiteY86" fmla="*/ 482632 h 506729"/>
                <a:gd name="connsiteX87" fmla="*/ 560165 w 853154"/>
                <a:gd name="connsiteY87" fmla="*/ 486442 h 506729"/>
                <a:gd name="connsiteX88" fmla="*/ 556831 w 853154"/>
                <a:gd name="connsiteY88" fmla="*/ 488728 h 506729"/>
                <a:gd name="connsiteX89" fmla="*/ 554831 w 853154"/>
                <a:gd name="connsiteY89" fmla="*/ 487204 h 506729"/>
                <a:gd name="connsiteX90" fmla="*/ 549212 w 853154"/>
                <a:gd name="connsiteY90" fmla="*/ 486061 h 506729"/>
                <a:gd name="connsiteX91" fmla="*/ 547783 w 853154"/>
                <a:gd name="connsiteY91" fmla="*/ 489871 h 506729"/>
                <a:gd name="connsiteX92" fmla="*/ 530923 w 853154"/>
                <a:gd name="connsiteY92" fmla="*/ 486727 h 506729"/>
                <a:gd name="connsiteX93" fmla="*/ 528733 w 853154"/>
                <a:gd name="connsiteY93" fmla="*/ 483394 h 506729"/>
                <a:gd name="connsiteX94" fmla="*/ 525113 w 853154"/>
                <a:gd name="connsiteY94" fmla="*/ 483870 h 506729"/>
                <a:gd name="connsiteX95" fmla="*/ 523780 w 853154"/>
                <a:gd name="connsiteY95" fmla="*/ 487680 h 506729"/>
                <a:gd name="connsiteX96" fmla="*/ 520160 w 853154"/>
                <a:gd name="connsiteY96" fmla="*/ 488156 h 506729"/>
                <a:gd name="connsiteX97" fmla="*/ 511016 w 853154"/>
                <a:gd name="connsiteY97" fmla="*/ 487489 h 506729"/>
                <a:gd name="connsiteX98" fmla="*/ 495681 w 853154"/>
                <a:gd name="connsiteY98" fmla="*/ 482251 h 506729"/>
                <a:gd name="connsiteX99" fmla="*/ 481965 w 853154"/>
                <a:gd name="connsiteY99" fmla="*/ 475012 h 506729"/>
                <a:gd name="connsiteX100" fmla="*/ 466154 w 853154"/>
                <a:gd name="connsiteY100" fmla="*/ 466249 h 506729"/>
                <a:gd name="connsiteX101" fmla="*/ 415385 w 853154"/>
                <a:gd name="connsiteY101" fmla="*/ 442150 h 506729"/>
                <a:gd name="connsiteX102" fmla="*/ 410623 w 853154"/>
                <a:gd name="connsiteY102" fmla="*/ 433673 h 506729"/>
                <a:gd name="connsiteX103" fmla="*/ 390335 w 853154"/>
                <a:gd name="connsiteY103" fmla="*/ 418243 h 506729"/>
                <a:gd name="connsiteX104" fmla="*/ 384715 w 853154"/>
                <a:gd name="connsiteY104" fmla="*/ 417195 h 506729"/>
                <a:gd name="connsiteX105" fmla="*/ 376333 w 853154"/>
                <a:gd name="connsiteY105" fmla="*/ 409289 h 506729"/>
                <a:gd name="connsiteX106" fmla="*/ 376523 w 853154"/>
                <a:gd name="connsiteY106" fmla="*/ 396526 h 506729"/>
                <a:gd name="connsiteX107" fmla="*/ 382524 w 853154"/>
                <a:gd name="connsiteY107" fmla="*/ 386620 h 506729"/>
                <a:gd name="connsiteX108" fmla="*/ 382048 w 853154"/>
                <a:gd name="connsiteY108" fmla="*/ 383096 h 506729"/>
                <a:gd name="connsiteX109" fmla="*/ 371285 w 853154"/>
                <a:gd name="connsiteY109" fmla="*/ 384524 h 506729"/>
                <a:gd name="connsiteX110" fmla="*/ 372332 w 853154"/>
                <a:gd name="connsiteY110" fmla="*/ 379000 h 506729"/>
                <a:gd name="connsiteX111" fmla="*/ 370332 w 853154"/>
                <a:gd name="connsiteY111" fmla="*/ 377380 h 506729"/>
                <a:gd name="connsiteX112" fmla="*/ 366903 w 853154"/>
                <a:gd name="connsiteY112" fmla="*/ 379666 h 506729"/>
                <a:gd name="connsiteX113" fmla="*/ 367855 w 853154"/>
                <a:gd name="connsiteY113" fmla="*/ 386810 h 506729"/>
                <a:gd name="connsiteX114" fmla="*/ 366522 w 853154"/>
                <a:gd name="connsiteY114" fmla="*/ 390620 h 506729"/>
                <a:gd name="connsiteX115" fmla="*/ 360902 w 853154"/>
                <a:gd name="connsiteY115" fmla="*/ 389477 h 506729"/>
                <a:gd name="connsiteX116" fmla="*/ 354806 w 853154"/>
                <a:gd name="connsiteY116" fmla="*/ 384905 h 506729"/>
                <a:gd name="connsiteX117" fmla="*/ 350806 w 853154"/>
                <a:gd name="connsiteY117" fmla="*/ 381857 h 506729"/>
                <a:gd name="connsiteX118" fmla="*/ 356330 w 853154"/>
                <a:gd name="connsiteY118" fmla="*/ 368332 h 506729"/>
                <a:gd name="connsiteX119" fmla="*/ 348901 w 853154"/>
                <a:gd name="connsiteY119" fmla="*/ 367570 h 506729"/>
                <a:gd name="connsiteX120" fmla="*/ 344614 w 853154"/>
                <a:gd name="connsiteY120" fmla="*/ 362712 h 506729"/>
                <a:gd name="connsiteX121" fmla="*/ 336042 w 853154"/>
                <a:gd name="connsiteY121" fmla="*/ 367474 h 506729"/>
                <a:gd name="connsiteX122" fmla="*/ 323469 w 853154"/>
                <a:gd name="connsiteY122" fmla="*/ 369094 h 506729"/>
                <a:gd name="connsiteX123" fmla="*/ 320993 w 853154"/>
                <a:gd name="connsiteY123" fmla="*/ 364046 h 506729"/>
                <a:gd name="connsiteX124" fmla="*/ 321850 w 853154"/>
                <a:gd name="connsiteY124" fmla="*/ 356616 h 506729"/>
                <a:gd name="connsiteX125" fmla="*/ 323660 w 853154"/>
                <a:gd name="connsiteY125" fmla="*/ 356330 h 506729"/>
                <a:gd name="connsiteX126" fmla="*/ 326136 w 853154"/>
                <a:gd name="connsiteY126" fmla="*/ 361474 h 506729"/>
                <a:gd name="connsiteX127" fmla="*/ 329946 w 853154"/>
                <a:gd name="connsiteY127" fmla="*/ 362807 h 506729"/>
                <a:gd name="connsiteX128" fmla="*/ 333566 w 853154"/>
                <a:gd name="connsiteY128" fmla="*/ 362331 h 506729"/>
                <a:gd name="connsiteX129" fmla="*/ 333089 w 853154"/>
                <a:gd name="connsiteY129" fmla="*/ 358807 h 506729"/>
                <a:gd name="connsiteX130" fmla="*/ 324517 w 853154"/>
                <a:gd name="connsiteY130" fmla="*/ 348996 h 506729"/>
                <a:gd name="connsiteX131" fmla="*/ 318516 w 853154"/>
                <a:gd name="connsiteY131" fmla="*/ 358902 h 506729"/>
                <a:gd name="connsiteX132" fmla="*/ 314706 w 853154"/>
                <a:gd name="connsiteY132" fmla="*/ 357568 h 506729"/>
                <a:gd name="connsiteX133" fmla="*/ 310420 w 853154"/>
                <a:gd name="connsiteY133" fmla="*/ 352711 h 506729"/>
                <a:gd name="connsiteX134" fmla="*/ 312325 w 853154"/>
                <a:gd name="connsiteY134" fmla="*/ 339757 h 506729"/>
                <a:gd name="connsiteX135" fmla="*/ 310325 w 853154"/>
                <a:gd name="connsiteY135" fmla="*/ 338233 h 506729"/>
                <a:gd name="connsiteX136" fmla="*/ 308038 w 853154"/>
                <a:gd name="connsiteY136" fmla="*/ 334899 h 506729"/>
                <a:gd name="connsiteX137" fmla="*/ 304229 w 853154"/>
                <a:gd name="connsiteY137" fmla="*/ 333565 h 506729"/>
                <a:gd name="connsiteX138" fmla="*/ 306419 w 853154"/>
                <a:gd name="connsiteY138" fmla="*/ 336899 h 506729"/>
                <a:gd name="connsiteX139" fmla="*/ 307181 w 853154"/>
                <a:gd name="connsiteY139" fmla="*/ 342233 h 506729"/>
                <a:gd name="connsiteX140" fmla="*/ 296609 w 853154"/>
                <a:gd name="connsiteY140" fmla="*/ 345472 h 506729"/>
                <a:gd name="connsiteX141" fmla="*/ 290036 w 853154"/>
                <a:gd name="connsiteY141" fmla="*/ 337280 h 506729"/>
                <a:gd name="connsiteX142" fmla="*/ 276987 w 853154"/>
                <a:gd name="connsiteY142" fmla="*/ 335375 h 506729"/>
                <a:gd name="connsiteX143" fmla="*/ 276320 w 853154"/>
                <a:gd name="connsiteY143" fmla="*/ 330041 h 506729"/>
                <a:gd name="connsiteX144" fmla="*/ 283273 w 853154"/>
                <a:gd name="connsiteY144" fmla="*/ 327279 h 506729"/>
                <a:gd name="connsiteX145" fmla="*/ 284797 w 853154"/>
                <a:gd name="connsiteY145" fmla="*/ 325279 h 506729"/>
                <a:gd name="connsiteX146" fmla="*/ 276225 w 853154"/>
                <a:gd name="connsiteY146" fmla="*/ 315563 h 506729"/>
                <a:gd name="connsiteX147" fmla="*/ 275463 w 853154"/>
                <a:gd name="connsiteY147" fmla="*/ 310229 h 506729"/>
                <a:gd name="connsiteX148" fmla="*/ 267462 w 853154"/>
                <a:gd name="connsiteY148" fmla="*/ 318516 h 506729"/>
                <a:gd name="connsiteX149" fmla="*/ 263843 w 853154"/>
                <a:gd name="connsiteY149" fmla="*/ 318992 h 506729"/>
                <a:gd name="connsiteX150" fmla="*/ 258032 w 853154"/>
                <a:gd name="connsiteY150" fmla="*/ 316135 h 506729"/>
                <a:gd name="connsiteX151" fmla="*/ 243840 w 853154"/>
                <a:gd name="connsiteY151" fmla="*/ 319849 h 506729"/>
                <a:gd name="connsiteX152" fmla="*/ 232410 w 853154"/>
                <a:gd name="connsiteY152" fmla="*/ 315849 h 506729"/>
                <a:gd name="connsiteX153" fmla="*/ 221171 w 853154"/>
                <a:gd name="connsiteY153" fmla="*/ 313754 h 506729"/>
                <a:gd name="connsiteX154" fmla="*/ 216694 w 853154"/>
                <a:gd name="connsiteY154" fmla="*/ 321564 h 506729"/>
                <a:gd name="connsiteX155" fmla="*/ 212503 w 853154"/>
                <a:gd name="connsiteY155" fmla="*/ 331184 h 506729"/>
                <a:gd name="connsiteX156" fmla="*/ 196405 w 853154"/>
                <a:gd name="connsiteY156" fmla="*/ 347853 h 506729"/>
                <a:gd name="connsiteX157" fmla="*/ 184976 w 853154"/>
                <a:gd name="connsiteY157" fmla="*/ 343948 h 506729"/>
                <a:gd name="connsiteX158" fmla="*/ 160592 w 853154"/>
                <a:gd name="connsiteY158" fmla="*/ 339947 h 506729"/>
                <a:gd name="connsiteX159" fmla="*/ 160115 w 853154"/>
                <a:gd name="connsiteY159" fmla="*/ 336328 h 506729"/>
                <a:gd name="connsiteX160" fmla="*/ 156305 w 853154"/>
                <a:gd name="connsiteY160" fmla="*/ 334994 h 506729"/>
                <a:gd name="connsiteX161" fmla="*/ 145828 w 853154"/>
                <a:gd name="connsiteY161" fmla="*/ 338233 h 506729"/>
                <a:gd name="connsiteX162" fmla="*/ 142685 w 853154"/>
                <a:gd name="connsiteY162" fmla="*/ 342329 h 506729"/>
                <a:gd name="connsiteX163" fmla="*/ 137255 w 853154"/>
                <a:gd name="connsiteY163" fmla="*/ 342995 h 506729"/>
                <a:gd name="connsiteX164" fmla="*/ 130207 w 853154"/>
                <a:gd name="connsiteY164" fmla="*/ 331184 h 506729"/>
                <a:gd name="connsiteX165" fmla="*/ 122396 w 853154"/>
                <a:gd name="connsiteY165" fmla="*/ 326803 h 506729"/>
                <a:gd name="connsiteX166" fmla="*/ 117538 w 853154"/>
                <a:gd name="connsiteY166" fmla="*/ 318421 h 506729"/>
                <a:gd name="connsiteX167" fmla="*/ 106966 w 853154"/>
                <a:gd name="connsiteY167" fmla="*/ 307086 h 506729"/>
                <a:gd name="connsiteX168" fmla="*/ 89345 w 853154"/>
                <a:gd name="connsiteY168" fmla="*/ 298513 h 506729"/>
                <a:gd name="connsiteX169" fmla="*/ 89821 w 853154"/>
                <a:gd name="connsiteY169" fmla="*/ 302133 h 506729"/>
                <a:gd name="connsiteX170" fmla="*/ 84487 w 853154"/>
                <a:gd name="connsiteY170" fmla="*/ 302800 h 506729"/>
                <a:gd name="connsiteX171" fmla="*/ 75343 w 853154"/>
                <a:gd name="connsiteY171" fmla="*/ 289560 h 506729"/>
                <a:gd name="connsiteX172" fmla="*/ 67723 w 853154"/>
                <a:gd name="connsiteY172" fmla="*/ 286893 h 506729"/>
                <a:gd name="connsiteX173" fmla="*/ 64389 w 853154"/>
                <a:gd name="connsiteY173" fmla="*/ 289179 h 506729"/>
                <a:gd name="connsiteX174" fmla="*/ 54959 w 853154"/>
                <a:gd name="connsiteY174" fmla="*/ 286798 h 506729"/>
                <a:gd name="connsiteX175" fmla="*/ 36957 w 853154"/>
                <a:gd name="connsiteY175" fmla="*/ 289179 h 506729"/>
                <a:gd name="connsiteX176" fmla="*/ 17145 w 853154"/>
                <a:gd name="connsiteY176" fmla="*/ 277273 h 506729"/>
                <a:gd name="connsiteX177" fmla="*/ 0 w 853154"/>
                <a:gd name="connsiteY177" fmla="*/ 272320 h 506729"/>
                <a:gd name="connsiteX178" fmla="*/ 9335 w 853154"/>
                <a:gd name="connsiteY178" fmla="*/ 260223 h 506729"/>
                <a:gd name="connsiteX179" fmla="*/ 11811 w 853154"/>
                <a:gd name="connsiteY179" fmla="*/ 250793 h 506729"/>
                <a:gd name="connsiteX180" fmla="*/ 17431 w 853154"/>
                <a:gd name="connsiteY180" fmla="*/ 251841 h 506729"/>
                <a:gd name="connsiteX181" fmla="*/ 22098 w 853154"/>
                <a:gd name="connsiteY181" fmla="*/ 245840 h 506729"/>
                <a:gd name="connsiteX182" fmla="*/ 27432 w 853154"/>
                <a:gd name="connsiteY182" fmla="*/ 245078 h 506729"/>
                <a:gd name="connsiteX183" fmla="*/ 20003 w 853154"/>
                <a:gd name="connsiteY183" fmla="*/ 244316 h 506729"/>
                <a:gd name="connsiteX184" fmla="*/ 18002 w 853154"/>
                <a:gd name="connsiteY184" fmla="*/ 242697 h 506729"/>
                <a:gd name="connsiteX185" fmla="*/ 19812 w 853154"/>
                <a:gd name="connsiteY185" fmla="*/ 242506 h 506729"/>
                <a:gd name="connsiteX186" fmla="*/ 22955 w 853154"/>
                <a:gd name="connsiteY186" fmla="*/ 238411 h 506729"/>
                <a:gd name="connsiteX187" fmla="*/ 26765 w 853154"/>
                <a:gd name="connsiteY187" fmla="*/ 239744 h 506729"/>
                <a:gd name="connsiteX188" fmla="*/ 29432 w 853154"/>
                <a:gd name="connsiteY188" fmla="*/ 232124 h 506729"/>
                <a:gd name="connsiteX189" fmla="*/ 27146 w 853154"/>
                <a:gd name="connsiteY189" fmla="*/ 228790 h 506729"/>
                <a:gd name="connsiteX190" fmla="*/ 25051 w 853154"/>
                <a:gd name="connsiteY190" fmla="*/ 227266 h 506729"/>
                <a:gd name="connsiteX191" fmla="*/ 30289 w 853154"/>
                <a:gd name="connsiteY191" fmla="*/ 224790 h 506729"/>
                <a:gd name="connsiteX192" fmla="*/ 36386 w 853154"/>
                <a:gd name="connsiteY192" fmla="*/ 229362 h 506729"/>
                <a:gd name="connsiteX193" fmla="*/ 37433 w 853154"/>
                <a:gd name="connsiteY193" fmla="*/ 223838 h 506729"/>
                <a:gd name="connsiteX194" fmla="*/ 41053 w 853154"/>
                <a:gd name="connsiteY194" fmla="*/ 223361 h 506729"/>
                <a:gd name="connsiteX195" fmla="*/ 42101 w 853154"/>
                <a:gd name="connsiteY195" fmla="*/ 217741 h 506729"/>
                <a:gd name="connsiteX196" fmla="*/ 45529 w 853154"/>
                <a:gd name="connsiteY196" fmla="*/ 215551 h 506729"/>
                <a:gd name="connsiteX197" fmla="*/ 44577 w 853154"/>
                <a:gd name="connsiteY197" fmla="*/ 208407 h 506729"/>
                <a:gd name="connsiteX198" fmla="*/ 40958 w 853154"/>
                <a:gd name="connsiteY198" fmla="*/ 208883 h 506729"/>
                <a:gd name="connsiteX199" fmla="*/ 38862 w 853154"/>
                <a:gd name="connsiteY199" fmla="*/ 207359 h 506729"/>
                <a:gd name="connsiteX200" fmla="*/ 44291 w 853154"/>
                <a:gd name="connsiteY200" fmla="*/ 206597 h 506729"/>
                <a:gd name="connsiteX201" fmla="*/ 61627 w 853154"/>
                <a:gd name="connsiteY201" fmla="*/ 213360 h 506729"/>
                <a:gd name="connsiteX202" fmla="*/ 56864 w 853154"/>
                <a:gd name="connsiteY202" fmla="*/ 204978 h 506729"/>
                <a:gd name="connsiteX203" fmla="*/ 67437 w 853154"/>
                <a:gd name="connsiteY203" fmla="*/ 201739 h 506729"/>
                <a:gd name="connsiteX204" fmla="*/ 69723 w 853154"/>
                <a:gd name="connsiteY204" fmla="*/ 205073 h 506729"/>
                <a:gd name="connsiteX205" fmla="*/ 72200 w 853154"/>
                <a:gd name="connsiteY205" fmla="*/ 210217 h 506729"/>
                <a:gd name="connsiteX206" fmla="*/ 78010 w 853154"/>
                <a:gd name="connsiteY206" fmla="*/ 212979 h 506729"/>
                <a:gd name="connsiteX207" fmla="*/ 75152 w 853154"/>
                <a:gd name="connsiteY207" fmla="*/ 218884 h 506729"/>
                <a:gd name="connsiteX208" fmla="*/ 75629 w 853154"/>
                <a:gd name="connsiteY208" fmla="*/ 222409 h 506729"/>
                <a:gd name="connsiteX209" fmla="*/ 83534 w 853154"/>
                <a:gd name="connsiteY209" fmla="*/ 226790 h 506729"/>
                <a:gd name="connsiteX210" fmla="*/ 87154 w 853154"/>
                <a:gd name="connsiteY210" fmla="*/ 226314 h 506729"/>
                <a:gd name="connsiteX211" fmla="*/ 92297 w 853154"/>
                <a:gd name="connsiteY211" fmla="*/ 223838 h 506729"/>
                <a:gd name="connsiteX212" fmla="*/ 94774 w 853154"/>
                <a:gd name="connsiteY212" fmla="*/ 228886 h 506729"/>
                <a:gd name="connsiteX213" fmla="*/ 96774 w 853154"/>
                <a:gd name="connsiteY213" fmla="*/ 230505 h 506729"/>
                <a:gd name="connsiteX214" fmla="*/ 101727 w 853154"/>
                <a:gd name="connsiteY214" fmla="*/ 226219 h 506729"/>
                <a:gd name="connsiteX215" fmla="*/ 102870 w 853154"/>
                <a:gd name="connsiteY215" fmla="*/ 220599 h 506729"/>
                <a:gd name="connsiteX216" fmla="*/ 100775 w 853154"/>
                <a:gd name="connsiteY216" fmla="*/ 219075 h 506729"/>
                <a:gd name="connsiteX217" fmla="*/ 107728 w 853154"/>
                <a:gd name="connsiteY217" fmla="*/ 216313 h 506729"/>
                <a:gd name="connsiteX218" fmla="*/ 107061 w 853154"/>
                <a:gd name="connsiteY218" fmla="*/ 210979 h 506729"/>
                <a:gd name="connsiteX219" fmla="*/ 114205 w 853154"/>
                <a:gd name="connsiteY219" fmla="*/ 210026 h 506729"/>
                <a:gd name="connsiteX220" fmla="*/ 110490 w 853154"/>
                <a:gd name="connsiteY220" fmla="*/ 196024 h 506729"/>
                <a:gd name="connsiteX221" fmla="*/ 112109 w 853154"/>
                <a:gd name="connsiteY221" fmla="*/ 194024 h 506729"/>
                <a:gd name="connsiteX222" fmla="*/ 119253 w 853154"/>
                <a:gd name="connsiteY222" fmla="*/ 193072 h 506729"/>
                <a:gd name="connsiteX223" fmla="*/ 123349 w 853154"/>
                <a:gd name="connsiteY223" fmla="*/ 196120 h 506729"/>
                <a:gd name="connsiteX224" fmla="*/ 126968 w 853154"/>
                <a:gd name="connsiteY224" fmla="*/ 195643 h 506729"/>
                <a:gd name="connsiteX225" fmla="*/ 129159 w 853154"/>
                <a:gd name="connsiteY225" fmla="*/ 198977 h 506729"/>
                <a:gd name="connsiteX226" fmla="*/ 132588 w 853154"/>
                <a:gd name="connsiteY226" fmla="*/ 196787 h 506729"/>
                <a:gd name="connsiteX227" fmla="*/ 140779 w 853154"/>
                <a:gd name="connsiteY227" fmla="*/ 190214 h 506729"/>
                <a:gd name="connsiteX228" fmla="*/ 151638 w 853154"/>
                <a:gd name="connsiteY228" fmla="*/ 188785 h 506729"/>
                <a:gd name="connsiteX229" fmla="*/ 152114 w 853154"/>
                <a:gd name="connsiteY229" fmla="*/ 192405 h 506729"/>
                <a:gd name="connsiteX230" fmla="*/ 162020 w 853154"/>
                <a:gd name="connsiteY230" fmla="*/ 198310 h 506729"/>
                <a:gd name="connsiteX231" fmla="*/ 164783 w 853154"/>
                <a:gd name="connsiteY231" fmla="*/ 205168 h 506729"/>
                <a:gd name="connsiteX232" fmla="*/ 169259 w 853154"/>
                <a:gd name="connsiteY232" fmla="*/ 211836 h 506729"/>
                <a:gd name="connsiteX233" fmla="*/ 173546 w 853154"/>
                <a:gd name="connsiteY233" fmla="*/ 216694 h 506729"/>
                <a:gd name="connsiteX234" fmla="*/ 176689 w 853154"/>
                <a:gd name="connsiteY234" fmla="*/ 212693 h 506729"/>
                <a:gd name="connsiteX235" fmla="*/ 180118 w 853154"/>
                <a:gd name="connsiteY235" fmla="*/ 210407 h 506729"/>
                <a:gd name="connsiteX236" fmla="*/ 181356 w 853154"/>
                <a:gd name="connsiteY236" fmla="*/ 206597 h 506729"/>
                <a:gd name="connsiteX237" fmla="*/ 184213 w 853154"/>
                <a:gd name="connsiteY237" fmla="*/ 200787 h 506729"/>
                <a:gd name="connsiteX238" fmla="*/ 180404 w 853154"/>
                <a:gd name="connsiteY238" fmla="*/ 199454 h 506729"/>
                <a:gd name="connsiteX239" fmla="*/ 181737 w 853154"/>
                <a:gd name="connsiteY239" fmla="*/ 195643 h 506729"/>
                <a:gd name="connsiteX240" fmla="*/ 179737 w 853154"/>
                <a:gd name="connsiteY240" fmla="*/ 194119 h 506729"/>
                <a:gd name="connsiteX241" fmla="*/ 183547 w 853154"/>
                <a:gd name="connsiteY241" fmla="*/ 195453 h 506729"/>
                <a:gd name="connsiteX242" fmla="*/ 187738 w 853154"/>
                <a:gd name="connsiteY242" fmla="*/ 185833 h 506729"/>
                <a:gd name="connsiteX243" fmla="*/ 195644 w 853154"/>
                <a:gd name="connsiteY243" fmla="*/ 190214 h 506729"/>
                <a:gd name="connsiteX244" fmla="*/ 198501 w 853154"/>
                <a:gd name="connsiteY244" fmla="*/ 184404 h 506729"/>
                <a:gd name="connsiteX245" fmla="*/ 196787 w 853154"/>
                <a:gd name="connsiteY245" fmla="*/ 184594 h 506729"/>
                <a:gd name="connsiteX246" fmla="*/ 198882 w 853154"/>
                <a:gd name="connsiteY246" fmla="*/ 173450 h 506729"/>
                <a:gd name="connsiteX247" fmla="*/ 198692 w 853154"/>
                <a:gd name="connsiteY247" fmla="*/ 171736 h 506729"/>
                <a:gd name="connsiteX248" fmla="*/ 204311 w 853154"/>
                <a:gd name="connsiteY248" fmla="*/ 172783 h 506729"/>
                <a:gd name="connsiteX249" fmla="*/ 218885 w 853154"/>
                <a:gd name="connsiteY249" fmla="*/ 172593 h 506729"/>
                <a:gd name="connsiteX250" fmla="*/ 228981 w 853154"/>
                <a:gd name="connsiteY250" fmla="*/ 165830 h 506729"/>
                <a:gd name="connsiteX251" fmla="*/ 231458 w 853154"/>
                <a:gd name="connsiteY251" fmla="*/ 156496 h 506729"/>
                <a:gd name="connsiteX252" fmla="*/ 233172 w 853154"/>
                <a:gd name="connsiteY252" fmla="*/ 156210 h 506729"/>
                <a:gd name="connsiteX253" fmla="*/ 238601 w 853154"/>
                <a:gd name="connsiteY253" fmla="*/ 155543 h 506729"/>
                <a:gd name="connsiteX254" fmla="*/ 239935 w 853154"/>
                <a:gd name="connsiteY254" fmla="*/ 151733 h 506729"/>
                <a:gd name="connsiteX255" fmla="*/ 241745 w 853154"/>
                <a:gd name="connsiteY255" fmla="*/ 151447 h 506729"/>
                <a:gd name="connsiteX256" fmla="*/ 241459 w 853154"/>
                <a:gd name="connsiteY256" fmla="*/ 149733 h 506729"/>
                <a:gd name="connsiteX257" fmla="*/ 234029 w 853154"/>
                <a:gd name="connsiteY257" fmla="*/ 148876 h 506729"/>
                <a:gd name="connsiteX258" fmla="*/ 236982 w 853154"/>
                <a:gd name="connsiteY258" fmla="*/ 143065 h 506729"/>
                <a:gd name="connsiteX259" fmla="*/ 247269 w 853154"/>
                <a:gd name="connsiteY259" fmla="*/ 138017 h 506729"/>
                <a:gd name="connsiteX260" fmla="*/ 248793 w 853154"/>
                <a:gd name="connsiteY260" fmla="*/ 136017 h 506729"/>
                <a:gd name="connsiteX261" fmla="*/ 253460 w 853154"/>
                <a:gd name="connsiteY261" fmla="*/ 130016 h 506729"/>
                <a:gd name="connsiteX262" fmla="*/ 261366 w 853154"/>
                <a:gd name="connsiteY262" fmla="*/ 134398 h 506729"/>
                <a:gd name="connsiteX263" fmla="*/ 267653 w 853154"/>
                <a:gd name="connsiteY263" fmla="*/ 126301 h 506729"/>
                <a:gd name="connsiteX264" fmla="*/ 275272 w 853154"/>
                <a:gd name="connsiteY264" fmla="*/ 128873 h 506729"/>
                <a:gd name="connsiteX265" fmla="*/ 279940 w 853154"/>
                <a:gd name="connsiteY265" fmla="*/ 122872 h 506729"/>
                <a:gd name="connsiteX266" fmla="*/ 289846 w 853154"/>
                <a:gd name="connsiteY266" fmla="*/ 128778 h 506729"/>
                <a:gd name="connsiteX267" fmla="*/ 295275 w 853154"/>
                <a:gd name="connsiteY267" fmla="*/ 128111 h 506729"/>
                <a:gd name="connsiteX268" fmla="*/ 296037 w 853154"/>
                <a:gd name="connsiteY268" fmla="*/ 133445 h 506729"/>
                <a:gd name="connsiteX269" fmla="*/ 302895 w 853154"/>
                <a:gd name="connsiteY269" fmla="*/ 130683 h 506729"/>
                <a:gd name="connsiteX270" fmla="*/ 300704 w 853154"/>
                <a:gd name="connsiteY270" fmla="*/ 127349 h 506729"/>
                <a:gd name="connsiteX271" fmla="*/ 301943 w 853154"/>
                <a:gd name="connsiteY271" fmla="*/ 123539 h 506729"/>
                <a:gd name="connsiteX272" fmla="*/ 305848 w 853154"/>
                <a:gd name="connsiteY272" fmla="*/ 124873 h 506729"/>
                <a:gd name="connsiteX273" fmla="*/ 307658 w 853154"/>
                <a:gd name="connsiteY273" fmla="*/ 124587 h 506729"/>
                <a:gd name="connsiteX274" fmla="*/ 305086 w 853154"/>
                <a:gd name="connsiteY274" fmla="*/ 119539 h 506729"/>
                <a:gd name="connsiteX275" fmla="*/ 308705 w 853154"/>
                <a:gd name="connsiteY275" fmla="*/ 119063 h 506729"/>
                <a:gd name="connsiteX276" fmla="*/ 308229 w 853154"/>
                <a:gd name="connsiteY276" fmla="*/ 115443 h 506729"/>
                <a:gd name="connsiteX277" fmla="*/ 304419 w 853154"/>
                <a:gd name="connsiteY277" fmla="*/ 114205 h 506729"/>
                <a:gd name="connsiteX278" fmla="*/ 310610 w 853154"/>
                <a:gd name="connsiteY278" fmla="*/ 106108 h 506729"/>
                <a:gd name="connsiteX279" fmla="*/ 309944 w 853154"/>
                <a:gd name="connsiteY279" fmla="*/ 100774 h 506729"/>
                <a:gd name="connsiteX280" fmla="*/ 312992 w 853154"/>
                <a:gd name="connsiteY280" fmla="*/ 96679 h 506729"/>
                <a:gd name="connsiteX281" fmla="*/ 312134 w 853154"/>
                <a:gd name="connsiteY281" fmla="*/ 89630 h 506729"/>
                <a:gd name="connsiteX282" fmla="*/ 314135 w 853154"/>
                <a:gd name="connsiteY282" fmla="*/ 91154 h 506729"/>
                <a:gd name="connsiteX283" fmla="*/ 319564 w 853154"/>
                <a:gd name="connsiteY283" fmla="*/ 90392 h 506729"/>
                <a:gd name="connsiteX284" fmla="*/ 333089 w 853154"/>
                <a:gd name="connsiteY284" fmla="*/ 95917 h 506729"/>
                <a:gd name="connsiteX285" fmla="*/ 335280 w 853154"/>
                <a:gd name="connsiteY285" fmla="*/ 99250 h 506729"/>
                <a:gd name="connsiteX286" fmla="*/ 327851 w 853154"/>
                <a:gd name="connsiteY286" fmla="*/ 98393 h 506729"/>
                <a:gd name="connsiteX287" fmla="*/ 328327 w 853154"/>
                <a:gd name="connsiteY287" fmla="*/ 101917 h 506729"/>
                <a:gd name="connsiteX288" fmla="*/ 332232 w 853154"/>
                <a:gd name="connsiteY288" fmla="*/ 103251 h 506729"/>
                <a:gd name="connsiteX289" fmla="*/ 337376 w 853154"/>
                <a:gd name="connsiteY289" fmla="*/ 100774 h 506729"/>
                <a:gd name="connsiteX290" fmla="*/ 339662 w 853154"/>
                <a:gd name="connsiteY290" fmla="*/ 104108 h 506729"/>
                <a:gd name="connsiteX291" fmla="*/ 345853 w 853154"/>
                <a:gd name="connsiteY291" fmla="*/ 96012 h 506729"/>
                <a:gd name="connsiteX292" fmla="*/ 355949 w 853154"/>
                <a:gd name="connsiteY292" fmla="*/ 89249 h 506729"/>
                <a:gd name="connsiteX293" fmla="*/ 353663 w 853154"/>
                <a:gd name="connsiteY293" fmla="*/ 85915 h 506729"/>
                <a:gd name="connsiteX294" fmla="*/ 352044 w 853154"/>
                <a:gd name="connsiteY294" fmla="*/ 73438 h 506729"/>
                <a:gd name="connsiteX295" fmla="*/ 365760 w 853154"/>
                <a:gd name="connsiteY295" fmla="*/ 80677 h 506729"/>
                <a:gd name="connsiteX296" fmla="*/ 371761 w 853154"/>
                <a:gd name="connsiteY296" fmla="*/ 70866 h 506729"/>
                <a:gd name="connsiteX297" fmla="*/ 380047 w 853154"/>
                <a:gd name="connsiteY297" fmla="*/ 64294 h 506729"/>
                <a:gd name="connsiteX298" fmla="*/ 384143 w 853154"/>
                <a:gd name="connsiteY298" fmla="*/ 67342 h 506729"/>
                <a:gd name="connsiteX299" fmla="*/ 383000 w 853154"/>
                <a:gd name="connsiteY299" fmla="*/ 72962 h 506729"/>
                <a:gd name="connsiteX300" fmla="*/ 385477 w 853154"/>
                <a:gd name="connsiteY300" fmla="*/ 78105 h 506729"/>
                <a:gd name="connsiteX301" fmla="*/ 389382 w 853154"/>
                <a:gd name="connsiteY301" fmla="*/ 79343 h 506729"/>
                <a:gd name="connsiteX302" fmla="*/ 389572 w 853154"/>
                <a:gd name="connsiteY302" fmla="*/ 81153 h 506729"/>
                <a:gd name="connsiteX303" fmla="*/ 388048 w 853154"/>
                <a:gd name="connsiteY303" fmla="*/ 83153 h 506729"/>
                <a:gd name="connsiteX304" fmla="*/ 390525 w 853154"/>
                <a:gd name="connsiteY304" fmla="*/ 88297 h 506729"/>
                <a:gd name="connsiteX305" fmla="*/ 386715 w 853154"/>
                <a:gd name="connsiteY305" fmla="*/ 86963 h 506729"/>
                <a:gd name="connsiteX306" fmla="*/ 386905 w 853154"/>
                <a:gd name="connsiteY306" fmla="*/ 88773 h 506729"/>
                <a:gd name="connsiteX307" fmla="*/ 390716 w 853154"/>
                <a:gd name="connsiteY307" fmla="*/ 90106 h 506729"/>
                <a:gd name="connsiteX308" fmla="*/ 394811 w 853154"/>
                <a:gd name="connsiteY308" fmla="*/ 93154 h 506729"/>
                <a:gd name="connsiteX309" fmla="*/ 396621 w 853154"/>
                <a:gd name="connsiteY309" fmla="*/ 92869 h 506729"/>
                <a:gd name="connsiteX310" fmla="*/ 395954 w 853154"/>
                <a:gd name="connsiteY310" fmla="*/ 87535 h 506729"/>
                <a:gd name="connsiteX311" fmla="*/ 397669 w 853154"/>
                <a:gd name="connsiteY311" fmla="*/ 87344 h 506729"/>
                <a:gd name="connsiteX312" fmla="*/ 400241 w 853154"/>
                <a:gd name="connsiteY312" fmla="*/ 92392 h 506729"/>
                <a:gd name="connsiteX313" fmla="*/ 398431 w 853154"/>
                <a:gd name="connsiteY313" fmla="*/ 92678 h 506729"/>
                <a:gd name="connsiteX314" fmla="*/ 398907 w 853154"/>
                <a:gd name="connsiteY314" fmla="*/ 96298 h 506729"/>
                <a:gd name="connsiteX315" fmla="*/ 408813 w 853154"/>
                <a:gd name="connsiteY315" fmla="*/ 102203 h 506729"/>
                <a:gd name="connsiteX316" fmla="*/ 416433 w 853154"/>
                <a:gd name="connsiteY316" fmla="*/ 104775 h 506729"/>
                <a:gd name="connsiteX317" fmla="*/ 425482 w 853154"/>
                <a:gd name="connsiteY317" fmla="*/ 103632 h 506729"/>
                <a:gd name="connsiteX318" fmla="*/ 428816 w 853154"/>
                <a:gd name="connsiteY318" fmla="*/ 101346 h 506729"/>
                <a:gd name="connsiteX319" fmla="*/ 436245 w 853154"/>
                <a:gd name="connsiteY319" fmla="*/ 102203 h 506729"/>
                <a:gd name="connsiteX320" fmla="*/ 438626 w 853154"/>
                <a:gd name="connsiteY320" fmla="*/ 92773 h 506729"/>
                <a:gd name="connsiteX321" fmla="*/ 445865 w 853154"/>
                <a:gd name="connsiteY321" fmla="*/ 91821 h 506729"/>
                <a:gd name="connsiteX322" fmla="*/ 446627 w 853154"/>
                <a:gd name="connsiteY322" fmla="*/ 84487 h 506729"/>
                <a:gd name="connsiteX323" fmla="*/ 442627 w 853154"/>
                <a:gd name="connsiteY323" fmla="*/ 81343 h 506729"/>
                <a:gd name="connsiteX324" fmla="*/ 443960 w 853154"/>
                <a:gd name="connsiteY324" fmla="*/ 77533 h 506729"/>
                <a:gd name="connsiteX325" fmla="*/ 447580 w 853154"/>
                <a:gd name="connsiteY325" fmla="*/ 77057 h 506729"/>
                <a:gd name="connsiteX326" fmla="*/ 449580 w 853154"/>
                <a:gd name="connsiteY326" fmla="*/ 78676 h 506729"/>
                <a:gd name="connsiteX327" fmla="*/ 450247 w 853154"/>
                <a:gd name="connsiteY327" fmla="*/ 84010 h 506729"/>
                <a:gd name="connsiteX328" fmla="*/ 455676 w 853154"/>
                <a:gd name="connsiteY328" fmla="*/ 83248 h 506729"/>
                <a:gd name="connsiteX329" fmla="*/ 457962 w 853154"/>
                <a:gd name="connsiteY329" fmla="*/ 86582 h 506729"/>
                <a:gd name="connsiteX330" fmla="*/ 461296 w 853154"/>
                <a:gd name="connsiteY330" fmla="*/ 84391 h 506729"/>
                <a:gd name="connsiteX331" fmla="*/ 464915 w 853154"/>
                <a:gd name="connsiteY331" fmla="*/ 83915 h 506729"/>
                <a:gd name="connsiteX332" fmla="*/ 473012 w 853154"/>
                <a:gd name="connsiteY332" fmla="*/ 90011 h 506729"/>
                <a:gd name="connsiteX333" fmla="*/ 476821 w 853154"/>
                <a:gd name="connsiteY333" fmla="*/ 91345 h 506729"/>
                <a:gd name="connsiteX334" fmla="*/ 479965 w 853154"/>
                <a:gd name="connsiteY334" fmla="*/ 87344 h 506729"/>
                <a:gd name="connsiteX335" fmla="*/ 485585 w 853154"/>
                <a:gd name="connsiteY335" fmla="*/ 88392 h 506729"/>
                <a:gd name="connsiteX336" fmla="*/ 490347 w 853154"/>
                <a:gd name="connsiteY336" fmla="*/ 96869 h 506729"/>
                <a:gd name="connsiteX337" fmla="*/ 494157 w 853154"/>
                <a:gd name="connsiteY337" fmla="*/ 98107 h 506729"/>
                <a:gd name="connsiteX338" fmla="*/ 495776 w 853154"/>
                <a:gd name="connsiteY338" fmla="*/ 96107 h 506729"/>
                <a:gd name="connsiteX339" fmla="*/ 493014 w 853154"/>
                <a:gd name="connsiteY339" fmla="*/ 89249 h 506729"/>
                <a:gd name="connsiteX340" fmla="*/ 494538 w 853154"/>
                <a:gd name="connsiteY340" fmla="*/ 87154 h 506729"/>
                <a:gd name="connsiteX341" fmla="*/ 498158 w 853154"/>
                <a:gd name="connsiteY341" fmla="*/ 86677 h 506729"/>
                <a:gd name="connsiteX342" fmla="*/ 505778 w 853154"/>
                <a:gd name="connsiteY342" fmla="*/ 89344 h 506729"/>
                <a:gd name="connsiteX343" fmla="*/ 507111 w 853154"/>
                <a:gd name="connsiteY343" fmla="*/ 85534 h 506729"/>
                <a:gd name="connsiteX344" fmla="*/ 510730 w 853154"/>
                <a:gd name="connsiteY344" fmla="*/ 85058 h 506729"/>
                <a:gd name="connsiteX345" fmla="*/ 522446 w 853154"/>
                <a:gd name="connsiteY345" fmla="*/ 90773 h 506729"/>
                <a:gd name="connsiteX346" fmla="*/ 525589 w 853154"/>
                <a:gd name="connsiteY346" fmla="*/ 86677 h 506729"/>
                <a:gd name="connsiteX347" fmla="*/ 528923 w 853154"/>
                <a:gd name="connsiteY347" fmla="*/ 84487 h 506729"/>
                <a:gd name="connsiteX348" fmla="*/ 525113 w 853154"/>
                <a:gd name="connsiteY348" fmla="*/ 83153 h 506729"/>
                <a:gd name="connsiteX349" fmla="*/ 528447 w 853154"/>
                <a:gd name="connsiteY349" fmla="*/ 80867 h 506729"/>
                <a:gd name="connsiteX350" fmla="*/ 527971 w 853154"/>
                <a:gd name="connsiteY350" fmla="*/ 77343 h 506729"/>
                <a:gd name="connsiteX351" fmla="*/ 533400 w 853154"/>
                <a:gd name="connsiteY351" fmla="*/ 76676 h 506729"/>
                <a:gd name="connsiteX352" fmla="*/ 535591 w 853154"/>
                <a:gd name="connsiteY352" fmla="*/ 79915 h 506729"/>
                <a:gd name="connsiteX353" fmla="*/ 547783 w 853154"/>
                <a:gd name="connsiteY353" fmla="*/ 74771 h 506729"/>
                <a:gd name="connsiteX354" fmla="*/ 547306 w 853154"/>
                <a:gd name="connsiteY354" fmla="*/ 71152 h 506729"/>
                <a:gd name="connsiteX355" fmla="*/ 541401 w 853154"/>
                <a:gd name="connsiteY355" fmla="*/ 68294 h 506729"/>
                <a:gd name="connsiteX356" fmla="*/ 540925 w 853154"/>
                <a:gd name="connsiteY356" fmla="*/ 64770 h 506729"/>
                <a:gd name="connsiteX357" fmla="*/ 531209 w 853154"/>
                <a:gd name="connsiteY357" fmla="*/ 60579 h 506729"/>
                <a:gd name="connsiteX358" fmla="*/ 537496 w 853154"/>
                <a:gd name="connsiteY358" fmla="*/ 52483 h 506729"/>
                <a:gd name="connsiteX359" fmla="*/ 535496 w 853154"/>
                <a:gd name="connsiteY359" fmla="*/ 50959 h 506729"/>
                <a:gd name="connsiteX360" fmla="*/ 539020 w 853154"/>
                <a:gd name="connsiteY360" fmla="*/ 50482 h 506729"/>
                <a:gd name="connsiteX361" fmla="*/ 552736 w 853154"/>
                <a:gd name="connsiteY361" fmla="*/ 43243 h 506729"/>
                <a:gd name="connsiteX362" fmla="*/ 556260 w 853154"/>
                <a:gd name="connsiteY362" fmla="*/ 42767 h 506729"/>
                <a:gd name="connsiteX363" fmla="*/ 563023 w 853154"/>
                <a:gd name="connsiteY363" fmla="*/ 38290 h 506729"/>
                <a:gd name="connsiteX364" fmla="*/ 566642 w 853154"/>
                <a:gd name="connsiteY364" fmla="*/ 37814 h 506729"/>
                <a:gd name="connsiteX365" fmla="*/ 576263 w 853154"/>
                <a:gd name="connsiteY365" fmla="*/ 41910 h 506729"/>
                <a:gd name="connsiteX366" fmla="*/ 579406 w 853154"/>
                <a:gd name="connsiteY366" fmla="*/ 37909 h 506729"/>
                <a:gd name="connsiteX367" fmla="*/ 587026 w 853154"/>
                <a:gd name="connsiteY367" fmla="*/ 40576 h 506729"/>
                <a:gd name="connsiteX368" fmla="*/ 593979 w 853154"/>
                <a:gd name="connsiteY368" fmla="*/ 37814 h 506729"/>
                <a:gd name="connsiteX369" fmla="*/ 605219 w 853154"/>
                <a:gd name="connsiteY369" fmla="*/ 39910 h 506729"/>
                <a:gd name="connsiteX370" fmla="*/ 609981 w 853154"/>
                <a:gd name="connsiteY370" fmla="*/ 33909 h 506729"/>
                <a:gd name="connsiteX371" fmla="*/ 609505 w 853154"/>
                <a:gd name="connsiteY371" fmla="*/ 30289 h 506729"/>
                <a:gd name="connsiteX372" fmla="*/ 614172 w 853154"/>
                <a:gd name="connsiteY372" fmla="*/ 24193 h 506729"/>
                <a:gd name="connsiteX373" fmla="*/ 619506 w 853154"/>
                <a:gd name="connsiteY373" fmla="*/ 23527 h 506729"/>
                <a:gd name="connsiteX374" fmla="*/ 619030 w 853154"/>
                <a:gd name="connsiteY374" fmla="*/ 20002 h 506729"/>
                <a:gd name="connsiteX375" fmla="*/ 611981 w 853154"/>
                <a:gd name="connsiteY375" fmla="*/ 8191 h 506729"/>
                <a:gd name="connsiteX376" fmla="*/ 613315 w 853154"/>
                <a:gd name="connsiteY376" fmla="*/ 4381 h 506729"/>
                <a:gd name="connsiteX377" fmla="*/ 618554 w 853154"/>
                <a:gd name="connsiteY377" fmla="*/ 1905 h 506729"/>
                <a:gd name="connsiteX378" fmla="*/ 627697 w 853154"/>
                <a:gd name="connsiteY378" fmla="*/ 2476 h 506729"/>
                <a:gd name="connsiteX379" fmla="*/ 632841 w 853154"/>
                <a:gd name="connsiteY379" fmla="*/ 0 h 506729"/>
                <a:gd name="connsiteX380" fmla="*/ 638461 w 853154"/>
                <a:gd name="connsiteY380" fmla="*/ 1048 h 506729"/>
                <a:gd name="connsiteX381" fmla="*/ 635889 w 853154"/>
                <a:gd name="connsiteY381" fmla="*/ 8668 h 506729"/>
                <a:gd name="connsiteX382" fmla="*/ 636365 w 853154"/>
                <a:gd name="connsiteY382" fmla="*/ 12192 h 506729"/>
                <a:gd name="connsiteX383" fmla="*/ 649796 w 853154"/>
                <a:gd name="connsiteY383" fmla="*/ 3238 h 506729"/>
                <a:gd name="connsiteX384" fmla="*/ 661226 w 853154"/>
                <a:gd name="connsiteY384" fmla="*/ 7144 h 506729"/>
                <a:gd name="connsiteX385" fmla="*/ 659321 w 853154"/>
                <a:gd name="connsiteY385" fmla="*/ 20098 h 506729"/>
                <a:gd name="connsiteX386" fmla="*/ 660273 w 853154"/>
                <a:gd name="connsiteY386" fmla="*/ 27241 h 506729"/>
                <a:gd name="connsiteX387" fmla="*/ 669703 w 853154"/>
                <a:gd name="connsiteY387" fmla="*/ 29623 h 506729"/>
                <a:gd name="connsiteX388" fmla="*/ 667036 w 853154"/>
                <a:gd name="connsiteY388" fmla="*/ 37147 h 506729"/>
                <a:gd name="connsiteX389" fmla="*/ 668846 w 853154"/>
                <a:gd name="connsiteY389" fmla="*/ 36957 h 506729"/>
                <a:gd name="connsiteX390" fmla="*/ 673798 w 853154"/>
                <a:gd name="connsiteY390" fmla="*/ 32671 h 506729"/>
                <a:gd name="connsiteX391" fmla="*/ 679418 w 853154"/>
                <a:gd name="connsiteY391" fmla="*/ 33718 h 506729"/>
                <a:gd name="connsiteX392" fmla="*/ 684467 w 853154"/>
                <a:gd name="connsiteY392" fmla="*/ 31242 h 506729"/>
                <a:gd name="connsiteX393" fmla="*/ 702278 w 853154"/>
                <a:gd name="connsiteY393" fmla="*/ 27051 h 506729"/>
                <a:gd name="connsiteX394" fmla="*/ 708851 w 853154"/>
                <a:gd name="connsiteY394" fmla="*/ 35242 h 506729"/>
                <a:gd name="connsiteX395" fmla="*/ 710375 w 853154"/>
                <a:gd name="connsiteY395" fmla="*/ 33242 h 506729"/>
                <a:gd name="connsiteX396" fmla="*/ 713613 w 853154"/>
                <a:gd name="connsiteY396" fmla="*/ 43720 h 506729"/>
                <a:gd name="connsiteX397" fmla="*/ 725329 w 853154"/>
                <a:gd name="connsiteY397" fmla="*/ 49435 h 506729"/>
                <a:gd name="connsiteX398" fmla="*/ 730282 w 853154"/>
                <a:gd name="connsiteY398" fmla="*/ 45148 h 506729"/>
                <a:gd name="connsiteX399" fmla="*/ 737045 w 853154"/>
                <a:gd name="connsiteY399" fmla="*/ 55054 h 506729"/>
                <a:gd name="connsiteX400" fmla="*/ 737711 w 853154"/>
                <a:gd name="connsiteY400" fmla="*/ 60484 h 506729"/>
                <a:gd name="connsiteX401" fmla="*/ 744093 w 853154"/>
                <a:gd name="connsiteY401" fmla="*/ 66865 h 506729"/>
                <a:gd name="connsiteX402" fmla="*/ 746570 w 853154"/>
                <a:gd name="connsiteY402" fmla="*/ 72009 h 506729"/>
                <a:gd name="connsiteX403" fmla="*/ 757238 w 853154"/>
                <a:gd name="connsiteY403" fmla="*/ 56102 h 506729"/>
                <a:gd name="connsiteX404" fmla="*/ 769144 w 853154"/>
                <a:gd name="connsiteY404" fmla="*/ 49054 h 506729"/>
                <a:gd name="connsiteX405" fmla="*/ 776097 w 853154"/>
                <a:gd name="connsiteY405" fmla="*/ 46291 h 506729"/>
                <a:gd name="connsiteX406" fmla="*/ 779907 w 853154"/>
                <a:gd name="connsiteY406" fmla="*/ 47625 h 506729"/>
                <a:gd name="connsiteX407" fmla="*/ 780193 w 853154"/>
                <a:gd name="connsiteY407" fmla="*/ 49435 h 506729"/>
                <a:gd name="connsiteX408" fmla="*/ 794956 w 853154"/>
                <a:gd name="connsiteY408" fmla="*/ 51054 h 506729"/>
                <a:gd name="connsiteX409" fmla="*/ 794956 w 853154"/>
                <a:gd name="connsiteY409" fmla="*/ 51054 h 506729"/>
                <a:gd name="connsiteX410" fmla="*/ 791909 w 853154"/>
                <a:gd name="connsiteY410" fmla="*/ 55150 h 506729"/>
                <a:gd name="connsiteX411" fmla="*/ 793909 w 853154"/>
                <a:gd name="connsiteY411" fmla="*/ 56674 h 506729"/>
                <a:gd name="connsiteX412" fmla="*/ 799529 w 853154"/>
                <a:gd name="connsiteY412" fmla="*/ 57721 h 506729"/>
                <a:gd name="connsiteX413" fmla="*/ 798005 w 853154"/>
                <a:gd name="connsiteY413" fmla="*/ 59722 h 506729"/>
                <a:gd name="connsiteX414" fmla="*/ 802005 w 853154"/>
                <a:gd name="connsiteY414" fmla="*/ 62865 h 506729"/>
                <a:gd name="connsiteX415" fmla="*/ 811721 w 853154"/>
                <a:gd name="connsiteY415" fmla="*/ 66961 h 506729"/>
                <a:gd name="connsiteX416" fmla="*/ 830294 w 853154"/>
                <a:gd name="connsiteY416" fmla="*/ 82677 h 506729"/>
                <a:gd name="connsiteX417" fmla="*/ 828866 w 853154"/>
                <a:gd name="connsiteY417" fmla="*/ 86487 h 506729"/>
                <a:gd name="connsiteX418" fmla="*/ 831152 w 853154"/>
                <a:gd name="connsiteY418" fmla="*/ 89821 h 506729"/>
                <a:gd name="connsiteX419" fmla="*/ 826294 w 853154"/>
                <a:gd name="connsiteY419" fmla="*/ 94107 h 506729"/>
                <a:gd name="connsiteX420" fmla="*/ 834676 w 853154"/>
                <a:gd name="connsiteY420" fmla="*/ 102013 h 506729"/>
                <a:gd name="connsiteX421" fmla="*/ 836200 w 853154"/>
                <a:gd name="connsiteY421" fmla="*/ 100013 h 506729"/>
                <a:gd name="connsiteX422" fmla="*/ 847249 w 853154"/>
                <a:gd name="connsiteY422" fmla="*/ 114871 h 506729"/>
                <a:gd name="connsiteX423" fmla="*/ 844201 w 853154"/>
                <a:gd name="connsiteY423" fmla="*/ 118872 h 506729"/>
                <a:gd name="connsiteX424" fmla="*/ 850297 w 853154"/>
                <a:gd name="connsiteY424" fmla="*/ 123539 h 506729"/>
                <a:gd name="connsiteX425" fmla="*/ 843820 w 853154"/>
                <a:gd name="connsiteY425" fmla="*/ 129826 h 506729"/>
                <a:gd name="connsiteX426" fmla="*/ 842486 w 853154"/>
                <a:gd name="connsiteY426" fmla="*/ 133636 h 50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</a:cxnLst>
              <a:rect l="l" t="t" r="r" b="b"/>
              <a:pathLst>
                <a:path w="853154" h="506729">
                  <a:moveTo>
                    <a:pt x="842486" y="133636"/>
                  </a:moveTo>
                  <a:lnTo>
                    <a:pt x="834390" y="141922"/>
                  </a:lnTo>
                  <a:lnTo>
                    <a:pt x="848201" y="149162"/>
                  </a:lnTo>
                  <a:lnTo>
                    <a:pt x="845344" y="154972"/>
                  </a:lnTo>
                  <a:lnTo>
                    <a:pt x="853154" y="159448"/>
                  </a:lnTo>
                  <a:lnTo>
                    <a:pt x="847154" y="169259"/>
                  </a:lnTo>
                  <a:lnTo>
                    <a:pt x="842010" y="171736"/>
                  </a:lnTo>
                  <a:lnTo>
                    <a:pt x="842486" y="175355"/>
                  </a:lnTo>
                  <a:lnTo>
                    <a:pt x="829913" y="176974"/>
                  </a:lnTo>
                  <a:lnTo>
                    <a:pt x="832961" y="185642"/>
                  </a:lnTo>
                  <a:lnTo>
                    <a:pt x="842391" y="188023"/>
                  </a:lnTo>
                  <a:lnTo>
                    <a:pt x="833247" y="201930"/>
                  </a:lnTo>
                  <a:lnTo>
                    <a:pt x="827151" y="197263"/>
                  </a:lnTo>
                  <a:lnTo>
                    <a:pt x="819531" y="209169"/>
                  </a:lnTo>
                  <a:lnTo>
                    <a:pt x="815816" y="222409"/>
                  </a:lnTo>
                  <a:lnTo>
                    <a:pt x="838581" y="228409"/>
                  </a:lnTo>
                  <a:lnTo>
                    <a:pt x="842867" y="233267"/>
                  </a:lnTo>
                  <a:lnTo>
                    <a:pt x="848963" y="237934"/>
                  </a:lnTo>
                  <a:lnTo>
                    <a:pt x="850202" y="261366"/>
                  </a:lnTo>
                  <a:lnTo>
                    <a:pt x="828008" y="273367"/>
                  </a:lnTo>
                  <a:lnTo>
                    <a:pt x="822008" y="283178"/>
                  </a:lnTo>
                  <a:lnTo>
                    <a:pt x="813149" y="298894"/>
                  </a:lnTo>
                  <a:lnTo>
                    <a:pt x="819245" y="303466"/>
                  </a:lnTo>
                  <a:lnTo>
                    <a:pt x="813911" y="318706"/>
                  </a:lnTo>
                  <a:lnTo>
                    <a:pt x="810101" y="317373"/>
                  </a:lnTo>
                  <a:lnTo>
                    <a:pt x="812673" y="322516"/>
                  </a:lnTo>
                  <a:lnTo>
                    <a:pt x="805339" y="336137"/>
                  </a:lnTo>
                  <a:lnTo>
                    <a:pt x="802196" y="340233"/>
                  </a:lnTo>
                  <a:lnTo>
                    <a:pt x="806291" y="343281"/>
                  </a:lnTo>
                  <a:lnTo>
                    <a:pt x="812006" y="358807"/>
                  </a:lnTo>
                  <a:lnTo>
                    <a:pt x="811339" y="367951"/>
                  </a:lnTo>
                  <a:lnTo>
                    <a:pt x="808672" y="375571"/>
                  </a:lnTo>
                  <a:lnTo>
                    <a:pt x="809149" y="379190"/>
                  </a:lnTo>
                  <a:lnTo>
                    <a:pt x="826008" y="382333"/>
                  </a:lnTo>
                  <a:lnTo>
                    <a:pt x="837724" y="388048"/>
                  </a:lnTo>
                  <a:lnTo>
                    <a:pt x="842105" y="392906"/>
                  </a:lnTo>
                  <a:lnTo>
                    <a:pt x="838676" y="395192"/>
                  </a:lnTo>
                  <a:lnTo>
                    <a:pt x="840677" y="396716"/>
                  </a:lnTo>
                  <a:lnTo>
                    <a:pt x="840962" y="398526"/>
                  </a:lnTo>
                  <a:lnTo>
                    <a:pt x="830866" y="405289"/>
                  </a:lnTo>
                  <a:lnTo>
                    <a:pt x="828008" y="411099"/>
                  </a:lnTo>
                  <a:lnTo>
                    <a:pt x="829151" y="420052"/>
                  </a:lnTo>
                  <a:lnTo>
                    <a:pt x="821436" y="430149"/>
                  </a:lnTo>
                  <a:lnTo>
                    <a:pt x="817150" y="439769"/>
                  </a:lnTo>
                  <a:lnTo>
                    <a:pt x="817436" y="441579"/>
                  </a:lnTo>
                  <a:lnTo>
                    <a:pt x="821246" y="442817"/>
                  </a:lnTo>
                  <a:lnTo>
                    <a:pt x="818579" y="450437"/>
                  </a:lnTo>
                  <a:lnTo>
                    <a:pt x="813911" y="456533"/>
                  </a:lnTo>
                  <a:lnTo>
                    <a:pt x="805148" y="459486"/>
                  </a:lnTo>
                  <a:lnTo>
                    <a:pt x="799147" y="469297"/>
                  </a:lnTo>
                  <a:lnTo>
                    <a:pt x="798100" y="474916"/>
                  </a:lnTo>
                  <a:lnTo>
                    <a:pt x="796290" y="475107"/>
                  </a:lnTo>
                  <a:lnTo>
                    <a:pt x="794099" y="486346"/>
                  </a:lnTo>
                  <a:lnTo>
                    <a:pt x="790766" y="488632"/>
                  </a:lnTo>
                  <a:lnTo>
                    <a:pt x="788670" y="487013"/>
                  </a:lnTo>
                  <a:lnTo>
                    <a:pt x="780383" y="493585"/>
                  </a:lnTo>
                  <a:lnTo>
                    <a:pt x="778193" y="490252"/>
                  </a:lnTo>
                  <a:lnTo>
                    <a:pt x="776383" y="490538"/>
                  </a:lnTo>
                  <a:lnTo>
                    <a:pt x="775049" y="494252"/>
                  </a:lnTo>
                  <a:lnTo>
                    <a:pt x="773525" y="496348"/>
                  </a:lnTo>
                  <a:lnTo>
                    <a:pt x="770572" y="502063"/>
                  </a:lnTo>
                  <a:lnTo>
                    <a:pt x="769048" y="504158"/>
                  </a:lnTo>
                  <a:lnTo>
                    <a:pt x="765429" y="504634"/>
                  </a:lnTo>
                  <a:lnTo>
                    <a:pt x="765238" y="502825"/>
                  </a:lnTo>
                  <a:lnTo>
                    <a:pt x="749332" y="506730"/>
                  </a:lnTo>
                  <a:lnTo>
                    <a:pt x="748760" y="503206"/>
                  </a:lnTo>
                  <a:lnTo>
                    <a:pt x="747046" y="503396"/>
                  </a:lnTo>
                  <a:lnTo>
                    <a:pt x="742664" y="498538"/>
                  </a:lnTo>
                  <a:lnTo>
                    <a:pt x="747617" y="494252"/>
                  </a:lnTo>
                  <a:lnTo>
                    <a:pt x="745331" y="490918"/>
                  </a:lnTo>
                  <a:lnTo>
                    <a:pt x="741331" y="487871"/>
                  </a:lnTo>
                  <a:lnTo>
                    <a:pt x="736187" y="490347"/>
                  </a:lnTo>
                  <a:lnTo>
                    <a:pt x="733139" y="481679"/>
                  </a:lnTo>
                  <a:lnTo>
                    <a:pt x="733901" y="487013"/>
                  </a:lnTo>
                  <a:lnTo>
                    <a:pt x="730568" y="489299"/>
                  </a:lnTo>
                  <a:lnTo>
                    <a:pt x="729901" y="498443"/>
                  </a:lnTo>
                  <a:lnTo>
                    <a:pt x="723138" y="502920"/>
                  </a:lnTo>
                  <a:lnTo>
                    <a:pt x="706374" y="499777"/>
                  </a:lnTo>
                  <a:lnTo>
                    <a:pt x="696182" y="492062"/>
                  </a:lnTo>
                  <a:lnTo>
                    <a:pt x="690753" y="492728"/>
                  </a:lnTo>
                  <a:lnTo>
                    <a:pt x="673894" y="489490"/>
                  </a:lnTo>
                  <a:lnTo>
                    <a:pt x="663321" y="492728"/>
                  </a:lnTo>
                  <a:lnTo>
                    <a:pt x="659987" y="495014"/>
                  </a:lnTo>
                  <a:lnTo>
                    <a:pt x="658178" y="495205"/>
                  </a:lnTo>
                  <a:lnTo>
                    <a:pt x="646938" y="493109"/>
                  </a:lnTo>
                  <a:lnTo>
                    <a:pt x="598837" y="488537"/>
                  </a:lnTo>
                  <a:lnTo>
                    <a:pt x="561499" y="482632"/>
                  </a:lnTo>
                  <a:lnTo>
                    <a:pt x="560165" y="486442"/>
                  </a:lnTo>
                  <a:lnTo>
                    <a:pt x="556831" y="488728"/>
                  </a:lnTo>
                  <a:lnTo>
                    <a:pt x="554831" y="487204"/>
                  </a:lnTo>
                  <a:lnTo>
                    <a:pt x="549212" y="486061"/>
                  </a:lnTo>
                  <a:lnTo>
                    <a:pt x="547783" y="489871"/>
                  </a:lnTo>
                  <a:lnTo>
                    <a:pt x="530923" y="486727"/>
                  </a:lnTo>
                  <a:lnTo>
                    <a:pt x="528733" y="483394"/>
                  </a:lnTo>
                  <a:lnTo>
                    <a:pt x="525113" y="483870"/>
                  </a:lnTo>
                  <a:lnTo>
                    <a:pt x="523780" y="487680"/>
                  </a:lnTo>
                  <a:lnTo>
                    <a:pt x="520160" y="488156"/>
                  </a:lnTo>
                  <a:lnTo>
                    <a:pt x="511016" y="487489"/>
                  </a:lnTo>
                  <a:lnTo>
                    <a:pt x="495681" y="482251"/>
                  </a:lnTo>
                  <a:lnTo>
                    <a:pt x="481965" y="475012"/>
                  </a:lnTo>
                  <a:lnTo>
                    <a:pt x="466154" y="466249"/>
                  </a:lnTo>
                  <a:lnTo>
                    <a:pt x="415385" y="442150"/>
                  </a:lnTo>
                  <a:lnTo>
                    <a:pt x="410623" y="433673"/>
                  </a:lnTo>
                  <a:lnTo>
                    <a:pt x="390335" y="418243"/>
                  </a:lnTo>
                  <a:lnTo>
                    <a:pt x="384715" y="417195"/>
                  </a:lnTo>
                  <a:lnTo>
                    <a:pt x="376333" y="409289"/>
                  </a:lnTo>
                  <a:lnTo>
                    <a:pt x="376523" y="396526"/>
                  </a:lnTo>
                  <a:lnTo>
                    <a:pt x="382524" y="386620"/>
                  </a:lnTo>
                  <a:lnTo>
                    <a:pt x="382048" y="383096"/>
                  </a:lnTo>
                  <a:lnTo>
                    <a:pt x="371285" y="384524"/>
                  </a:lnTo>
                  <a:lnTo>
                    <a:pt x="372332" y="379000"/>
                  </a:lnTo>
                  <a:lnTo>
                    <a:pt x="370332" y="377380"/>
                  </a:lnTo>
                  <a:lnTo>
                    <a:pt x="366903" y="379666"/>
                  </a:lnTo>
                  <a:lnTo>
                    <a:pt x="367855" y="386810"/>
                  </a:lnTo>
                  <a:lnTo>
                    <a:pt x="366522" y="390620"/>
                  </a:lnTo>
                  <a:lnTo>
                    <a:pt x="360902" y="389477"/>
                  </a:lnTo>
                  <a:lnTo>
                    <a:pt x="354806" y="384905"/>
                  </a:lnTo>
                  <a:lnTo>
                    <a:pt x="350806" y="381857"/>
                  </a:lnTo>
                  <a:lnTo>
                    <a:pt x="356330" y="368332"/>
                  </a:lnTo>
                  <a:lnTo>
                    <a:pt x="348901" y="367570"/>
                  </a:lnTo>
                  <a:lnTo>
                    <a:pt x="344614" y="362712"/>
                  </a:lnTo>
                  <a:lnTo>
                    <a:pt x="336042" y="367474"/>
                  </a:lnTo>
                  <a:lnTo>
                    <a:pt x="323469" y="369094"/>
                  </a:lnTo>
                  <a:lnTo>
                    <a:pt x="320993" y="364046"/>
                  </a:lnTo>
                  <a:lnTo>
                    <a:pt x="321850" y="356616"/>
                  </a:lnTo>
                  <a:lnTo>
                    <a:pt x="323660" y="356330"/>
                  </a:lnTo>
                  <a:lnTo>
                    <a:pt x="326136" y="361474"/>
                  </a:lnTo>
                  <a:lnTo>
                    <a:pt x="329946" y="362807"/>
                  </a:lnTo>
                  <a:lnTo>
                    <a:pt x="333566" y="362331"/>
                  </a:lnTo>
                  <a:lnTo>
                    <a:pt x="333089" y="358807"/>
                  </a:lnTo>
                  <a:lnTo>
                    <a:pt x="324517" y="348996"/>
                  </a:lnTo>
                  <a:lnTo>
                    <a:pt x="318516" y="358902"/>
                  </a:lnTo>
                  <a:lnTo>
                    <a:pt x="314706" y="357568"/>
                  </a:lnTo>
                  <a:lnTo>
                    <a:pt x="310420" y="352711"/>
                  </a:lnTo>
                  <a:lnTo>
                    <a:pt x="312325" y="339757"/>
                  </a:lnTo>
                  <a:lnTo>
                    <a:pt x="310325" y="338233"/>
                  </a:lnTo>
                  <a:lnTo>
                    <a:pt x="308038" y="334899"/>
                  </a:lnTo>
                  <a:lnTo>
                    <a:pt x="304229" y="333565"/>
                  </a:lnTo>
                  <a:lnTo>
                    <a:pt x="306419" y="336899"/>
                  </a:lnTo>
                  <a:lnTo>
                    <a:pt x="307181" y="342233"/>
                  </a:lnTo>
                  <a:lnTo>
                    <a:pt x="296609" y="345472"/>
                  </a:lnTo>
                  <a:lnTo>
                    <a:pt x="290036" y="337280"/>
                  </a:lnTo>
                  <a:lnTo>
                    <a:pt x="276987" y="335375"/>
                  </a:lnTo>
                  <a:lnTo>
                    <a:pt x="276320" y="330041"/>
                  </a:lnTo>
                  <a:lnTo>
                    <a:pt x="283273" y="327279"/>
                  </a:lnTo>
                  <a:lnTo>
                    <a:pt x="284797" y="325279"/>
                  </a:lnTo>
                  <a:lnTo>
                    <a:pt x="276225" y="315563"/>
                  </a:lnTo>
                  <a:lnTo>
                    <a:pt x="275463" y="310229"/>
                  </a:lnTo>
                  <a:lnTo>
                    <a:pt x="267462" y="318516"/>
                  </a:lnTo>
                  <a:lnTo>
                    <a:pt x="263843" y="318992"/>
                  </a:lnTo>
                  <a:lnTo>
                    <a:pt x="258032" y="316135"/>
                  </a:lnTo>
                  <a:lnTo>
                    <a:pt x="243840" y="319849"/>
                  </a:lnTo>
                  <a:lnTo>
                    <a:pt x="232410" y="315849"/>
                  </a:lnTo>
                  <a:lnTo>
                    <a:pt x="221171" y="313754"/>
                  </a:lnTo>
                  <a:lnTo>
                    <a:pt x="216694" y="321564"/>
                  </a:lnTo>
                  <a:lnTo>
                    <a:pt x="212503" y="331184"/>
                  </a:lnTo>
                  <a:lnTo>
                    <a:pt x="196405" y="347853"/>
                  </a:lnTo>
                  <a:lnTo>
                    <a:pt x="184976" y="343948"/>
                  </a:lnTo>
                  <a:lnTo>
                    <a:pt x="160592" y="339947"/>
                  </a:lnTo>
                  <a:lnTo>
                    <a:pt x="160115" y="336328"/>
                  </a:lnTo>
                  <a:lnTo>
                    <a:pt x="156305" y="334994"/>
                  </a:lnTo>
                  <a:lnTo>
                    <a:pt x="145828" y="338233"/>
                  </a:lnTo>
                  <a:lnTo>
                    <a:pt x="142685" y="342329"/>
                  </a:lnTo>
                  <a:lnTo>
                    <a:pt x="137255" y="342995"/>
                  </a:lnTo>
                  <a:lnTo>
                    <a:pt x="130207" y="331184"/>
                  </a:lnTo>
                  <a:lnTo>
                    <a:pt x="122396" y="326803"/>
                  </a:lnTo>
                  <a:lnTo>
                    <a:pt x="117538" y="318421"/>
                  </a:lnTo>
                  <a:lnTo>
                    <a:pt x="106966" y="307086"/>
                  </a:lnTo>
                  <a:lnTo>
                    <a:pt x="89345" y="298513"/>
                  </a:lnTo>
                  <a:lnTo>
                    <a:pt x="89821" y="302133"/>
                  </a:lnTo>
                  <a:lnTo>
                    <a:pt x="84487" y="302800"/>
                  </a:lnTo>
                  <a:lnTo>
                    <a:pt x="75343" y="289560"/>
                  </a:lnTo>
                  <a:lnTo>
                    <a:pt x="67723" y="286893"/>
                  </a:lnTo>
                  <a:lnTo>
                    <a:pt x="64389" y="289179"/>
                  </a:lnTo>
                  <a:lnTo>
                    <a:pt x="54959" y="286798"/>
                  </a:lnTo>
                  <a:lnTo>
                    <a:pt x="36957" y="289179"/>
                  </a:lnTo>
                  <a:lnTo>
                    <a:pt x="17145" y="277273"/>
                  </a:lnTo>
                  <a:lnTo>
                    <a:pt x="0" y="272320"/>
                  </a:lnTo>
                  <a:lnTo>
                    <a:pt x="9335" y="260223"/>
                  </a:lnTo>
                  <a:lnTo>
                    <a:pt x="11811" y="250793"/>
                  </a:lnTo>
                  <a:lnTo>
                    <a:pt x="17431" y="251841"/>
                  </a:lnTo>
                  <a:lnTo>
                    <a:pt x="22098" y="245840"/>
                  </a:lnTo>
                  <a:lnTo>
                    <a:pt x="27432" y="245078"/>
                  </a:lnTo>
                  <a:lnTo>
                    <a:pt x="20003" y="244316"/>
                  </a:lnTo>
                  <a:lnTo>
                    <a:pt x="18002" y="242697"/>
                  </a:lnTo>
                  <a:lnTo>
                    <a:pt x="19812" y="242506"/>
                  </a:lnTo>
                  <a:lnTo>
                    <a:pt x="22955" y="238411"/>
                  </a:lnTo>
                  <a:lnTo>
                    <a:pt x="26765" y="239744"/>
                  </a:lnTo>
                  <a:lnTo>
                    <a:pt x="29432" y="232124"/>
                  </a:lnTo>
                  <a:lnTo>
                    <a:pt x="27146" y="228790"/>
                  </a:lnTo>
                  <a:lnTo>
                    <a:pt x="25051" y="227266"/>
                  </a:lnTo>
                  <a:lnTo>
                    <a:pt x="30289" y="224790"/>
                  </a:lnTo>
                  <a:lnTo>
                    <a:pt x="36386" y="229362"/>
                  </a:lnTo>
                  <a:lnTo>
                    <a:pt x="37433" y="223838"/>
                  </a:lnTo>
                  <a:lnTo>
                    <a:pt x="41053" y="223361"/>
                  </a:lnTo>
                  <a:lnTo>
                    <a:pt x="42101" y="217741"/>
                  </a:lnTo>
                  <a:lnTo>
                    <a:pt x="45529" y="215551"/>
                  </a:lnTo>
                  <a:lnTo>
                    <a:pt x="44577" y="208407"/>
                  </a:lnTo>
                  <a:lnTo>
                    <a:pt x="40958" y="208883"/>
                  </a:lnTo>
                  <a:lnTo>
                    <a:pt x="38862" y="207359"/>
                  </a:lnTo>
                  <a:lnTo>
                    <a:pt x="44291" y="206597"/>
                  </a:lnTo>
                  <a:lnTo>
                    <a:pt x="61627" y="213360"/>
                  </a:lnTo>
                  <a:lnTo>
                    <a:pt x="56864" y="204978"/>
                  </a:lnTo>
                  <a:lnTo>
                    <a:pt x="67437" y="201739"/>
                  </a:lnTo>
                  <a:lnTo>
                    <a:pt x="69723" y="205073"/>
                  </a:lnTo>
                  <a:lnTo>
                    <a:pt x="72200" y="210217"/>
                  </a:lnTo>
                  <a:lnTo>
                    <a:pt x="78010" y="212979"/>
                  </a:lnTo>
                  <a:lnTo>
                    <a:pt x="75152" y="218884"/>
                  </a:lnTo>
                  <a:lnTo>
                    <a:pt x="75629" y="222409"/>
                  </a:lnTo>
                  <a:lnTo>
                    <a:pt x="83534" y="226790"/>
                  </a:lnTo>
                  <a:lnTo>
                    <a:pt x="87154" y="226314"/>
                  </a:lnTo>
                  <a:lnTo>
                    <a:pt x="92297" y="223838"/>
                  </a:lnTo>
                  <a:lnTo>
                    <a:pt x="94774" y="228886"/>
                  </a:lnTo>
                  <a:lnTo>
                    <a:pt x="96774" y="230505"/>
                  </a:lnTo>
                  <a:lnTo>
                    <a:pt x="101727" y="226219"/>
                  </a:lnTo>
                  <a:lnTo>
                    <a:pt x="102870" y="220599"/>
                  </a:lnTo>
                  <a:lnTo>
                    <a:pt x="100775" y="219075"/>
                  </a:lnTo>
                  <a:lnTo>
                    <a:pt x="107728" y="216313"/>
                  </a:lnTo>
                  <a:lnTo>
                    <a:pt x="107061" y="210979"/>
                  </a:lnTo>
                  <a:lnTo>
                    <a:pt x="114205" y="210026"/>
                  </a:lnTo>
                  <a:lnTo>
                    <a:pt x="110490" y="196024"/>
                  </a:lnTo>
                  <a:lnTo>
                    <a:pt x="112109" y="194024"/>
                  </a:lnTo>
                  <a:lnTo>
                    <a:pt x="119253" y="193072"/>
                  </a:lnTo>
                  <a:lnTo>
                    <a:pt x="123349" y="196120"/>
                  </a:lnTo>
                  <a:lnTo>
                    <a:pt x="126968" y="195643"/>
                  </a:lnTo>
                  <a:lnTo>
                    <a:pt x="129159" y="198977"/>
                  </a:lnTo>
                  <a:lnTo>
                    <a:pt x="132588" y="196787"/>
                  </a:lnTo>
                  <a:lnTo>
                    <a:pt x="140779" y="190214"/>
                  </a:lnTo>
                  <a:lnTo>
                    <a:pt x="151638" y="188785"/>
                  </a:lnTo>
                  <a:lnTo>
                    <a:pt x="152114" y="192405"/>
                  </a:lnTo>
                  <a:lnTo>
                    <a:pt x="162020" y="198310"/>
                  </a:lnTo>
                  <a:lnTo>
                    <a:pt x="164783" y="205168"/>
                  </a:lnTo>
                  <a:lnTo>
                    <a:pt x="169259" y="211836"/>
                  </a:lnTo>
                  <a:lnTo>
                    <a:pt x="173546" y="216694"/>
                  </a:lnTo>
                  <a:lnTo>
                    <a:pt x="176689" y="212693"/>
                  </a:lnTo>
                  <a:lnTo>
                    <a:pt x="180118" y="210407"/>
                  </a:lnTo>
                  <a:lnTo>
                    <a:pt x="181356" y="206597"/>
                  </a:lnTo>
                  <a:lnTo>
                    <a:pt x="184213" y="200787"/>
                  </a:lnTo>
                  <a:lnTo>
                    <a:pt x="180404" y="199454"/>
                  </a:lnTo>
                  <a:lnTo>
                    <a:pt x="181737" y="195643"/>
                  </a:lnTo>
                  <a:lnTo>
                    <a:pt x="179737" y="194119"/>
                  </a:lnTo>
                  <a:lnTo>
                    <a:pt x="183547" y="195453"/>
                  </a:lnTo>
                  <a:lnTo>
                    <a:pt x="187738" y="185833"/>
                  </a:lnTo>
                  <a:lnTo>
                    <a:pt x="195644" y="190214"/>
                  </a:lnTo>
                  <a:lnTo>
                    <a:pt x="198501" y="184404"/>
                  </a:lnTo>
                  <a:lnTo>
                    <a:pt x="196787" y="184594"/>
                  </a:lnTo>
                  <a:lnTo>
                    <a:pt x="198882" y="173450"/>
                  </a:lnTo>
                  <a:lnTo>
                    <a:pt x="198692" y="171736"/>
                  </a:lnTo>
                  <a:lnTo>
                    <a:pt x="204311" y="172783"/>
                  </a:lnTo>
                  <a:lnTo>
                    <a:pt x="218885" y="172593"/>
                  </a:lnTo>
                  <a:lnTo>
                    <a:pt x="228981" y="165830"/>
                  </a:lnTo>
                  <a:lnTo>
                    <a:pt x="231458" y="156496"/>
                  </a:lnTo>
                  <a:lnTo>
                    <a:pt x="233172" y="156210"/>
                  </a:lnTo>
                  <a:lnTo>
                    <a:pt x="238601" y="155543"/>
                  </a:lnTo>
                  <a:lnTo>
                    <a:pt x="239935" y="151733"/>
                  </a:lnTo>
                  <a:lnTo>
                    <a:pt x="241745" y="151447"/>
                  </a:lnTo>
                  <a:lnTo>
                    <a:pt x="241459" y="149733"/>
                  </a:lnTo>
                  <a:lnTo>
                    <a:pt x="234029" y="148876"/>
                  </a:lnTo>
                  <a:lnTo>
                    <a:pt x="236982" y="143065"/>
                  </a:lnTo>
                  <a:lnTo>
                    <a:pt x="247269" y="138017"/>
                  </a:lnTo>
                  <a:lnTo>
                    <a:pt x="248793" y="136017"/>
                  </a:lnTo>
                  <a:lnTo>
                    <a:pt x="253460" y="130016"/>
                  </a:lnTo>
                  <a:lnTo>
                    <a:pt x="261366" y="134398"/>
                  </a:lnTo>
                  <a:lnTo>
                    <a:pt x="267653" y="126301"/>
                  </a:lnTo>
                  <a:lnTo>
                    <a:pt x="275272" y="128873"/>
                  </a:lnTo>
                  <a:lnTo>
                    <a:pt x="279940" y="122872"/>
                  </a:lnTo>
                  <a:lnTo>
                    <a:pt x="289846" y="128778"/>
                  </a:lnTo>
                  <a:lnTo>
                    <a:pt x="295275" y="128111"/>
                  </a:lnTo>
                  <a:lnTo>
                    <a:pt x="296037" y="133445"/>
                  </a:lnTo>
                  <a:lnTo>
                    <a:pt x="302895" y="130683"/>
                  </a:lnTo>
                  <a:lnTo>
                    <a:pt x="300704" y="127349"/>
                  </a:lnTo>
                  <a:lnTo>
                    <a:pt x="301943" y="123539"/>
                  </a:lnTo>
                  <a:lnTo>
                    <a:pt x="305848" y="124873"/>
                  </a:lnTo>
                  <a:lnTo>
                    <a:pt x="307658" y="124587"/>
                  </a:lnTo>
                  <a:lnTo>
                    <a:pt x="305086" y="119539"/>
                  </a:lnTo>
                  <a:lnTo>
                    <a:pt x="308705" y="119063"/>
                  </a:lnTo>
                  <a:lnTo>
                    <a:pt x="308229" y="115443"/>
                  </a:lnTo>
                  <a:lnTo>
                    <a:pt x="304419" y="114205"/>
                  </a:lnTo>
                  <a:lnTo>
                    <a:pt x="310610" y="106108"/>
                  </a:lnTo>
                  <a:lnTo>
                    <a:pt x="309944" y="100774"/>
                  </a:lnTo>
                  <a:lnTo>
                    <a:pt x="312992" y="96679"/>
                  </a:lnTo>
                  <a:lnTo>
                    <a:pt x="312134" y="89630"/>
                  </a:lnTo>
                  <a:lnTo>
                    <a:pt x="314135" y="91154"/>
                  </a:lnTo>
                  <a:lnTo>
                    <a:pt x="319564" y="90392"/>
                  </a:lnTo>
                  <a:lnTo>
                    <a:pt x="333089" y="95917"/>
                  </a:lnTo>
                  <a:lnTo>
                    <a:pt x="335280" y="99250"/>
                  </a:lnTo>
                  <a:lnTo>
                    <a:pt x="327851" y="98393"/>
                  </a:lnTo>
                  <a:lnTo>
                    <a:pt x="328327" y="101917"/>
                  </a:lnTo>
                  <a:lnTo>
                    <a:pt x="332232" y="103251"/>
                  </a:lnTo>
                  <a:lnTo>
                    <a:pt x="337376" y="100774"/>
                  </a:lnTo>
                  <a:lnTo>
                    <a:pt x="339662" y="104108"/>
                  </a:lnTo>
                  <a:lnTo>
                    <a:pt x="345853" y="96012"/>
                  </a:lnTo>
                  <a:lnTo>
                    <a:pt x="355949" y="89249"/>
                  </a:lnTo>
                  <a:lnTo>
                    <a:pt x="353663" y="85915"/>
                  </a:lnTo>
                  <a:lnTo>
                    <a:pt x="352044" y="73438"/>
                  </a:lnTo>
                  <a:lnTo>
                    <a:pt x="365760" y="80677"/>
                  </a:lnTo>
                  <a:lnTo>
                    <a:pt x="371761" y="70866"/>
                  </a:lnTo>
                  <a:lnTo>
                    <a:pt x="380047" y="64294"/>
                  </a:lnTo>
                  <a:lnTo>
                    <a:pt x="384143" y="67342"/>
                  </a:lnTo>
                  <a:lnTo>
                    <a:pt x="383000" y="72962"/>
                  </a:lnTo>
                  <a:lnTo>
                    <a:pt x="385477" y="78105"/>
                  </a:lnTo>
                  <a:lnTo>
                    <a:pt x="389382" y="79343"/>
                  </a:lnTo>
                  <a:lnTo>
                    <a:pt x="389572" y="81153"/>
                  </a:lnTo>
                  <a:lnTo>
                    <a:pt x="388048" y="83153"/>
                  </a:lnTo>
                  <a:lnTo>
                    <a:pt x="390525" y="88297"/>
                  </a:lnTo>
                  <a:lnTo>
                    <a:pt x="386715" y="86963"/>
                  </a:lnTo>
                  <a:lnTo>
                    <a:pt x="386905" y="88773"/>
                  </a:lnTo>
                  <a:lnTo>
                    <a:pt x="390716" y="90106"/>
                  </a:lnTo>
                  <a:lnTo>
                    <a:pt x="394811" y="93154"/>
                  </a:lnTo>
                  <a:lnTo>
                    <a:pt x="396621" y="92869"/>
                  </a:lnTo>
                  <a:lnTo>
                    <a:pt x="395954" y="87535"/>
                  </a:lnTo>
                  <a:lnTo>
                    <a:pt x="397669" y="87344"/>
                  </a:lnTo>
                  <a:lnTo>
                    <a:pt x="400241" y="92392"/>
                  </a:lnTo>
                  <a:lnTo>
                    <a:pt x="398431" y="92678"/>
                  </a:lnTo>
                  <a:lnTo>
                    <a:pt x="398907" y="96298"/>
                  </a:lnTo>
                  <a:lnTo>
                    <a:pt x="408813" y="102203"/>
                  </a:lnTo>
                  <a:lnTo>
                    <a:pt x="416433" y="104775"/>
                  </a:lnTo>
                  <a:lnTo>
                    <a:pt x="425482" y="103632"/>
                  </a:lnTo>
                  <a:lnTo>
                    <a:pt x="428816" y="101346"/>
                  </a:lnTo>
                  <a:lnTo>
                    <a:pt x="436245" y="102203"/>
                  </a:lnTo>
                  <a:lnTo>
                    <a:pt x="438626" y="92773"/>
                  </a:lnTo>
                  <a:lnTo>
                    <a:pt x="445865" y="91821"/>
                  </a:lnTo>
                  <a:lnTo>
                    <a:pt x="446627" y="84487"/>
                  </a:lnTo>
                  <a:lnTo>
                    <a:pt x="442627" y="81343"/>
                  </a:lnTo>
                  <a:lnTo>
                    <a:pt x="443960" y="77533"/>
                  </a:lnTo>
                  <a:lnTo>
                    <a:pt x="447580" y="77057"/>
                  </a:lnTo>
                  <a:lnTo>
                    <a:pt x="449580" y="78676"/>
                  </a:lnTo>
                  <a:lnTo>
                    <a:pt x="450247" y="84010"/>
                  </a:lnTo>
                  <a:lnTo>
                    <a:pt x="455676" y="83248"/>
                  </a:lnTo>
                  <a:lnTo>
                    <a:pt x="457962" y="86582"/>
                  </a:lnTo>
                  <a:lnTo>
                    <a:pt x="461296" y="84391"/>
                  </a:lnTo>
                  <a:lnTo>
                    <a:pt x="464915" y="83915"/>
                  </a:lnTo>
                  <a:lnTo>
                    <a:pt x="473012" y="90011"/>
                  </a:lnTo>
                  <a:lnTo>
                    <a:pt x="476821" y="91345"/>
                  </a:lnTo>
                  <a:lnTo>
                    <a:pt x="479965" y="87344"/>
                  </a:lnTo>
                  <a:lnTo>
                    <a:pt x="485585" y="88392"/>
                  </a:lnTo>
                  <a:lnTo>
                    <a:pt x="490347" y="96869"/>
                  </a:lnTo>
                  <a:lnTo>
                    <a:pt x="494157" y="98107"/>
                  </a:lnTo>
                  <a:lnTo>
                    <a:pt x="495776" y="96107"/>
                  </a:lnTo>
                  <a:lnTo>
                    <a:pt x="493014" y="89249"/>
                  </a:lnTo>
                  <a:lnTo>
                    <a:pt x="494538" y="87154"/>
                  </a:lnTo>
                  <a:lnTo>
                    <a:pt x="498158" y="86677"/>
                  </a:lnTo>
                  <a:lnTo>
                    <a:pt x="505778" y="89344"/>
                  </a:lnTo>
                  <a:lnTo>
                    <a:pt x="507111" y="85534"/>
                  </a:lnTo>
                  <a:lnTo>
                    <a:pt x="510730" y="85058"/>
                  </a:lnTo>
                  <a:lnTo>
                    <a:pt x="522446" y="90773"/>
                  </a:lnTo>
                  <a:lnTo>
                    <a:pt x="525589" y="86677"/>
                  </a:lnTo>
                  <a:lnTo>
                    <a:pt x="528923" y="84487"/>
                  </a:lnTo>
                  <a:lnTo>
                    <a:pt x="525113" y="83153"/>
                  </a:lnTo>
                  <a:lnTo>
                    <a:pt x="528447" y="80867"/>
                  </a:lnTo>
                  <a:lnTo>
                    <a:pt x="527971" y="77343"/>
                  </a:lnTo>
                  <a:lnTo>
                    <a:pt x="533400" y="76676"/>
                  </a:lnTo>
                  <a:lnTo>
                    <a:pt x="535591" y="79915"/>
                  </a:lnTo>
                  <a:lnTo>
                    <a:pt x="547783" y="74771"/>
                  </a:lnTo>
                  <a:lnTo>
                    <a:pt x="547306" y="71152"/>
                  </a:lnTo>
                  <a:lnTo>
                    <a:pt x="541401" y="68294"/>
                  </a:lnTo>
                  <a:lnTo>
                    <a:pt x="540925" y="64770"/>
                  </a:lnTo>
                  <a:lnTo>
                    <a:pt x="531209" y="60579"/>
                  </a:lnTo>
                  <a:lnTo>
                    <a:pt x="537496" y="52483"/>
                  </a:lnTo>
                  <a:lnTo>
                    <a:pt x="535496" y="50959"/>
                  </a:lnTo>
                  <a:lnTo>
                    <a:pt x="539020" y="50482"/>
                  </a:lnTo>
                  <a:lnTo>
                    <a:pt x="552736" y="43243"/>
                  </a:lnTo>
                  <a:lnTo>
                    <a:pt x="556260" y="42767"/>
                  </a:lnTo>
                  <a:lnTo>
                    <a:pt x="563023" y="38290"/>
                  </a:lnTo>
                  <a:lnTo>
                    <a:pt x="566642" y="37814"/>
                  </a:lnTo>
                  <a:lnTo>
                    <a:pt x="576263" y="41910"/>
                  </a:lnTo>
                  <a:lnTo>
                    <a:pt x="579406" y="37909"/>
                  </a:lnTo>
                  <a:lnTo>
                    <a:pt x="587026" y="40576"/>
                  </a:lnTo>
                  <a:lnTo>
                    <a:pt x="593979" y="37814"/>
                  </a:lnTo>
                  <a:lnTo>
                    <a:pt x="605219" y="39910"/>
                  </a:lnTo>
                  <a:lnTo>
                    <a:pt x="609981" y="33909"/>
                  </a:lnTo>
                  <a:lnTo>
                    <a:pt x="609505" y="30289"/>
                  </a:lnTo>
                  <a:lnTo>
                    <a:pt x="614172" y="24193"/>
                  </a:lnTo>
                  <a:lnTo>
                    <a:pt x="619506" y="23527"/>
                  </a:lnTo>
                  <a:lnTo>
                    <a:pt x="619030" y="20002"/>
                  </a:lnTo>
                  <a:lnTo>
                    <a:pt x="611981" y="8191"/>
                  </a:lnTo>
                  <a:lnTo>
                    <a:pt x="613315" y="4381"/>
                  </a:lnTo>
                  <a:lnTo>
                    <a:pt x="618554" y="1905"/>
                  </a:lnTo>
                  <a:lnTo>
                    <a:pt x="627697" y="2476"/>
                  </a:lnTo>
                  <a:lnTo>
                    <a:pt x="632841" y="0"/>
                  </a:lnTo>
                  <a:lnTo>
                    <a:pt x="638461" y="1048"/>
                  </a:lnTo>
                  <a:lnTo>
                    <a:pt x="635889" y="8668"/>
                  </a:lnTo>
                  <a:lnTo>
                    <a:pt x="636365" y="12192"/>
                  </a:lnTo>
                  <a:lnTo>
                    <a:pt x="649796" y="3238"/>
                  </a:lnTo>
                  <a:lnTo>
                    <a:pt x="661226" y="7144"/>
                  </a:lnTo>
                  <a:lnTo>
                    <a:pt x="659321" y="20098"/>
                  </a:lnTo>
                  <a:lnTo>
                    <a:pt x="660273" y="27241"/>
                  </a:lnTo>
                  <a:lnTo>
                    <a:pt x="669703" y="29623"/>
                  </a:lnTo>
                  <a:lnTo>
                    <a:pt x="667036" y="37147"/>
                  </a:lnTo>
                  <a:lnTo>
                    <a:pt x="668846" y="36957"/>
                  </a:lnTo>
                  <a:lnTo>
                    <a:pt x="673798" y="32671"/>
                  </a:lnTo>
                  <a:lnTo>
                    <a:pt x="679418" y="33718"/>
                  </a:lnTo>
                  <a:lnTo>
                    <a:pt x="684467" y="31242"/>
                  </a:lnTo>
                  <a:lnTo>
                    <a:pt x="702278" y="27051"/>
                  </a:lnTo>
                  <a:lnTo>
                    <a:pt x="708851" y="35242"/>
                  </a:lnTo>
                  <a:lnTo>
                    <a:pt x="710375" y="33242"/>
                  </a:lnTo>
                  <a:lnTo>
                    <a:pt x="713613" y="43720"/>
                  </a:lnTo>
                  <a:lnTo>
                    <a:pt x="725329" y="49435"/>
                  </a:lnTo>
                  <a:lnTo>
                    <a:pt x="730282" y="45148"/>
                  </a:lnTo>
                  <a:lnTo>
                    <a:pt x="737045" y="55054"/>
                  </a:lnTo>
                  <a:lnTo>
                    <a:pt x="737711" y="60484"/>
                  </a:lnTo>
                  <a:lnTo>
                    <a:pt x="744093" y="66865"/>
                  </a:lnTo>
                  <a:lnTo>
                    <a:pt x="746570" y="72009"/>
                  </a:lnTo>
                  <a:lnTo>
                    <a:pt x="757238" y="56102"/>
                  </a:lnTo>
                  <a:lnTo>
                    <a:pt x="769144" y="49054"/>
                  </a:lnTo>
                  <a:lnTo>
                    <a:pt x="776097" y="46291"/>
                  </a:lnTo>
                  <a:lnTo>
                    <a:pt x="779907" y="47625"/>
                  </a:lnTo>
                  <a:lnTo>
                    <a:pt x="780193" y="49435"/>
                  </a:lnTo>
                  <a:lnTo>
                    <a:pt x="794956" y="51054"/>
                  </a:lnTo>
                  <a:lnTo>
                    <a:pt x="794956" y="51054"/>
                  </a:lnTo>
                  <a:lnTo>
                    <a:pt x="791909" y="55150"/>
                  </a:lnTo>
                  <a:lnTo>
                    <a:pt x="793909" y="56674"/>
                  </a:lnTo>
                  <a:lnTo>
                    <a:pt x="799529" y="57721"/>
                  </a:lnTo>
                  <a:lnTo>
                    <a:pt x="798005" y="59722"/>
                  </a:lnTo>
                  <a:lnTo>
                    <a:pt x="802005" y="62865"/>
                  </a:lnTo>
                  <a:lnTo>
                    <a:pt x="811721" y="66961"/>
                  </a:lnTo>
                  <a:lnTo>
                    <a:pt x="830294" y="82677"/>
                  </a:lnTo>
                  <a:lnTo>
                    <a:pt x="828866" y="86487"/>
                  </a:lnTo>
                  <a:lnTo>
                    <a:pt x="831152" y="89821"/>
                  </a:lnTo>
                  <a:lnTo>
                    <a:pt x="826294" y="94107"/>
                  </a:lnTo>
                  <a:lnTo>
                    <a:pt x="834676" y="102013"/>
                  </a:lnTo>
                  <a:lnTo>
                    <a:pt x="836200" y="100013"/>
                  </a:lnTo>
                  <a:lnTo>
                    <a:pt x="847249" y="114871"/>
                  </a:lnTo>
                  <a:lnTo>
                    <a:pt x="844201" y="118872"/>
                  </a:lnTo>
                  <a:lnTo>
                    <a:pt x="850297" y="123539"/>
                  </a:lnTo>
                  <a:lnTo>
                    <a:pt x="843820" y="129826"/>
                  </a:lnTo>
                  <a:lnTo>
                    <a:pt x="842486" y="13363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7" name="Volný tvar: obrazec 56">
              <a:extLst>
                <a:ext uri="{FF2B5EF4-FFF2-40B4-BE49-F238E27FC236}">
                  <a16:creationId xmlns:a16="http://schemas.microsoft.com/office/drawing/2014/main" id="{9BE8FECD-B418-B1E1-8E9E-E0B8A600DE3A}"/>
                </a:ext>
              </a:extLst>
            </p:cNvPr>
            <p:cNvSpPr/>
            <p:nvPr userDrawn="1"/>
          </p:nvSpPr>
          <p:spPr>
            <a:xfrm>
              <a:off x="7375825" y="4317777"/>
              <a:ext cx="689609" cy="454818"/>
            </a:xfrm>
            <a:custGeom>
              <a:avLst/>
              <a:gdLst>
                <a:gd name="connsiteX0" fmla="*/ 4667 w 689609"/>
                <a:gd name="connsiteY0" fmla="*/ 93250 h 454818"/>
                <a:gd name="connsiteX1" fmla="*/ 19907 w 689609"/>
                <a:gd name="connsiteY1" fmla="*/ 84010 h 454818"/>
                <a:gd name="connsiteX2" fmla="*/ 19240 w 689609"/>
                <a:gd name="connsiteY2" fmla="*/ 78676 h 454818"/>
                <a:gd name="connsiteX3" fmla="*/ 26384 w 689609"/>
                <a:gd name="connsiteY3" fmla="*/ 77724 h 454818"/>
                <a:gd name="connsiteX4" fmla="*/ 34004 w 689609"/>
                <a:gd name="connsiteY4" fmla="*/ 65818 h 454818"/>
                <a:gd name="connsiteX5" fmla="*/ 33719 w 689609"/>
                <a:gd name="connsiteY5" fmla="*/ 64008 h 454818"/>
                <a:gd name="connsiteX6" fmla="*/ 49625 w 689609"/>
                <a:gd name="connsiteY6" fmla="*/ 60103 h 454818"/>
                <a:gd name="connsiteX7" fmla="*/ 55721 w 689609"/>
                <a:gd name="connsiteY7" fmla="*/ 64770 h 454818"/>
                <a:gd name="connsiteX8" fmla="*/ 59055 w 689609"/>
                <a:gd name="connsiteY8" fmla="*/ 62484 h 454818"/>
                <a:gd name="connsiteX9" fmla="*/ 68104 w 689609"/>
                <a:gd name="connsiteY9" fmla="*/ 61246 h 454818"/>
                <a:gd name="connsiteX10" fmla="*/ 77914 w 689609"/>
                <a:gd name="connsiteY10" fmla="*/ 52768 h 454818"/>
                <a:gd name="connsiteX11" fmla="*/ 84011 w 689609"/>
                <a:gd name="connsiteY11" fmla="*/ 57340 h 454818"/>
                <a:gd name="connsiteX12" fmla="*/ 98870 w 689609"/>
                <a:gd name="connsiteY12" fmla="*/ 59055 h 454818"/>
                <a:gd name="connsiteX13" fmla="*/ 105346 w 689609"/>
                <a:gd name="connsiteY13" fmla="*/ 52768 h 454818"/>
                <a:gd name="connsiteX14" fmla="*/ 101155 w 689609"/>
                <a:gd name="connsiteY14" fmla="*/ 62389 h 454818"/>
                <a:gd name="connsiteX15" fmla="*/ 104965 w 689609"/>
                <a:gd name="connsiteY15" fmla="*/ 63627 h 454818"/>
                <a:gd name="connsiteX16" fmla="*/ 108109 w 689609"/>
                <a:gd name="connsiteY16" fmla="*/ 59626 h 454818"/>
                <a:gd name="connsiteX17" fmla="*/ 111919 w 689609"/>
                <a:gd name="connsiteY17" fmla="*/ 60960 h 454818"/>
                <a:gd name="connsiteX18" fmla="*/ 111347 w 689609"/>
                <a:gd name="connsiteY18" fmla="*/ 42863 h 454818"/>
                <a:gd name="connsiteX19" fmla="*/ 108585 w 689609"/>
                <a:gd name="connsiteY19" fmla="*/ 36004 h 454818"/>
                <a:gd name="connsiteX20" fmla="*/ 109442 w 689609"/>
                <a:gd name="connsiteY20" fmla="*/ 28575 h 454818"/>
                <a:gd name="connsiteX21" fmla="*/ 106489 w 689609"/>
                <a:gd name="connsiteY21" fmla="*/ 19907 h 454818"/>
                <a:gd name="connsiteX22" fmla="*/ 113824 w 689609"/>
                <a:gd name="connsiteY22" fmla="*/ 6287 h 454818"/>
                <a:gd name="connsiteX23" fmla="*/ 118967 w 689609"/>
                <a:gd name="connsiteY23" fmla="*/ 3810 h 454818"/>
                <a:gd name="connsiteX24" fmla="*/ 120301 w 689609"/>
                <a:gd name="connsiteY24" fmla="*/ 0 h 454818"/>
                <a:gd name="connsiteX25" fmla="*/ 125921 w 689609"/>
                <a:gd name="connsiteY25" fmla="*/ 1048 h 454818"/>
                <a:gd name="connsiteX26" fmla="*/ 126587 w 689609"/>
                <a:gd name="connsiteY26" fmla="*/ 6382 h 454818"/>
                <a:gd name="connsiteX27" fmla="*/ 132493 w 689609"/>
                <a:gd name="connsiteY27" fmla="*/ 9239 h 454818"/>
                <a:gd name="connsiteX28" fmla="*/ 134779 w 689609"/>
                <a:gd name="connsiteY28" fmla="*/ 12573 h 454818"/>
                <a:gd name="connsiteX29" fmla="*/ 141542 w 689609"/>
                <a:gd name="connsiteY29" fmla="*/ 22574 h 454818"/>
                <a:gd name="connsiteX30" fmla="*/ 144018 w 689609"/>
                <a:gd name="connsiteY30" fmla="*/ 27622 h 454818"/>
                <a:gd name="connsiteX31" fmla="*/ 141446 w 689609"/>
                <a:gd name="connsiteY31" fmla="*/ 35242 h 454818"/>
                <a:gd name="connsiteX32" fmla="*/ 152400 w 689609"/>
                <a:gd name="connsiteY32" fmla="*/ 35623 h 454818"/>
                <a:gd name="connsiteX33" fmla="*/ 158687 w 689609"/>
                <a:gd name="connsiteY33" fmla="*/ 27527 h 454818"/>
                <a:gd name="connsiteX34" fmla="*/ 165545 w 689609"/>
                <a:gd name="connsiteY34" fmla="*/ 52006 h 454818"/>
                <a:gd name="connsiteX35" fmla="*/ 169640 w 689609"/>
                <a:gd name="connsiteY35" fmla="*/ 55054 h 454818"/>
                <a:gd name="connsiteX36" fmla="*/ 170117 w 689609"/>
                <a:gd name="connsiteY36" fmla="*/ 58674 h 454818"/>
                <a:gd name="connsiteX37" fmla="*/ 175451 w 689609"/>
                <a:gd name="connsiteY37" fmla="*/ 58007 h 454818"/>
                <a:gd name="connsiteX38" fmla="*/ 185833 w 689609"/>
                <a:gd name="connsiteY38" fmla="*/ 67532 h 454818"/>
                <a:gd name="connsiteX39" fmla="*/ 189452 w 689609"/>
                <a:gd name="connsiteY39" fmla="*/ 66961 h 454818"/>
                <a:gd name="connsiteX40" fmla="*/ 202216 w 689609"/>
                <a:gd name="connsiteY40" fmla="*/ 52578 h 454818"/>
                <a:gd name="connsiteX41" fmla="*/ 201359 w 689609"/>
                <a:gd name="connsiteY41" fmla="*/ 60007 h 454818"/>
                <a:gd name="connsiteX42" fmla="*/ 194881 w 689609"/>
                <a:gd name="connsiteY42" fmla="*/ 66294 h 454818"/>
                <a:gd name="connsiteX43" fmla="*/ 215360 w 689609"/>
                <a:gd name="connsiteY43" fmla="*/ 69056 h 454818"/>
                <a:gd name="connsiteX44" fmla="*/ 220504 w 689609"/>
                <a:gd name="connsiteY44" fmla="*/ 66484 h 454818"/>
                <a:gd name="connsiteX45" fmla="*/ 226314 w 689609"/>
                <a:gd name="connsiteY45" fmla="*/ 69342 h 454818"/>
                <a:gd name="connsiteX46" fmla="*/ 230791 w 689609"/>
                <a:gd name="connsiteY46" fmla="*/ 61531 h 454818"/>
                <a:gd name="connsiteX47" fmla="*/ 236125 w 689609"/>
                <a:gd name="connsiteY47" fmla="*/ 60865 h 454818"/>
                <a:gd name="connsiteX48" fmla="*/ 237744 w 689609"/>
                <a:gd name="connsiteY48" fmla="*/ 58769 h 454818"/>
                <a:gd name="connsiteX49" fmla="*/ 243364 w 689609"/>
                <a:gd name="connsiteY49" fmla="*/ 59817 h 454818"/>
                <a:gd name="connsiteX50" fmla="*/ 248507 w 689609"/>
                <a:gd name="connsiteY50" fmla="*/ 57340 h 454818"/>
                <a:gd name="connsiteX51" fmla="*/ 262414 w 689609"/>
                <a:gd name="connsiteY51" fmla="*/ 51911 h 454818"/>
                <a:gd name="connsiteX52" fmla="*/ 275844 w 689609"/>
                <a:gd name="connsiteY52" fmla="*/ 42863 h 454818"/>
                <a:gd name="connsiteX53" fmla="*/ 286893 w 689609"/>
                <a:gd name="connsiteY53" fmla="*/ 43243 h 454818"/>
                <a:gd name="connsiteX54" fmla="*/ 288893 w 689609"/>
                <a:gd name="connsiteY54" fmla="*/ 44767 h 454818"/>
                <a:gd name="connsiteX55" fmla="*/ 293275 w 689609"/>
                <a:gd name="connsiteY55" fmla="*/ 64103 h 454818"/>
                <a:gd name="connsiteX56" fmla="*/ 298895 w 689609"/>
                <a:gd name="connsiteY56" fmla="*/ 65246 h 454818"/>
                <a:gd name="connsiteX57" fmla="*/ 302990 w 689609"/>
                <a:gd name="connsiteY57" fmla="*/ 68294 h 454818"/>
                <a:gd name="connsiteX58" fmla="*/ 302133 w 689609"/>
                <a:gd name="connsiteY58" fmla="*/ 75629 h 454818"/>
                <a:gd name="connsiteX59" fmla="*/ 304324 w 689609"/>
                <a:gd name="connsiteY59" fmla="*/ 78962 h 454818"/>
                <a:gd name="connsiteX60" fmla="*/ 306038 w 689609"/>
                <a:gd name="connsiteY60" fmla="*/ 91440 h 454818"/>
                <a:gd name="connsiteX61" fmla="*/ 303181 w 689609"/>
                <a:gd name="connsiteY61" fmla="*/ 97250 h 454818"/>
                <a:gd name="connsiteX62" fmla="*/ 298418 w 689609"/>
                <a:gd name="connsiteY62" fmla="*/ 103346 h 454818"/>
                <a:gd name="connsiteX63" fmla="*/ 298895 w 689609"/>
                <a:gd name="connsiteY63" fmla="*/ 106871 h 454818"/>
                <a:gd name="connsiteX64" fmla="*/ 294513 w 689609"/>
                <a:gd name="connsiteY64" fmla="*/ 114776 h 454818"/>
                <a:gd name="connsiteX65" fmla="*/ 294989 w 689609"/>
                <a:gd name="connsiteY65" fmla="*/ 118300 h 454818"/>
                <a:gd name="connsiteX66" fmla="*/ 297466 w 689609"/>
                <a:gd name="connsiteY66" fmla="*/ 123444 h 454818"/>
                <a:gd name="connsiteX67" fmla="*/ 300800 w 689609"/>
                <a:gd name="connsiteY67" fmla="*/ 121158 h 454818"/>
                <a:gd name="connsiteX68" fmla="*/ 303467 w 689609"/>
                <a:gd name="connsiteY68" fmla="*/ 113538 h 454818"/>
                <a:gd name="connsiteX69" fmla="*/ 323660 w 689609"/>
                <a:gd name="connsiteY69" fmla="*/ 114490 h 454818"/>
                <a:gd name="connsiteX70" fmla="*/ 324898 w 689609"/>
                <a:gd name="connsiteY70" fmla="*/ 123444 h 454818"/>
                <a:gd name="connsiteX71" fmla="*/ 333661 w 689609"/>
                <a:gd name="connsiteY71" fmla="*/ 120396 h 454818"/>
                <a:gd name="connsiteX72" fmla="*/ 338995 w 689609"/>
                <a:gd name="connsiteY72" fmla="*/ 119729 h 454818"/>
                <a:gd name="connsiteX73" fmla="*/ 341947 w 689609"/>
                <a:gd name="connsiteY73" fmla="*/ 128397 h 454818"/>
                <a:gd name="connsiteX74" fmla="*/ 346043 w 689609"/>
                <a:gd name="connsiteY74" fmla="*/ 131445 h 454818"/>
                <a:gd name="connsiteX75" fmla="*/ 346329 w 689609"/>
                <a:gd name="connsiteY75" fmla="*/ 147733 h 454818"/>
                <a:gd name="connsiteX76" fmla="*/ 351472 w 689609"/>
                <a:gd name="connsiteY76" fmla="*/ 145256 h 454818"/>
                <a:gd name="connsiteX77" fmla="*/ 351758 w 689609"/>
                <a:gd name="connsiteY77" fmla="*/ 147066 h 454818"/>
                <a:gd name="connsiteX78" fmla="*/ 354616 w 689609"/>
                <a:gd name="connsiteY78" fmla="*/ 141256 h 454818"/>
                <a:gd name="connsiteX79" fmla="*/ 360521 w 689609"/>
                <a:gd name="connsiteY79" fmla="*/ 144018 h 454818"/>
                <a:gd name="connsiteX80" fmla="*/ 360236 w 689609"/>
                <a:gd name="connsiteY80" fmla="*/ 142304 h 454818"/>
                <a:gd name="connsiteX81" fmla="*/ 367665 w 689609"/>
                <a:gd name="connsiteY81" fmla="*/ 143065 h 454818"/>
                <a:gd name="connsiteX82" fmla="*/ 372618 w 689609"/>
                <a:gd name="connsiteY82" fmla="*/ 138874 h 454818"/>
                <a:gd name="connsiteX83" fmla="*/ 378428 w 689609"/>
                <a:gd name="connsiteY83" fmla="*/ 141732 h 454818"/>
                <a:gd name="connsiteX84" fmla="*/ 381190 w 689609"/>
                <a:gd name="connsiteY84" fmla="*/ 148590 h 454818"/>
                <a:gd name="connsiteX85" fmla="*/ 386334 w 689609"/>
                <a:gd name="connsiteY85" fmla="*/ 146113 h 454818"/>
                <a:gd name="connsiteX86" fmla="*/ 390430 w 689609"/>
                <a:gd name="connsiteY86" fmla="*/ 149162 h 454818"/>
                <a:gd name="connsiteX87" fmla="*/ 400526 w 689609"/>
                <a:gd name="connsiteY87" fmla="*/ 142399 h 454818"/>
                <a:gd name="connsiteX88" fmla="*/ 408622 w 689609"/>
                <a:gd name="connsiteY88" fmla="*/ 148590 h 454818"/>
                <a:gd name="connsiteX89" fmla="*/ 407289 w 689609"/>
                <a:gd name="connsiteY89" fmla="*/ 152400 h 454818"/>
                <a:gd name="connsiteX90" fmla="*/ 413385 w 689609"/>
                <a:gd name="connsiteY90" fmla="*/ 156972 h 454818"/>
                <a:gd name="connsiteX91" fmla="*/ 416528 w 689609"/>
                <a:gd name="connsiteY91" fmla="*/ 152971 h 454818"/>
                <a:gd name="connsiteX92" fmla="*/ 424339 w 689609"/>
                <a:gd name="connsiteY92" fmla="*/ 157353 h 454818"/>
                <a:gd name="connsiteX93" fmla="*/ 421958 w 689609"/>
                <a:gd name="connsiteY93" fmla="*/ 166783 h 454818"/>
                <a:gd name="connsiteX94" fmla="*/ 422434 w 689609"/>
                <a:gd name="connsiteY94" fmla="*/ 170307 h 454818"/>
                <a:gd name="connsiteX95" fmla="*/ 421386 w 689609"/>
                <a:gd name="connsiteY95" fmla="*/ 175927 h 454818"/>
                <a:gd name="connsiteX96" fmla="*/ 421862 w 689609"/>
                <a:gd name="connsiteY96" fmla="*/ 179451 h 454818"/>
                <a:gd name="connsiteX97" fmla="*/ 417195 w 689609"/>
                <a:gd name="connsiteY97" fmla="*/ 185547 h 454818"/>
                <a:gd name="connsiteX98" fmla="*/ 419195 w 689609"/>
                <a:gd name="connsiteY98" fmla="*/ 187071 h 454818"/>
                <a:gd name="connsiteX99" fmla="*/ 417862 w 689609"/>
                <a:gd name="connsiteY99" fmla="*/ 190881 h 454818"/>
                <a:gd name="connsiteX100" fmla="*/ 418147 w 689609"/>
                <a:gd name="connsiteY100" fmla="*/ 192691 h 454818"/>
                <a:gd name="connsiteX101" fmla="*/ 420148 w 689609"/>
                <a:gd name="connsiteY101" fmla="*/ 194215 h 454818"/>
                <a:gd name="connsiteX102" fmla="*/ 428054 w 689609"/>
                <a:gd name="connsiteY102" fmla="*/ 198596 h 454818"/>
                <a:gd name="connsiteX103" fmla="*/ 431197 w 689609"/>
                <a:gd name="connsiteY103" fmla="*/ 194596 h 454818"/>
                <a:gd name="connsiteX104" fmla="*/ 435007 w 689609"/>
                <a:gd name="connsiteY104" fmla="*/ 195834 h 454818"/>
                <a:gd name="connsiteX105" fmla="*/ 438340 w 689609"/>
                <a:gd name="connsiteY105" fmla="*/ 193643 h 454818"/>
                <a:gd name="connsiteX106" fmla="*/ 439293 w 689609"/>
                <a:gd name="connsiteY106" fmla="*/ 200692 h 454818"/>
                <a:gd name="connsiteX107" fmla="*/ 443484 w 689609"/>
                <a:gd name="connsiteY107" fmla="*/ 191071 h 454818"/>
                <a:gd name="connsiteX108" fmla="*/ 455867 w 689609"/>
                <a:gd name="connsiteY108" fmla="*/ 187642 h 454818"/>
                <a:gd name="connsiteX109" fmla="*/ 459296 w 689609"/>
                <a:gd name="connsiteY109" fmla="*/ 199930 h 454818"/>
                <a:gd name="connsiteX110" fmla="*/ 467392 w 689609"/>
                <a:gd name="connsiteY110" fmla="*/ 206121 h 454818"/>
                <a:gd name="connsiteX111" fmla="*/ 478060 w 689609"/>
                <a:gd name="connsiteY111" fmla="*/ 217360 h 454818"/>
                <a:gd name="connsiteX112" fmla="*/ 481584 w 689609"/>
                <a:gd name="connsiteY112" fmla="*/ 216884 h 454818"/>
                <a:gd name="connsiteX113" fmla="*/ 492252 w 689609"/>
                <a:gd name="connsiteY113" fmla="*/ 228219 h 454818"/>
                <a:gd name="connsiteX114" fmla="*/ 507302 w 689609"/>
                <a:gd name="connsiteY114" fmla="*/ 217170 h 454818"/>
                <a:gd name="connsiteX115" fmla="*/ 509302 w 689609"/>
                <a:gd name="connsiteY115" fmla="*/ 218694 h 454818"/>
                <a:gd name="connsiteX116" fmla="*/ 514445 w 689609"/>
                <a:gd name="connsiteY116" fmla="*/ 216217 h 454818"/>
                <a:gd name="connsiteX117" fmla="*/ 516255 w 689609"/>
                <a:gd name="connsiteY117" fmla="*/ 215932 h 454818"/>
                <a:gd name="connsiteX118" fmla="*/ 521113 w 689609"/>
                <a:gd name="connsiteY118" fmla="*/ 211646 h 454818"/>
                <a:gd name="connsiteX119" fmla="*/ 523399 w 689609"/>
                <a:gd name="connsiteY119" fmla="*/ 214979 h 454818"/>
                <a:gd name="connsiteX120" fmla="*/ 526542 w 689609"/>
                <a:gd name="connsiteY120" fmla="*/ 210979 h 454818"/>
                <a:gd name="connsiteX121" fmla="*/ 534924 w 689609"/>
                <a:gd name="connsiteY121" fmla="*/ 218884 h 454818"/>
                <a:gd name="connsiteX122" fmla="*/ 550640 w 689609"/>
                <a:gd name="connsiteY122" fmla="*/ 213170 h 454818"/>
                <a:gd name="connsiteX123" fmla="*/ 551212 w 689609"/>
                <a:gd name="connsiteY123" fmla="*/ 204025 h 454818"/>
                <a:gd name="connsiteX124" fmla="*/ 558927 w 689609"/>
                <a:gd name="connsiteY124" fmla="*/ 221171 h 454818"/>
                <a:gd name="connsiteX125" fmla="*/ 561213 w 689609"/>
                <a:gd name="connsiteY125" fmla="*/ 224504 h 454818"/>
                <a:gd name="connsiteX126" fmla="*/ 573119 w 689609"/>
                <a:gd name="connsiteY126" fmla="*/ 217456 h 454818"/>
                <a:gd name="connsiteX127" fmla="*/ 592455 w 689609"/>
                <a:gd name="connsiteY127" fmla="*/ 225742 h 454818"/>
                <a:gd name="connsiteX128" fmla="*/ 600837 w 689609"/>
                <a:gd name="connsiteY128" fmla="*/ 233743 h 454818"/>
                <a:gd name="connsiteX129" fmla="*/ 597694 w 689609"/>
                <a:gd name="connsiteY129" fmla="*/ 237839 h 454818"/>
                <a:gd name="connsiteX130" fmla="*/ 596837 w 689609"/>
                <a:gd name="connsiteY130" fmla="*/ 245173 h 454818"/>
                <a:gd name="connsiteX131" fmla="*/ 588455 w 689609"/>
                <a:gd name="connsiteY131" fmla="*/ 264414 h 454818"/>
                <a:gd name="connsiteX132" fmla="*/ 598360 w 689609"/>
                <a:gd name="connsiteY132" fmla="*/ 270320 h 454818"/>
                <a:gd name="connsiteX133" fmla="*/ 606648 w 689609"/>
                <a:gd name="connsiteY133" fmla="*/ 263842 h 454818"/>
                <a:gd name="connsiteX134" fmla="*/ 611982 w 689609"/>
                <a:gd name="connsiteY134" fmla="*/ 263080 h 454818"/>
                <a:gd name="connsiteX135" fmla="*/ 632555 w 689609"/>
                <a:gd name="connsiteY135" fmla="*/ 280321 h 454818"/>
                <a:gd name="connsiteX136" fmla="*/ 646938 w 689609"/>
                <a:gd name="connsiteY136" fmla="*/ 278416 h 454818"/>
                <a:gd name="connsiteX137" fmla="*/ 661035 w 689609"/>
                <a:gd name="connsiteY137" fmla="*/ 301942 h 454818"/>
                <a:gd name="connsiteX138" fmla="*/ 670084 w 689609"/>
                <a:gd name="connsiteY138" fmla="*/ 315182 h 454818"/>
                <a:gd name="connsiteX139" fmla="*/ 668750 w 689609"/>
                <a:gd name="connsiteY139" fmla="*/ 318992 h 454818"/>
                <a:gd name="connsiteX140" fmla="*/ 672846 w 689609"/>
                <a:gd name="connsiteY140" fmla="*/ 322135 h 454818"/>
                <a:gd name="connsiteX141" fmla="*/ 681799 w 689609"/>
                <a:gd name="connsiteY141" fmla="*/ 320992 h 454818"/>
                <a:gd name="connsiteX142" fmla="*/ 680466 w 689609"/>
                <a:gd name="connsiteY142" fmla="*/ 324707 h 454818"/>
                <a:gd name="connsiteX143" fmla="*/ 680752 w 689609"/>
                <a:gd name="connsiteY143" fmla="*/ 326517 h 454818"/>
                <a:gd name="connsiteX144" fmla="*/ 678942 w 689609"/>
                <a:gd name="connsiteY144" fmla="*/ 326707 h 454818"/>
                <a:gd name="connsiteX145" fmla="*/ 679894 w 689609"/>
                <a:gd name="connsiteY145" fmla="*/ 333851 h 454818"/>
                <a:gd name="connsiteX146" fmla="*/ 689610 w 689609"/>
                <a:gd name="connsiteY146" fmla="*/ 352520 h 454818"/>
                <a:gd name="connsiteX147" fmla="*/ 680466 w 689609"/>
                <a:gd name="connsiteY147" fmla="*/ 351949 h 454818"/>
                <a:gd name="connsiteX148" fmla="*/ 675322 w 689609"/>
                <a:gd name="connsiteY148" fmla="*/ 354425 h 454818"/>
                <a:gd name="connsiteX149" fmla="*/ 667226 w 689609"/>
                <a:gd name="connsiteY149" fmla="*/ 362712 h 454818"/>
                <a:gd name="connsiteX150" fmla="*/ 668465 w 689609"/>
                <a:gd name="connsiteY150" fmla="*/ 371665 h 454818"/>
                <a:gd name="connsiteX151" fmla="*/ 650272 w 689609"/>
                <a:gd name="connsiteY151" fmla="*/ 372237 h 454818"/>
                <a:gd name="connsiteX152" fmla="*/ 645509 w 689609"/>
                <a:gd name="connsiteY152" fmla="*/ 378333 h 454818"/>
                <a:gd name="connsiteX153" fmla="*/ 645128 w 689609"/>
                <a:gd name="connsiteY153" fmla="*/ 389191 h 454818"/>
                <a:gd name="connsiteX154" fmla="*/ 638651 w 689609"/>
                <a:gd name="connsiteY154" fmla="*/ 395573 h 454818"/>
                <a:gd name="connsiteX155" fmla="*/ 629507 w 689609"/>
                <a:gd name="connsiteY155" fmla="*/ 394906 h 454818"/>
                <a:gd name="connsiteX156" fmla="*/ 622554 w 689609"/>
                <a:gd name="connsiteY156" fmla="*/ 397669 h 454818"/>
                <a:gd name="connsiteX157" fmla="*/ 618649 w 689609"/>
                <a:gd name="connsiteY157" fmla="*/ 396335 h 454818"/>
                <a:gd name="connsiteX158" fmla="*/ 608552 w 689609"/>
                <a:gd name="connsiteY158" fmla="*/ 388620 h 454818"/>
                <a:gd name="connsiteX159" fmla="*/ 601790 w 689609"/>
                <a:gd name="connsiteY159" fmla="*/ 393192 h 454818"/>
                <a:gd name="connsiteX160" fmla="*/ 608171 w 689609"/>
                <a:gd name="connsiteY160" fmla="*/ 399574 h 454818"/>
                <a:gd name="connsiteX161" fmla="*/ 606838 w 689609"/>
                <a:gd name="connsiteY161" fmla="*/ 403384 h 454818"/>
                <a:gd name="connsiteX162" fmla="*/ 601885 w 689609"/>
                <a:gd name="connsiteY162" fmla="*/ 407670 h 454818"/>
                <a:gd name="connsiteX163" fmla="*/ 594265 w 689609"/>
                <a:gd name="connsiteY163" fmla="*/ 405003 h 454818"/>
                <a:gd name="connsiteX164" fmla="*/ 584645 w 689609"/>
                <a:gd name="connsiteY164" fmla="*/ 415385 h 454818"/>
                <a:gd name="connsiteX165" fmla="*/ 577215 w 689609"/>
                <a:gd name="connsiteY165" fmla="*/ 414528 h 454818"/>
                <a:gd name="connsiteX166" fmla="*/ 574453 w 689609"/>
                <a:gd name="connsiteY166" fmla="*/ 407670 h 454818"/>
                <a:gd name="connsiteX167" fmla="*/ 576167 w 689609"/>
                <a:gd name="connsiteY167" fmla="*/ 392906 h 454818"/>
                <a:gd name="connsiteX168" fmla="*/ 573310 w 689609"/>
                <a:gd name="connsiteY168" fmla="*/ 398716 h 454818"/>
                <a:gd name="connsiteX169" fmla="*/ 571310 w 689609"/>
                <a:gd name="connsiteY169" fmla="*/ 397192 h 454818"/>
                <a:gd name="connsiteX170" fmla="*/ 568833 w 689609"/>
                <a:gd name="connsiteY170" fmla="*/ 406622 h 454818"/>
                <a:gd name="connsiteX171" fmla="*/ 568357 w 689609"/>
                <a:gd name="connsiteY171" fmla="*/ 403003 h 454818"/>
                <a:gd name="connsiteX172" fmla="*/ 566833 w 689609"/>
                <a:gd name="connsiteY172" fmla="*/ 405003 h 454818"/>
                <a:gd name="connsiteX173" fmla="*/ 562832 w 689609"/>
                <a:gd name="connsiteY173" fmla="*/ 401955 h 454818"/>
                <a:gd name="connsiteX174" fmla="*/ 541306 w 689609"/>
                <a:gd name="connsiteY174" fmla="*/ 377571 h 454818"/>
                <a:gd name="connsiteX175" fmla="*/ 537496 w 689609"/>
                <a:gd name="connsiteY175" fmla="*/ 376333 h 454818"/>
                <a:gd name="connsiteX176" fmla="*/ 514731 w 689609"/>
                <a:gd name="connsiteY176" fmla="*/ 370237 h 454818"/>
                <a:gd name="connsiteX177" fmla="*/ 506635 w 689609"/>
                <a:gd name="connsiteY177" fmla="*/ 378523 h 454818"/>
                <a:gd name="connsiteX178" fmla="*/ 507111 w 689609"/>
                <a:gd name="connsiteY178" fmla="*/ 382143 h 454818"/>
                <a:gd name="connsiteX179" fmla="*/ 499491 w 689609"/>
                <a:gd name="connsiteY179" fmla="*/ 379476 h 454818"/>
                <a:gd name="connsiteX180" fmla="*/ 495490 w 689609"/>
                <a:gd name="connsiteY180" fmla="*/ 390906 h 454818"/>
                <a:gd name="connsiteX181" fmla="*/ 492919 w 689609"/>
                <a:gd name="connsiteY181" fmla="*/ 398526 h 454818"/>
                <a:gd name="connsiteX182" fmla="*/ 485204 w 689609"/>
                <a:gd name="connsiteY182" fmla="*/ 395859 h 454818"/>
                <a:gd name="connsiteX183" fmla="*/ 480346 w 689609"/>
                <a:gd name="connsiteY183" fmla="*/ 400145 h 454818"/>
                <a:gd name="connsiteX184" fmla="*/ 470249 w 689609"/>
                <a:gd name="connsiteY184" fmla="*/ 406908 h 454818"/>
                <a:gd name="connsiteX185" fmla="*/ 464248 w 689609"/>
                <a:gd name="connsiteY185" fmla="*/ 416814 h 454818"/>
                <a:gd name="connsiteX186" fmla="*/ 460153 w 689609"/>
                <a:gd name="connsiteY186" fmla="*/ 413671 h 454818"/>
                <a:gd name="connsiteX187" fmla="*/ 454723 w 689609"/>
                <a:gd name="connsiteY187" fmla="*/ 414433 h 454818"/>
                <a:gd name="connsiteX188" fmla="*/ 448723 w 689609"/>
                <a:gd name="connsiteY188" fmla="*/ 409765 h 454818"/>
                <a:gd name="connsiteX189" fmla="*/ 433197 w 689609"/>
                <a:gd name="connsiteY189" fmla="*/ 417290 h 454818"/>
                <a:gd name="connsiteX190" fmla="*/ 426434 w 689609"/>
                <a:gd name="connsiteY190" fmla="*/ 407289 h 454818"/>
                <a:gd name="connsiteX191" fmla="*/ 422624 w 689609"/>
                <a:gd name="connsiteY191" fmla="*/ 406051 h 454818"/>
                <a:gd name="connsiteX192" fmla="*/ 420053 w 689609"/>
                <a:gd name="connsiteY192" fmla="*/ 400907 h 454818"/>
                <a:gd name="connsiteX193" fmla="*/ 404527 w 689609"/>
                <a:gd name="connsiteY193" fmla="*/ 393859 h 454818"/>
                <a:gd name="connsiteX194" fmla="*/ 397955 w 689609"/>
                <a:gd name="connsiteY194" fmla="*/ 385667 h 454818"/>
                <a:gd name="connsiteX195" fmla="*/ 396812 w 689609"/>
                <a:gd name="connsiteY195" fmla="*/ 376809 h 454818"/>
                <a:gd name="connsiteX196" fmla="*/ 394716 w 689609"/>
                <a:gd name="connsiteY196" fmla="*/ 375285 h 454818"/>
                <a:gd name="connsiteX197" fmla="*/ 386048 w 689609"/>
                <a:gd name="connsiteY197" fmla="*/ 378238 h 454818"/>
                <a:gd name="connsiteX198" fmla="*/ 378619 w 689609"/>
                <a:gd name="connsiteY198" fmla="*/ 377380 h 454818"/>
                <a:gd name="connsiteX199" fmla="*/ 374047 w 689609"/>
                <a:gd name="connsiteY199" fmla="*/ 370713 h 454818"/>
                <a:gd name="connsiteX200" fmla="*/ 358521 w 689609"/>
                <a:gd name="connsiteY200" fmla="*/ 363760 h 454818"/>
                <a:gd name="connsiteX201" fmla="*/ 355759 w 689609"/>
                <a:gd name="connsiteY201" fmla="*/ 356806 h 454818"/>
                <a:gd name="connsiteX202" fmla="*/ 348139 w 689609"/>
                <a:gd name="connsiteY202" fmla="*/ 354235 h 454818"/>
                <a:gd name="connsiteX203" fmla="*/ 339376 w 689609"/>
                <a:gd name="connsiteY203" fmla="*/ 357188 h 454818"/>
                <a:gd name="connsiteX204" fmla="*/ 333470 w 689609"/>
                <a:gd name="connsiteY204" fmla="*/ 354330 h 454818"/>
                <a:gd name="connsiteX205" fmla="*/ 323374 w 689609"/>
                <a:gd name="connsiteY205" fmla="*/ 346615 h 454818"/>
                <a:gd name="connsiteX206" fmla="*/ 316135 w 689609"/>
                <a:gd name="connsiteY206" fmla="*/ 347567 h 454818"/>
                <a:gd name="connsiteX207" fmla="*/ 308324 w 689609"/>
                <a:gd name="connsiteY207" fmla="*/ 343186 h 454818"/>
                <a:gd name="connsiteX208" fmla="*/ 301276 w 689609"/>
                <a:gd name="connsiteY208" fmla="*/ 345853 h 454818"/>
                <a:gd name="connsiteX209" fmla="*/ 291179 w 689609"/>
                <a:gd name="connsiteY209" fmla="*/ 338138 h 454818"/>
                <a:gd name="connsiteX210" fmla="*/ 285274 w 689609"/>
                <a:gd name="connsiteY210" fmla="*/ 335375 h 454818"/>
                <a:gd name="connsiteX211" fmla="*/ 278606 w 689609"/>
                <a:gd name="connsiteY211" fmla="*/ 339852 h 454818"/>
                <a:gd name="connsiteX212" fmla="*/ 264509 w 689609"/>
                <a:gd name="connsiteY212" fmla="*/ 358045 h 454818"/>
                <a:gd name="connsiteX213" fmla="*/ 259842 w 689609"/>
                <a:gd name="connsiteY213" fmla="*/ 364046 h 454818"/>
                <a:gd name="connsiteX214" fmla="*/ 249746 w 689609"/>
                <a:gd name="connsiteY214" fmla="*/ 370808 h 454818"/>
                <a:gd name="connsiteX215" fmla="*/ 244030 w 689609"/>
                <a:gd name="connsiteY215" fmla="*/ 382524 h 454818"/>
                <a:gd name="connsiteX216" fmla="*/ 235077 w 689609"/>
                <a:gd name="connsiteY216" fmla="*/ 383667 h 454818"/>
                <a:gd name="connsiteX217" fmla="*/ 204597 w 689609"/>
                <a:gd name="connsiteY217" fmla="*/ 402241 h 454818"/>
                <a:gd name="connsiteX218" fmla="*/ 200406 w 689609"/>
                <a:gd name="connsiteY218" fmla="*/ 411766 h 454818"/>
                <a:gd name="connsiteX219" fmla="*/ 201835 w 689609"/>
                <a:gd name="connsiteY219" fmla="*/ 422529 h 454818"/>
                <a:gd name="connsiteX220" fmla="*/ 200978 w 689609"/>
                <a:gd name="connsiteY220" fmla="*/ 429863 h 454818"/>
                <a:gd name="connsiteX221" fmla="*/ 193643 w 689609"/>
                <a:gd name="connsiteY221" fmla="*/ 443579 h 454818"/>
                <a:gd name="connsiteX222" fmla="*/ 188881 w 689609"/>
                <a:gd name="connsiteY222" fmla="*/ 449580 h 454818"/>
                <a:gd name="connsiteX223" fmla="*/ 176784 w 689609"/>
                <a:gd name="connsiteY223" fmla="*/ 454819 h 454818"/>
                <a:gd name="connsiteX224" fmla="*/ 166878 w 689609"/>
                <a:gd name="connsiteY224" fmla="*/ 448913 h 454818"/>
                <a:gd name="connsiteX225" fmla="*/ 163544 w 689609"/>
                <a:gd name="connsiteY225" fmla="*/ 451104 h 454818"/>
                <a:gd name="connsiteX226" fmla="*/ 152876 w 689609"/>
                <a:gd name="connsiteY226" fmla="*/ 439864 h 454818"/>
                <a:gd name="connsiteX227" fmla="*/ 138970 w 689609"/>
                <a:gd name="connsiteY227" fmla="*/ 430816 h 454818"/>
                <a:gd name="connsiteX228" fmla="*/ 142018 w 689609"/>
                <a:gd name="connsiteY228" fmla="*/ 426815 h 454818"/>
                <a:gd name="connsiteX229" fmla="*/ 122777 w 689609"/>
                <a:gd name="connsiteY229" fmla="*/ 405765 h 454818"/>
                <a:gd name="connsiteX230" fmla="*/ 110680 w 689609"/>
                <a:gd name="connsiteY230" fmla="*/ 411004 h 454818"/>
                <a:gd name="connsiteX231" fmla="*/ 92869 w 689609"/>
                <a:gd name="connsiteY231" fmla="*/ 427863 h 454818"/>
                <a:gd name="connsiteX232" fmla="*/ 89440 w 689609"/>
                <a:gd name="connsiteY232" fmla="*/ 430149 h 454818"/>
                <a:gd name="connsiteX233" fmla="*/ 75724 w 689609"/>
                <a:gd name="connsiteY233" fmla="*/ 422910 h 454818"/>
                <a:gd name="connsiteX234" fmla="*/ 64675 w 689609"/>
                <a:gd name="connsiteY234" fmla="*/ 422529 h 454818"/>
                <a:gd name="connsiteX235" fmla="*/ 62960 w 689609"/>
                <a:gd name="connsiteY235" fmla="*/ 395573 h 454818"/>
                <a:gd name="connsiteX236" fmla="*/ 59817 w 689609"/>
                <a:gd name="connsiteY236" fmla="*/ 385096 h 454818"/>
                <a:gd name="connsiteX237" fmla="*/ 55245 w 689609"/>
                <a:gd name="connsiteY237" fmla="*/ 378428 h 454818"/>
                <a:gd name="connsiteX238" fmla="*/ 52769 w 689609"/>
                <a:gd name="connsiteY238" fmla="*/ 373380 h 454818"/>
                <a:gd name="connsiteX239" fmla="*/ 46387 w 689609"/>
                <a:gd name="connsiteY239" fmla="*/ 366903 h 454818"/>
                <a:gd name="connsiteX240" fmla="*/ 32861 w 689609"/>
                <a:gd name="connsiteY240" fmla="*/ 361474 h 454818"/>
                <a:gd name="connsiteX241" fmla="*/ 22288 w 689609"/>
                <a:gd name="connsiteY241" fmla="*/ 350234 h 454818"/>
                <a:gd name="connsiteX242" fmla="*/ 18383 w 689609"/>
                <a:gd name="connsiteY242" fmla="*/ 348901 h 454818"/>
                <a:gd name="connsiteX243" fmla="*/ 21336 w 689609"/>
                <a:gd name="connsiteY243" fmla="*/ 343090 h 454818"/>
                <a:gd name="connsiteX244" fmla="*/ 24670 w 689609"/>
                <a:gd name="connsiteY244" fmla="*/ 340805 h 454818"/>
                <a:gd name="connsiteX245" fmla="*/ 24575 w 689609"/>
                <a:gd name="connsiteY245" fmla="*/ 326326 h 454818"/>
                <a:gd name="connsiteX246" fmla="*/ 22098 w 689609"/>
                <a:gd name="connsiteY246" fmla="*/ 321183 h 454818"/>
                <a:gd name="connsiteX247" fmla="*/ 23622 w 689609"/>
                <a:gd name="connsiteY247" fmla="*/ 319183 h 454818"/>
                <a:gd name="connsiteX248" fmla="*/ 23146 w 689609"/>
                <a:gd name="connsiteY248" fmla="*/ 315658 h 454818"/>
                <a:gd name="connsiteX249" fmla="*/ 19526 w 689609"/>
                <a:gd name="connsiteY249" fmla="*/ 316135 h 454818"/>
                <a:gd name="connsiteX250" fmla="*/ 15050 w 689609"/>
                <a:gd name="connsiteY250" fmla="*/ 309467 h 454818"/>
                <a:gd name="connsiteX251" fmla="*/ 22003 w 689609"/>
                <a:gd name="connsiteY251" fmla="*/ 306705 h 454818"/>
                <a:gd name="connsiteX252" fmla="*/ 25051 w 689609"/>
                <a:gd name="connsiteY252" fmla="*/ 302705 h 454818"/>
                <a:gd name="connsiteX253" fmla="*/ 12002 w 689609"/>
                <a:gd name="connsiteY253" fmla="*/ 286321 h 454818"/>
                <a:gd name="connsiteX254" fmla="*/ 23336 w 689609"/>
                <a:gd name="connsiteY254" fmla="*/ 275749 h 454818"/>
                <a:gd name="connsiteX255" fmla="*/ 36386 w 689609"/>
                <a:gd name="connsiteY255" fmla="*/ 277654 h 454818"/>
                <a:gd name="connsiteX256" fmla="*/ 39529 w 689609"/>
                <a:gd name="connsiteY256" fmla="*/ 273558 h 454818"/>
                <a:gd name="connsiteX257" fmla="*/ 51721 w 689609"/>
                <a:gd name="connsiteY257" fmla="*/ 282797 h 454818"/>
                <a:gd name="connsiteX258" fmla="*/ 56864 w 689609"/>
                <a:gd name="connsiteY258" fmla="*/ 280321 h 454818"/>
                <a:gd name="connsiteX259" fmla="*/ 56388 w 689609"/>
                <a:gd name="connsiteY259" fmla="*/ 276796 h 454818"/>
                <a:gd name="connsiteX260" fmla="*/ 52578 w 689609"/>
                <a:gd name="connsiteY260" fmla="*/ 275463 h 454818"/>
                <a:gd name="connsiteX261" fmla="*/ 51054 w 689609"/>
                <a:gd name="connsiteY261" fmla="*/ 277463 h 454818"/>
                <a:gd name="connsiteX262" fmla="*/ 49244 w 689609"/>
                <a:gd name="connsiteY262" fmla="*/ 277749 h 454818"/>
                <a:gd name="connsiteX263" fmla="*/ 48959 w 689609"/>
                <a:gd name="connsiteY263" fmla="*/ 275939 h 454818"/>
                <a:gd name="connsiteX264" fmla="*/ 52292 w 689609"/>
                <a:gd name="connsiteY264" fmla="*/ 273653 h 454818"/>
                <a:gd name="connsiteX265" fmla="*/ 54102 w 689609"/>
                <a:gd name="connsiteY265" fmla="*/ 273463 h 454818"/>
                <a:gd name="connsiteX266" fmla="*/ 57721 w 689609"/>
                <a:gd name="connsiteY266" fmla="*/ 272987 h 454818"/>
                <a:gd name="connsiteX267" fmla="*/ 57721 w 689609"/>
                <a:gd name="connsiteY267" fmla="*/ 272987 h 454818"/>
                <a:gd name="connsiteX268" fmla="*/ 60865 w 689609"/>
                <a:gd name="connsiteY268" fmla="*/ 268891 h 454818"/>
                <a:gd name="connsiteX269" fmla="*/ 57055 w 689609"/>
                <a:gd name="connsiteY269" fmla="*/ 267653 h 454818"/>
                <a:gd name="connsiteX270" fmla="*/ 53626 w 689609"/>
                <a:gd name="connsiteY270" fmla="*/ 269843 h 454818"/>
                <a:gd name="connsiteX271" fmla="*/ 49625 w 689609"/>
                <a:gd name="connsiteY271" fmla="*/ 266795 h 454818"/>
                <a:gd name="connsiteX272" fmla="*/ 38767 w 689609"/>
                <a:gd name="connsiteY272" fmla="*/ 268224 h 454818"/>
                <a:gd name="connsiteX273" fmla="*/ 41720 w 689609"/>
                <a:gd name="connsiteY273" fmla="*/ 262414 h 454818"/>
                <a:gd name="connsiteX274" fmla="*/ 41243 w 689609"/>
                <a:gd name="connsiteY274" fmla="*/ 258889 h 454818"/>
                <a:gd name="connsiteX275" fmla="*/ 28194 w 689609"/>
                <a:gd name="connsiteY275" fmla="*/ 256889 h 454818"/>
                <a:gd name="connsiteX276" fmla="*/ 30861 w 689609"/>
                <a:gd name="connsiteY276" fmla="*/ 249364 h 454818"/>
                <a:gd name="connsiteX277" fmla="*/ 33052 w 689609"/>
                <a:gd name="connsiteY277" fmla="*/ 252698 h 454818"/>
                <a:gd name="connsiteX278" fmla="*/ 33909 w 689609"/>
                <a:gd name="connsiteY278" fmla="*/ 245269 h 454818"/>
                <a:gd name="connsiteX279" fmla="*/ 43815 w 689609"/>
                <a:gd name="connsiteY279" fmla="*/ 236696 h 454818"/>
                <a:gd name="connsiteX280" fmla="*/ 40862 w 689609"/>
                <a:gd name="connsiteY280" fmla="*/ 228029 h 454818"/>
                <a:gd name="connsiteX281" fmla="*/ 43910 w 689609"/>
                <a:gd name="connsiteY281" fmla="*/ 224028 h 454818"/>
                <a:gd name="connsiteX282" fmla="*/ 41434 w 689609"/>
                <a:gd name="connsiteY282" fmla="*/ 218884 h 454818"/>
                <a:gd name="connsiteX283" fmla="*/ 42958 w 689609"/>
                <a:gd name="connsiteY283" fmla="*/ 216884 h 454818"/>
                <a:gd name="connsiteX284" fmla="*/ 40291 w 689609"/>
                <a:gd name="connsiteY284" fmla="*/ 210026 h 454818"/>
                <a:gd name="connsiteX285" fmla="*/ 43815 w 689609"/>
                <a:gd name="connsiteY285" fmla="*/ 209550 h 454818"/>
                <a:gd name="connsiteX286" fmla="*/ 48578 w 689609"/>
                <a:gd name="connsiteY286" fmla="*/ 203454 h 454818"/>
                <a:gd name="connsiteX287" fmla="*/ 44196 w 689609"/>
                <a:gd name="connsiteY287" fmla="*/ 198596 h 454818"/>
                <a:gd name="connsiteX288" fmla="*/ 47339 w 689609"/>
                <a:gd name="connsiteY288" fmla="*/ 194596 h 454818"/>
                <a:gd name="connsiteX289" fmla="*/ 34957 w 689609"/>
                <a:gd name="connsiteY289" fmla="*/ 183547 h 454818"/>
                <a:gd name="connsiteX290" fmla="*/ 36290 w 689609"/>
                <a:gd name="connsiteY290" fmla="*/ 179737 h 454818"/>
                <a:gd name="connsiteX291" fmla="*/ 34004 w 689609"/>
                <a:gd name="connsiteY291" fmla="*/ 176403 h 454818"/>
                <a:gd name="connsiteX292" fmla="*/ 22479 w 689609"/>
                <a:gd name="connsiteY292" fmla="*/ 172498 h 454818"/>
                <a:gd name="connsiteX293" fmla="*/ 10668 w 689609"/>
                <a:gd name="connsiteY293" fmla="*/ 179451 h 454818"/>
                <a:gd name="connsiteX294" fmla="*/ 7620 w 689609"/>
                <a:gd name="connsiteY294" fmla="*/ 170783 h 454818"/>
                <a:gd name="connsiteX295" fmla="*/ 17526 w 689609"/>
                <a:gd name="connsiteY295" fmla="*/ 162211 h 454818"/>
                <a:gd name="connsiteX296" fmla="*/ 14764 w 689609"/>
                <a:gd name="connsiteY296" fmla="*/ 155353 h 454818"/>
                <a:gd name="connsiteX297" fmla="*/ 6668 w 689609"/>
                <a:gd name="connsiteY297" fmla="*/ 149162 h 454818"/>
                <a:gd name="connsiteX298" fmla="*/ 6953 w 689609"/>
                <a:gd name="connsiteY298" fmla="*/ 138303 h 454818"/>
                <a:gd name="connsiteX299" fmla="*/ 2191 w 689609"/>
                <a:gd name="connsiteY299" fmla="*/ 129826 h 454818"/>
                <a:gd name="connsiteX300" fmla="*/ 0 w 689609"/>
                <a:gd name="connsiteY300" fmla="*/ 126492 h 454818"/>
                <a:gd name="connsiteX301" fmla="*/ 2381 w 689609"/>
                <a:gd name="connsiteY301" fmla="*/ 117157 h 454818"/>
                <a:gd name="connsiteX302" fmla="*/ 8001 w 689609"/>
                <a:gd name="connsiteY302" fmla="*/ 118205 h 454818"/>
                <a:gd name="connsiteX303" fmla="*/ 9811 w 689609"/>
                <a:gd name="connsiteY303" fmla="*/ 118015 h 454818"/>
                <a:gd name="connsiteX304" fmla="*/ 9525 w 689609"/>
                <a:gd name="connsiteY304" fmla="*/ 116205 h 454818"/>
                <a:gd name="connsiteX305" fmla="*/ 9525 w 689609"/>
                <a:gd name="connsiteY305" fmla="*/ 116205 h 454818"/>
                <a:gd name="connsiteX306" fmla="*/ 5048 w 689609"/>
                <a:gd name="connsiteY306" fmla="*/ 109538 h 454818"/>
                <a:gd name="connsiteX307" fmla="*/ 3810 w 689609"/>
                <a:gd name="connsiteY307" fmla="*/ 100584 h 454818"/>
                <a:gd name="connsiteX308" fmla="*/ 4667 w 689609"/>
                <a:gd name="connsiteY308" fmla="*/ 93250 h 45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</a:cxnLst>
              <a:rect l="l" t="t" r="r" b="b"/>
              <a:pathLst>
                <a:path w="689609" h="454818">
                  <a:moveTo>
                    <a:pt x="4667" y="93250"/>
                  </a:moveTo>
                  <a:lnTo>
                    <a:pt x="19907" y="84010"/>
                  </a:lnTo>
                  <a:lnTo>
                    <a:pt x="19240" y="78676"/>
                  </a:lnTo>
                  <a:lnTo>
                    <a:pt x="26384" y="77724"/>
                  </a:lnTo>
                  <a:lnTo>
                    <a:pt x="34004" y="65818"/>
                  </a:lnTo>
                  <a:lnTo>
                    <a:pt x="33719" y="64008"/>
                  </a:lnTo>
                  <a:lnTo>
                    <a:pt x="49625" y="60103"/>
                  </a:lnTo>
                  <a:lnTo>
                    <a:pt x="55721" y="64770"/>
                  </a:lnTo>
                  <a:lnTo>
                    <a:pt x="59055" y="62484"/>
                  </a:lnTo>
                  <a:lnTo>
                    <a:pt x="68104" y="61246"/>
                  </a:lnTo>
                  <a:lnTo>
                    <a:pt x="77914" y="52768"/>
                  </a:lnTo>
                  <a:lnTo>
                    <a:pt x="84011" y="57340"/>
                  </a:lnTo>
                  <a:lnTo>
                    <a:pt x="98870" y="59055"/>
                  </a:lnTo>
                  <a:lnTo>
                    <a:pt x="105346" y="52768"/>
                  </a:lnTo>
                  <a:lnTo>
                    <a:pt x="101155" y="62389"/>
                  </a:lnTo>
                  <a:lnTo>
                    <a:pt x="104965" y="63627"/>
                  </a:lnTo>
                  <a:lnTo>
                    <a:pt x="108109" y="59626"/>
                  </a:lnTo>
                  <a:lnTo>
                    <a:pt x="111919" y="60960"/>
                  </a:lnTo>
                  <a:lnTo>
                    <a:pt x="111347" y="42863"/>
                  </a:lnTo>
                  <a:lnTo>
                    <a:pt x="108585" y="36004"/>
                  </a:lnTo>
                  <a:lnTo>
                    <a:pt x="109442" y="28575"/>
                  </a:lnTo>
                  <a:lnTo>
                    <a:pt x="106489" y="19907"/>
                  </a:lnTo>
                  <a:lnTo>
                    <a:pt x="113824" y="6287"/>
                  </a:lnTo>
                  <a:lnTo>
                    <a:pt x="118967" y="3810"/>
                  </a:lnTo>
                  <a:lnTo>
                    <a:pt x="120301" y="0"/>
                  </a:lnTo>
                  <a:lnTo>
                    <a:pt x="125921" y="1048"/>
                  </a:lnTo>
                  <a:lnTo>
                    <a:pt x="126587" y="6382"/>
                  </a:lnTo>
                  <a:lnTo>
                    <a:pt x="132493" y="9239"/>
                  </a:lnTo>
                  <a:lnTo>
                    <a:pt x="134779" y="12573"/>
                  </a:lnTo>
                  <a:lnTo>
                    <a:pt x="141542" y="22574"/>
                  </a:lnTo>
                  <a:lnTo>
                    <a:pt x="144018" y="27622"/>
                  </a:lnTo>
                  <a:lnTo>
                    <a:pt x="141446" y="35242"/>
                  </a:lnTo>
                  <a:lnTo>
                    <a:pt x="152400" y="35623"/>
                  </a:lnTo>
                  <a:lnTo>
                    <a:pt x="158687" y="27527"/>
                  </a:lnTo>
                  <a:lnTo>
                    <a:pt x="165545" y="52006"/>
                  </a:lnTo>
                  <a:lnTo>
                    <a:pt x="169640" y="55054"/>
                  </a:lnTo>
                  <a:lnTo>
                    <a:pt x="170117" y="58674"/>
                  </a:lnTo>
                  <a:lnTo>
                    <a:pt x="175451" y="58007"/>
                  </a:lnTo>
                  <a:lnTo>
                    <a:pt x="185833" y="67532"/>
                  </a:lnTo>
                  <a:lnTo>
                    <a:pt x="189452" y="66961"/>
                  </a:lnTo>
                  <a:lnTo>
                    <a:pt x="202216" y="52578"/>
                  </a:lnTo>
                  <a:lnTo>
                    <a:pt x="201359" y="60007"/>
                  </a:lnTo>
                  <a:lnTo>
                    <a:pt x="194881" y="66294"/>
                  </a:lnTo>
                  <a:lnTo>
                    <a:pt x="215360" y="69056"/>
                  </a:lnTo>
                  <a:lnTo>
                    <a:pt x="220504" y="66484"/>
                  </a:lnTo>
                  <a:lnTo>
                    <a:pt x="226314" y="69342"/>
                  </a:lnTo>
                  <a:lnTo>
                    <a:pt x="230791" y="61531"/>
                  </a:lnTo>
                  <a:lnTo>
                    <a:pt x="236125" y="60865"/>
                  </a:lnTo>
                  <a:lnTo>
                    <a:pt x="237744" y="58769"/>
                  </a:lnTo>
                  <a:lnTo>
                    <a:pt x="243364" y="59817"/>
                  </a:lnTo>
                  <a:lnTo>
                    <a:pt x="248507" y="57340"/>
                  </a:lnTo>
                  <a:lnTo>
                    <a:pt x="262414" y="51911"/>
                  </a:lnTo>
                  <a:lnTo>
                    <a:pt x="275844" y="42863"/>
                  </a:lnTo>
                  <a:lnTo>
                    <a:pt x="286893" y="43243"/>
                  </a:lnTo>
                  <a:lnTo>
                    <a:pt x="288893" y="44767"/>
                  </a:lnTo>
                  <a:lnTo>
                    <a:pt x="293275" y="64103"/>
                  </a:lnTo>
                  <a:lnTo>
                    <a:pt x="298895" y="65246"/>
                  </a:lnTo>
                  <a:lnTo>
                    <a:pt x="302990" y="68294"/>
                  </a:lnTo>
                  <a:lnTo>
                    <a:pt x="302133" y="75629"/>
                  </a:lnTo>
                  <a:lnTo>
                    <a:pt x="304324" y="78962"/>
                  </a:lnTo>
                  <a:lnTo>
                    <a:pt x="306038" y="91440"/>
                  </a:lnTo>
                  <a:lnTo>
                    <a:pt x="303181" y="97250"/>
                  </a:lnTo>
                  <a:lnTo>
                    <a:pt x="298418" y="103346"/>
                  </a:lnTo>
                  <a:lnTo>
                    <a:pt x="298895" y="106871"/>
                  </a:lnTo>
                  <a:lnTo>
                    <a:pt x="294513" y="114776"/>
                  </a:lnTo>
                  <a:lnTo>
                    <a:pt x="294989" y="118300"/>
                  </a:lnTo>
                  <a:lnTo>
                    <a:pt x="297466" y="123444"/>
                  </a:lnTo>
                  <a:lnTo>
                    <a:pt x="300800" y="121158"/>
                  </a:lnTo>
                  <a:lnTo>
                    <a:pt x="303467" y="113538"/>
                  </a:lnTo>
                  <a:lnTo>
                    <a:pt x="323660" y="114490"/>
                  </a:lnTo>
                  <a:lnTo>
                    <a:pt x="324898" y="123444"/>
                  </a:lnTo>
                  <a:lnTo>
                    <a:pt x="333661" y="120396"/>
                  </a:lnTo>
                  <a:lnTo>
                    <a:pt x="338995" y="119729"/>
                  </a:lnTo>
                  <a:lnTo>
                    <a:pt x="341947" y="128397"/>
                  </a:lnTo>
                  <a:lnTo>
                    <a:pt x="346043" y="131445"/>
                  </a:lnTo>
                  <a:lnTo>
                    <a:pt x="346329" y="147733"/>
                  </a:lnTo>
                  <a:lnTo>
                    <a:pt x="351472" y="145256"/>
                  </a:lnTo>
                  <a:lnTo>
                    <a:pt x="351758" y="147066"/>
                  </a:lnTo>
                  <a:lnTo>
                    <a:pt x="354616" y="141256"/>
                  </a:lnTo>
                  <a:lnTo>
                    <a:pt x="360521" y="144018"/>
                  </a:lnTo>
                  <a:lnTo>
                    <a:pt x="360236" y="142304"/>
                  </a:lnTo>
                  <a:lnTo>
                    <a:pt x="367665" y="143065"/>
                  </a:lnTo>
                  <a:lnTo>
                    <a:pt x="372618" y="138874"/>
                  </a:lnTo>
                  <a:lnTo>
                    <a:pt x="378428" y="141732"/>
                  </a:lnTo>
                  <a:lnTo>
                    <a:pt x="381190" y="148590"/>
                  </a:lnTo>
                  <a:lnTo>
                    <a:pt x="386334" y="146113"/>
                  </a:lnTo>
                  <a:lnTo>
                    <a:pt x="390430" y="149162"/>
                  </a:lnTo>
                  <a:lnTo>
                    <a:pt x="400526" y="142399"/>
                  </a:lnTo>
                  <a:lnTo>
                    <a:pt x="408622" y="148590"/>
                  </a:lnTo>
                  <a:lnTo>
                    <a:pt x="407289" y="152400"/>
                  </a:lnTo>
                  <a:lnTo>
                    <a:pt x="413385" y="156972"/>
                  </a:lnTo>
                  <a:lnTo>
                    <a:pt x="416528" y="152971"/>
                  </a:lnTo>
                  <a:lnTo>
                    <a:pt x="424339" y="157353"/>
                  </a:lnTo>
                  <a:lnTo>
                    <a:pt x="421958" y="166783"/>
                  </a:lnTo>
                  <a:lnTo>
                    <a:pt x="422434" y="170307"/>
                  </a:lnTo>
                  <a:lnTo>
                    <a:pt x="421386" y="175927"/>
                  </a:lnTo>
                  <a:lnTo>
                    <a:pt x="421862" y="179451"/>
                  </a:lnTo>
                  <a:lnTo>
                    <a:pt x="417195" y="185547"/>
                  </a:lnTo>
                  <a:lnTo>
                    <a:pt x="419195" y="187071"/>
                  </a:lnTo>
                  <a:lnTo>
                    <a:pt x="417862" y="190881"/>
                  </a:lnTo>
                  <a:lnTo>
                    <a:pt x="418147" y="192691"/>
                  </a:lnTo>
                  <a:lnTo>
                    <a:pt x="420148" y="194215"/>
                  </a:lnTo>
                  <a:lnTo>
                    <a:pt x="428054" y="198596"/>
                  </a:lnTo>
                  <a:lnTo>
                    <a:pt x="431197" y="194596"/>
                  </a:lnTo>
                  <a:lnTo>
                    <a:pt x="435007" y="195834"/>
                  </a:lnTo>
                  <a:lnTo>
                    <a:pt x="438340" y="193643"/>
                  </a:lnTo>
                  <a:lnTo>
                    <a:pt x="439293" y="200692"/>
                  </a:lnTo>
                  <a:lnTo>
                    <a:pt x="443484" y="191071"/>
                  </a:lnTo>
                  <a:lnTo>
                    <a:pt x="455867" y="187642"/>
                  </a:lnTo>
                  <a:lnTo>
                    <a:pt x="459296" y="199930"/>
                  </a:lnTo>
                  <a:lnTo>
                    <a:pt x="467392" y="206121"/>
                  </a:lnTo>
                  <a:lnTo>
                    <a:pt x="478060" y="217360"/>
                  </a:lnTo>
                  <a:lnTo>
                    <a:pt x="481584" y="216884"/>
                  </a:lnTo>
                  <a:lnTo>
                    <a:pt x="492252" y="228219"/>
                  </a:lnTo>
                  <a:lnTo>
                    <a:pt x="507302" y="217170"/>
                  </a:lnTo>
                  <a:lnTo>
                    <a:pt x="509302" y="218694"/>
                  </a:lnTo>
                  <a:lnTo>
                    <a:pt x="514445" y="216217"/>
                  </a:lnTo>
                  <a:lnTo>
                    <a:pt x="516255" y="215932"/>
                  </a:lnTo>
                  <a:lnTo>
                    <a:pt x="521113" y="211646"/>
                  </a:lnTo>
                  <a:lnTo>
                    <a:pt x="523399" y="214979"/>
                  </a:lnTo>
                  <a:lnTo>
                    <a:pt x="526542" y="210979"/>
                  </a:lnTo>
                  <a:lnTo>
                    <a:pt x="534924" y="218884"/>
                  </a:lnTo>
                  <a:lnTo>
                    <a:pt x="550640" y="213170"/>
                  </a:lnTo>
                  <a:lnTo>
                    <a:pt x="551212" y="204025"/>
                  </a:lnTo>
                  <a:lnTo>
                    <a:pt x="558927" y="221171"/>
                  </a:lnTo>
                  <a:lnTo>
                    <a:pt x="561213" y="224504"/>
                  </a:lnTo>
                  <a:lnTo>
                    <a:pt x="573119" y="217456"/>
                  </a:lnTo>
                  <a:lnTo>
                    <a:pt x="592455" y="225742"/>
                  </a:lnTo>
                  <a:lnTo>
                    <a:pt x="600837" y="233743"/>
                  </a:lnTo>
                  <a:lnTo>
                    <a:pt x="597694" y="237839"/>
                  </a:lnTo>
                  <a:lnTo>
                    <a:pt x="596837" y="245173"/>
                  </a:lnTo>
                  <a:lnTo>
                    <a:pt x="588455" y="264414"/>
                  </a:lnTo>
                  <a:lnTo>
                    <a:pt x="598360" y="270320"/>
                  </a:lnTo>
                  <a:lnTo>
                    <a:pt x="606648" y="263842"/>
                  </a:lnTo>
                  <a:lnTo>
                    <a:pt x="611982" y="263080"/>
                  </a:lnTo>
                  <a:lnTo>
                    <a:pt x="632555" y="280321"/>
                  </a:lnTo>
                  <a:lnTo>
                    <a:pt x="646938" y="278416"/>
                  </a:lnTo>
                  <a:lnTo>
                    <a:pt x="661035" y="301942"/>
                  </a:lnTo>
                  <a:lnTo>
                    <a:pt x="670084" y="315182"/>
                  </a:lnTo>
                  <a:lnTo>
                    <a:pt x="668750" y="318992"/>
                  </a:lnTo>
                  <a:lnTo>
                    <a:pt x="672846" y="322135"/>
                  </a:lnTo>
                  <a:lnTo>
                    <a:pt x="681799" y="320992"/>
                  </a:lnTo>
                  <a:lnTo>
                    <a:pt x="680466" y="324707"/>
                  </a:lnTo>
                  <a:lnTo>
                    <a:pt x="680752" y="326517"/>
                  </a:lnTo>
                  <a:lnTo>
                    <a:pt x="678942" y="326707"/>
                  </a:lnTo>
                  <a:lnTo>
                    <a:pt x="679894" y="333851"/>
                  </a:lnTo>
                  <a:lnTo>
                    <a:pt x="689610" y="352520"/>
                  </a:lnTo>
                  <a:lnTo>
                    <a:pt x="680466" y="351949"/>
                  </a:lnTo>
                  <a:lnTo>
                    <a:pt x="675322" y="354425"/>
                  </a:lnTo>
                  <a:lnTo>
                    <a:pt x="667226" y="362712"/>
                  </a:lnTo>
                  <a:lnTo>
                    <a:pt x="668465" y="371665"/>
                  </a:lnTo>
                  <a:lnTo>
                    <a:pt x="650272" y="372237"/>
                  </a:lnTo>
                  <a:lnTo>
                    <a:pt x="645509" y="378333"/>
                  </a:lnTo>
                  <a:lnTo>
                    <a:pt x="645128" y="389191"/>
                  </a:lnTo>
                  <a:lnTo>
                    <a:pt x="638651" y="395573"/>
                  </a:lnTo>
                  <a:lnTo>
                    <a:pt x="629507" y="394906"/>
                  </a:lnTo>
                  <a:lnTo>
                    <a:pt x="622554" y="397669"/>
                  </a:lnTo>
                  <a:lnTo>
                    <a:pt x="618649" y="396335"/>
                  </a:lnTo>
                  <a:lnTo>
                    <a:pt x="608552" y="388620"/>
                  </a:lnTo>
                  <a:lnTo>
                    <a:pt x="601790" y="393192"/>
                  </a:lnTo>
                  <a:lnTo>
                    <a:pt x="608171" y="399574"/>
                  </a:lnTo>
                  <a:lnTo>
                    <a:pt x="606838" y="403384"/>
                  </a:lnTo>
                  <a:lnTo>
                    <a:pt x="601885" y="407670"/>
                  </a:lnTo>
                  <a:lnTo>
                    <a:pt x="594265" y="405003"/>
                  </a:lnTo>
                  <a:lnTo>
                    <a:pt x="584645" y="415385"/>
                  </a:lnTo>
                  <a:lnTo>
                    <a:pt x="577215" y="414528"/>
                  </a:lnTo>
                  <a:lnTo>
                    <a:pt x="574453" y="407670"/>
                  </a:lnTo>
                  <a:lnTo>
                    <a:pt x="576167" y="392906"/>
                  </a:lnTo>
                  <a:lnTo>
                    <a:pt x="573310" y="398716"/>
                  </a:lnTo>
                  <a:lnTo>
                    <a:pt x="571310" y="397192"/>
                  </a:lnTo>
                  <a:lnTo>
                    <a:pt x="568833" y="406622"/>
                  </a:lnTo>
                  <a:lnTo>
                    <a:pt x="568357" y="403003"/>
                  </a:lnTo>
                  <a:lnTo>
                    <a:pt x="566833" y="405003"/>
                  </a:lnTo>
                  <a:lnTo>
                    <a:pt x="562832" y="401955"/>
                  </a:lnTo>
                  <a:lnTo>
                    <a:pt x="541306" y="377571"/>
                  </a:lnTo>
                  <a:lnTo>
                    <a:pt x="537496" y="376333"/>
                  </a:lnTo>
                  <a:lnTo>
                    <a:pt x="514731" y="370237"/>
                  </a:lnTo>
                  <a:lnTo>
                    <a:pt x="506635" y="378523"/>
                  </a:lnTo>
                  <a:lnTo>
                    <a:pt x="507111" y="382143"/>
                  </a:lnTo>
                  <a:lnTo>
                    <a:pt x="499491" y="379476"/>
                  </a:lnTo>
                  <a:lnTo>
                    <a:pt x="495490" y="390906"/>
                  </a:lnTo>
                  <a:lnTo>
                    <a:pt x="492919" y="398526"/>
                  </a:lnTo>
                  <a:lnTo>
                    <a:pt x="485204" y="395859"/>
                  </a:lnTo>
                  <a:lnTo>
                    <a:pt x="480346" y="400145"/>
                  </a:lnTo>
                  <a:lnTo>
                    <a:pt x="470249" y="406908"/>
                  </a:lnTo>
                  <a:lnTo>
                    <a:pt x="464248" y="416814"/>
                  </a:lnTo>
                  <a:lnTo>
                    <a:pt x="460153" y="413671"/>
                  </a:lnTo>
                  <a:lnTo>
                    <a:pt x="454723" y="414433"/>
                  </a:lnTo>
                  <a:lnTo>
                    <a:pt x="448723" y="409765"/>
                  </a:lnTo>
                  <a:lnTo>
                    <a:pt x="433197" y="417290"/>
                  </a:lnTo>
                  <a:lnTo>
                    <a:pt x="426434" y="407289"/>
                  </a:lnTo>
                  <a:lnTo>
                    <a:pt x="422624" y="406051"/>
                  </a:lnTo>
                  <a:lnTo>
                    <a:pt x="420053" y="400907"/>
                  </a:lnTo>
                  <a:lnTo>
                    <a:pt x="404527" y="393859"/>
                  </a:lnTo>
                  <a:lnTo>
                    <a:pt x="397955" y="385667"/>
                  </a:lnTo>
                  <a:lnTo>
                    <a:pt x="396812" y="376809"/>
                  </a:lnTo>
                  <a:lnTo>
                    <a:pt x="394716" y="375285"/>
                  </a:lnTo>
                  <a:lnTo>
                    <a:pt x="386048" y="378238"/>
                  </a:lnTo>
                  <a:lnTo>
                    <a:pt x="378619" y="377380"/>
                  </a:lnTo>
                  <a:lnTo>
                    <a:pt x="374047" y="370713"/>
                  </a:lnTo>
                  <a:lnTo>
                    <a:pt x="358521" y="363760"/>
                  </a:lnTo>
                  <a:lnTo>
                    <a:pt x="355759" y="356806"/>
                  </a:lnTo>
                  <a:lnTo>
                    <a:pt x="348139" y="354235"/>
                  </a:lnTo>
                  <a:lnTo>
                    <a:pt x="339376" y="357188"/>
                  </a:lnTo>
                  <a:lnTo>
                    <a:pt x="333470" y="354330"/>
                  </a:lnTo>
                  <a:lnTo>
                    <a:pt x="323374" y="346615"/>
                  </a:lnTo>
                  <a:lnTo>
                    <a:pt x="316135" y="347567"/>
                  </a:lnTo>
                  <a:lnTo>
                    <a:pt x="308324" y="343186"/>
                  </a:lnTo>
                  <a:lnTo>
                    <a:pt x="301276" y="345853"/>
                  </a:lnTo>
                  <a:lnTo>
                    <a:pt x="291179" y="338138"/>
                  </a:lnTo>
                  <a:lnTo>
                    <a:pt x="285274" y="335375"/>
                  </a:lnTo>
                  <a:lnTo>
                    <a:pt x="278606" y="339852"/>
                  </a:lnTo>
                  <a:lnTo>
                    <a:pt x="264509" y="358045"/>
                  </a:lnTo>
                  <a:lnTo>
                    <a:pt x="259842" y="364046"/>
                  </a:lnTo>
                  <a:lnTo>
                    <a:pt x="249746" y="370808"/>
                  </a:lnTo>
                  <a:lnTo>
                    <a:pt x="244030" y="382524"/>
                  </a:lnTo>
                  <a:lnTo>
                    <a:pt x="235077" y="383667"/>
                  </a:lnTo>
                  <a:lnTo>
                    <a:pt x="204597" y="402241"/>
                  </a:lnTo>
                  <a:lnTo>
                    <a:pt x="200406" y="411766"/>
                  </a:lnTo>
                  <a:lnTo>
                    <a:pt x="201835" y="422529"/>
                  </a:lnTo>
                  <a:lnTo>
                    <a:pt x="200978" y="429863"/>
                  </a:lnTo>
                  <a:lnTo>
                    <a:pt x="193643" y="443579"/>
                  </a:lnTo>
                  <a:lnTo>
                    <a:pt x="188881" y="449580"/>
                  </a:lnTo>
                  <a:lnTo>
                    <a:pt x="176784" y="454819"/>
                  </a:lnTo>
                  <a:lnTo>
                    <a:pt x="166878" y="448913"/>
                  </a:lnTo>
                  <a:lnTo>
                    <a:pt x="163544" y="451104"/>
                  </a:lnTo>
                  <a:lnTo>
                    <a:pt x="152876" y="439864"/>
                  </a:lnTo>
                  <a:lnTo>
                    <a:pt x="138970" y="430816"/>
                  </a:lnTo>
                  <a:lnTo>
                    <a:pt x="142018" y="426815"/>
                  </a:lnTo>
                  <a:lnTo>
                    <a:pt x="122777" y="405765"/>
                  </a:lnTo>
                  <a:lnTo>
                    <a:pt x="110680" y="411004"/>
                  </a:lnTo>
                  <a:lnTo>
                    <a:pt x="92869" y="427863"/>
                  </a:lnTo>
                  <a:lnTo>
                    <a:pt x="89440" y="430149"/>
                  </a:lnTo>
                  <a:lnTo>
                    <a:pt x="75724" y="422910"/>
                  </a:lnTo>
                  <a:lnTo>
                    <a:pt x="64675" y="422529"/>
                  </a:lnTo>
                  <a:lnTo>
                    <a:pt x="62960" y="395573"/>
                  </a:lnTo>
                  <a:lnTo>
                    <a:pt x="59817" y="385096"/>
                  </a:lnTo>
                  <a:lnTo>
                    <a:pt x="55245" y="378428"/>
                  </a:lnTo>
                  <a:lnTo>
                    <a:pt x="52769" y="373380"/>
                  </a:lnTo>
                  <a:lnTo>
                    <a:pt x="46387" y="366903"/>
                  </a:lnTo>
                  <a:lnTo>
                    <a:pt x="32861" y="361474"/>
                  </a:lnTo>
                  <a:lnTo>
                    <a:pt x="22288" y="350234"/>
                  </a:lnTo>
                  <a:lnTo>
                    <a:pt x="18383" y="348901"/>
                  </a:lnTo>
                  <a:lnTo>
                    <a:pt x="21336" y="343090"/>
                  </a:lnTo>
                  <a:lnTo>
                    <a:pt x="24670" y="340805"/>
                  </a:lnTo>
                  <a:lnTo>
                    <a:pt x="24575" y="326326"/>
                  </a:lnTo>
                  <a:lnTo>
                    <a:pt x="22098" y="321183"/>
                  </a:lnTo>
                  <a:lnTo>
                    <a:pt x="23622" y="319183"/>
                  </a:lnTo>
                  <a:lnTo>
                    <a:pt x="23146" y="315658"/>
                  </a:lnTo>
                  <a:lnTo>
                    <a:pt x="19526" y="316135"/>
                  </a:lnTo>
                  <a:lnTo>
                    <a:pt x="15050" y="309467"/>
                  </a:lnTo>
                  <a:lnTo>
                    <a:pt x="22003" y="306705"/>
                  </a:lnTo>
                  <a:lnTo>
                    <a:pt x="25051" y="302705"/>
                  </a:lnTo>
                  <a:lnTo>
                    <a:pt x="12002" y="286321"/>
                  </a:lnTo>
                  <a:lnTo>
                    <a:pt x="23336" y="275749"/>
                  </a:lnTo>
                  <a:lnTo>
                    <a:pt x="36386" y="277654"/>
                  </a:lnTo>
                  <a:lnTo>
                    <a:pt x="39529" y="273558"/>
                  </a:lnTo>
                  <a:lnTo>
                    <a:pt x="51721" y="282797"/>
                  </a:lnTo>
                  <a:lnTo>
                    <a:pt x="56864" y="280321"/>
                  </a:lnTo>
                  <a:lnTo>
                    <a:pt x="56388" y="276796"/>
                  </a:lnTo>
                  <a:lnTo>
                    <a:pt x="52578" y="275463"/>
                  </a:lnTo>
                  <a:lnTo>
                    <a:pt x="51054" y="277463"/>
                  </a:lnTo>
                  <a:lnTo>
                    <a:pt x="49244" y="277749"/>
                  </a:lnTo>
                  <a:lnTo>
                    <a:pt x="48959" y="275939"/>
                  </a:lnTo>
                  <a:lnTo>
                    <a:pt x="52292" y="273653"/>
                  </a:lnTo>
                  <a:lnTo>
                    <a:pt x="54102" y="273463"/>
                  </a:lnTo>
                  <a:lnTo>
                    <a:pt x="57721" y="272987"/>
                  </a:lnTo>
                  <a:lnTo>
                    <a:pt x="57721" y="272987"/>
                  </a:lnTo>
                  <a:lnTo>
                    <a:pt x="60865" y="268891"/>
                  </a:lnTo>
                  <a:lnTo>
                    <a:pt x="57055" y="267653"/>
                  </a:lnTo>
                  <a:lnTo>
                    <a:pt x="53626" y="269843"/>
                  </a:lnTo>
                  <a:lnTo>
                    <a:pt x="49625" y="266795"/>
                  </a:lnTo>
                  <a:lnTo>
                    <a:pt x="38767" y="268224"/>
                  </a:lnTo>
                  <a:lnTo>
                    <a:pt x="41720" y="262414"/>
                  </a:lnTo>
                  <a:lnTo>
                    <a:pt x="41243" y="258889"/>
                  </a:lnTo>
                  <a:lnTo>
                    <a:pt x="28194" y="256889"/>
                  </a:lnTo>
                  <a:lnTo>
                    <a:pt x="30861" y="249364"/>
                  </a:lnTo>
                  <a:lnTo>
                    <a:pt x="33052" y="252698"/>
                  </a:lnTo>
                  <a:lnTo>
                    <a:pt x="33909" y="245269"/>
                  </a:lnTo>
                  <a:lnTo>
                    <a:pt x="43815" y="236696"/>
                  </a:lnTo>
                  <a:lnTo>
                    <a:pt x="40862" y="228029"/>
                  </a:lnTo>
                  <a:lnTo>
                    <a:pt x="43910" y="224028"/>
                  </a:lnTo>
                  <a:lnTo>
                    <a:pt x="41434" y="218884"/>
                  </a:lnTo>
                  <a:lnTo>
                    <a:pt x="42958" y="216884"/>
                  </a:lnTo>
                  <a:lnTo>
                    <a:pt x="40291" y="210026"/>
                  </a:lnTo>
                  <a:lnTo>
                    <a:pt x="43815" y="209550"/>
                  </a:lnTo>
                  <a:lnTo>
                    <a:pt x="48578" y="203454"/>
                  </a:lnTo>
                  <a:lnTo>
                    <a:pt x="44196" y="198596"/>
                  </a:lnTo>
                  <a:lnTo>
                    <a:pt x="47339" y="194596"/>
                  </a:lnTo>
                  <a:lnTo>
                    <a:pt x="34957" y="183547"/>
                  </a:lnTo>
                  <a:lnTo>
                    <a:pt x="36290" y="179737"/>
                  </a:lnTo>
                  <a:lnTo>
                    <a:pt x="34004" y="176403"/>
                  </a:lnTo>
                  <a:lnTo>
                    <a:pt x="22479" y="172498"/>
                  </a:lnTo>
                  <a:lnTo>
                    <a:pt x="10668" y="179451"/>
                  </a:lnTo>
                  <a:lnTo>
                    <a:pt x="7620" y="170783"/>
                  </a:lnTo>
                  <a:lnTo>
                    <a:pt x="17526" y="162211"/>
                  </a:lnTo>
                  <a:lnTo>
                    <a:pt x="14764" y="155353"/>
                  </a:lnTo>
                  <a:lnTo>
                    <a:pt x="6668" y="149162"/>
                  </a:lnTo>
                  <a:lnTo>
                    <a:pt x="6953" y="138303"/>
                  </a:lnTo>
                  <a:lnTo>
                    <a:pt x="2191" y="129826"/>
                  </a:lnTo>
                  <a:lnTo>
                    <a:pt x="0" y="126492"/>
                  </a:lnTo>
                  <a:lnTo>
                    <a:pt x="2381" y="117157"/>
                  </a:lnTo>
                  <a:lnTo>
                    <a:pt x="8001" y="118205"/>
                  </a:lnTo>
                  <a:lnTo>
                    <a:pt x="9811" y="118015"/>
                  </a:lnTo>
                  <a:lnTo>
                    <a:pt x="9525" y="116205"/>
                  </a:lnTo>
                  <a:lnTo>
                    <a:pt x="9525" y="116205"/>
                  </a:lnTo>
                  <a:lnTo>
                    <a:pt x="5048" y="109538"/>
                  </a:lnTo>
                  <a:lnTo>
                    <a:pt x="3810" y="100584"/>
                  </a:lnTo>
                  <a:lnTo>
                    <a:pt x="4667" y="9325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8" name="Volný tvar: obrazec 57">
              <a:extLst>
                <a:ext uri="{FF2B5EF4-FFF2-40B4-BE49-F238E27FC236}">
                  <a16:creationId xmlns:a16="http://schemas.microsoft.com/office/drawing/2014/main" id="{D2A40F4E-E946-6049-A217-451E5B51D9E5}"/>
                </a:ext>
              </a:extLst>
            </p:cNvPr>
            <p:cNvSpPr/>
            <p:nvPr userDrawn="1"/>
          </p:nvSpPr>
          <p:spPr>
            <a:xfrm>
              <a:off x="6954344" y="4410169"/>
              <a:ext cx="610362" cy="606647"/>
            </a:xfrm>
            <a:custGeom>
              <a:avLst/>
              <a:gdLst>
                <a:gd name="connsiteX0" fmla="*/ 40291 w 610362"/>
                <a:gd name="connsiteY0" fmla="*/ 95441 h 606647"/>
                <a:gd name="connsiteX1" fmla="*/ 54864 w 610362"/>
                <a:gd name="connsiteY1" fmla="*/ 95345 h 606647"/>
                <a:gd name="connsiteX2" fmla="*/ 79820 w 610362"/>
                <a:gd name="connsiteY2" fmla="*/ 90202 h 606647"/>
                <a:gd name="connsiteX3" fmla="*/ 89630 w 610362"/>
                <a:gd name="connsiteY3" fmla="*/ 81629 h 606647"/>
                <a:gd name="connsiteX4" fmla="*/ 87630 w 610362"/>
                <a:gd name="connsiteY4" fmla="*/ 80105 h 606647"/>
                <a:gd name="connsiteX5" fmla="*/ 99917 w 610362"/>
                <a:gd name="connsiteY5" fmla="*/ 76676 h 606647"/>
                <a:gd name="connsiteX6" fmla="*/ 113062 w 610362"/>
                <a:gd name="connsiteY6" fmla="*/ 65818 h 606647"/>
                <a:gd name="connsiteX7" fmla="*/ 117158 w 610362"/>
                <a:gd name="connsiteY7" fmla="*/ 68961 h 606647"/>
                <a:gd name="connsiteX8" fmla="*/ 118301 w 610362"/>
                <a:gd name="connsiteY8" fmla="*/ 63341 h 606647"/>
                <a:gd name="connsiteX9" fmla="*/ 125921 w 610362"/>
                <a:gd name="connsiteY9" fmla="*/ 66008 h 606647"/>
                <a:gd name="connsiteX10" fmla="*/ 124873 w 610362"/>
                <a:gd name="connsiteY10" fmla="*/ 71533 h 606647"/>
                <a:gd name="connsiteX11" fmla="*/ 126873 w 610362"/>
                <a:gd name="connsiteY11" fmla="*/ 73057 h 606647"/>
                <a:gd name="connsiteX12" fmla="*/ 124015 w 610362"/>
                <a:gd name="connsiteY12" fmla="*/ 78867 h 606647"/>
                <a:gd name="connsiteX13" fmla="*/ 122872 w 610362"/>
                <a:gd name="connsiteY13" fmla="*/ 84487 h 606647"/>
                <a:gd name="connsiteX14" fmla="*/ 128111 w 610362"/>
                <a:gd name="connsiteY14" fmla="*/ 96488 h 606647"/>
                <a:gd name="connsiteX15" fmla="*/ 122968 w 610362"/>
                <a:gd name="connsiteY15" fmla="*/ 98965 h 606647"/>
                <a:gd name="connsiteX16" fmla="*/ 125730 w 610362"/>
                <a:gd name="connsiteY16" fmla="*/ 105918 h 606647"/>
                <a:gd name="connsiteX17" fmla="*/ 145256 w 610362"/>
                <a:gd name="connsiteY17" fmla="*/ 101537 h 606647"/>
                <a:gd name="connsiteX18" fmla="*/ 152400 w 610362"/>
                <a:gd name="connsiteY18" fmla="*/ 100489 h 606647"/>
                <a:gd name="connsiteX19" fmla="*/ 162878 w 610362"/>
                <a:gd name="connsiteY19" fmla="*/ 110014 h 606647"/>
                <a:gd name="connsiteX20" fmla="*/ 166402 w 610362"/>
                <a:gd name="connsiteY20" fmla="*/ 109538 h 606647"/>
                <a:gd name="connsiteX21" fmla="*/ 167164 w 610362"/>
                <a:gd name="connsiteY21" fmla="*/ 114871 h 606647"/>
                <a:gd name="connsiteX22" fmla="*/ 180213 w 610362"/>
                <a:gd name="connsiteY22" fmla="*/ 116777 h 606647"/>
                <a:gd name="connsiteX23" fmla="*/ 193929 w 610362"/>
                <a:gd name="connsiteY23" fmla="*/ 124016 h 606647"/>
                <a:gd name="connsiteX24" fmla="*/ 195263 w 610362"/>
                <a:gd name="connsiteY24" fmla="*/ 120205 h 606647"/>
                <a:gd name="connsiteX25" fmla="*/ 196787 w 610362"/>
                <a:gd name="connsiteY25" fmla="*/ 118205 h 606647"/>
                <a:gd name="connsiteX26" fmla="*/ 198120 w 610362"/>
                <a:gd name="connsiteY26" fmla="*/ 114395 h 606647"/>
                <a:gd name="connsiteX27" fmla="*/ 203740 w 610362"/>
                <a:gd name="connsiteY27" fmla="*/ 115538 h 606647"/>
                <a:gd name="connsiteX28" fmla="*/ 207073 w 610362"/>
                <a:gd name="connsiteY28" fmla="*/ 113252 h 606647"/>
                <a:gd name="connsiteX29" fmla="*/ 210503 w 610362"/>
                <a:gd name="connsiteY29" fmla="*/ 110966 h 606647"/>
                <a:gd name="connsiteX30" fmla="*/ 205169 w 610362"/>
                <a:gd name="connsiteY30" fmla="*/ 98965 h 606647"/>
                <a:gd name="connsiteX31" fmla="*/ 206597 w 610362"/>
                <a:gd name="connsiteY31" fmla="*/ 95155 h 606647"/>
                <a:gd name="connsiteX32" fmla="*/ 208597 w 610362"/>
                <a:gd name="connsiteY32" fmla="*/ 96679 h 606647"/>
                <a:gd name="connsiteX33" fmla="*/ 209455 w 610362"/>
                <a:gd name="connsiteY33" fmla="*/ 89345 h 606647"/>
                <a:gd name="connsiteX34" fmla="*/ 212788 w 610362"/>
                <a:gd name="connsiteY34" fmla="*/ 87154 h 606647"/>
                <a:gd name="connsiteX35" fmla="*/ 212312 w 610362"/>
                <a:gd name="connsiteY35" fmla="*/ 83534 h 606647"/>
                <a:gd name="connsiteX36" fmla="*/ 214122 w 610362"/>
                <a:gd name="connsiteY36" fmla="*/ 83344 h 606647"/>
                <a:gd name="connsiteX37" fmla="*/ 217456 w 610362"/>
                <a:gd name="connsiteY37" fmla="*/ 81058 h 606647"/>
                <a:gd name="connsiteX38" fmla="*/ 219742 w 610362"/>
                <a:gd name="connsiteY38" fmla="*/ 84392 h 606647"/>
                <a:gd name="connsiteX39" fmla="*/ 223076 w 610362"/>
                <a:gd name="connsiteY39" fmla="*/ 82105 h 606647"/>
                <a:gd name="connsiteX40" fmla="*/ 222409 w 610362"/>
                <a:gd name="connsiteY40" fmla="*/ 76771 h 606647"/>
                <a:gd name="connsiteX41" fmla="*/ 232220 w 610362"/>
                <a:gd name="connsiteY41" fmla="*/ 68199 h 606647"/>
                <a:gd name="connsiteX42" fmla="*/ 233077 w 610362"/>
                <a:gd name="connsiteY42" fmla="*/ 60865 h 606647"/>
                <a:gd name="connsiteX43" fmla="*/ 243364 w 610362"/>
                <a:gd name="connsiteY43" fmla="*/ 55912 h 606647"/>
                <a:gd name="connsiteX44" fmla="*/ 246317 w 610362"/>
                <a:gd name="connsiteY44" fmla="*/ 50102 h 606647"/>
                <a:gd name="connsiteX45" fmla="*/ 241935 w 610362"/>
                <a:gd name="connsiteY45" fmla="*/ 45149 h 606647"/>
                <a:gd name="connsiteX46" fmla="*/ 241745 w 610362"/>
                <a:gd name="connsiteY46" fmla="*/ 43434 h 606647"/>
                <a:gd name="connsiteX47" fmla="*/ 246888 w 610362"/>
                <a:gd name="connsiteY47" fmla="*/ 40862 h 606647"/>
                <a:gd name="connsiteX48" fmla="*/ 250984 w 610362"/>
                <a:gd name="connsiteY48" fmla="*/ 44005 h 606647"/>
                <a:gd name="connsiteX49" fmla="*/ 263652 w 610362"/>
                <a:gd name="connsiteY49" fmla="*/ 29623 h 606647"/>
                <a:gd name="connsiteX50" fmla="*/ 268414 w 610362"/>
                <a:gd name="connsiteY50" fmla="*/ 38005 h 606647"/>
                <a:gd name="connsiteX51" fmla="*/ 270034 w 610362"/>
                <a:gd name="connsiteY51" fmla="*/ 36004 h 606647"/>
                <a:gd name="connsiteX52" fmla="*/ 286036 w 610362"/>
                <a:gd name="connsiteY52" fmla="*/ 46577 h 606647"/>
                <a:gd name="connsiteX53" fmla="*/ 299752 w 610362"/>
                <a:gd name="connsiteY53" fmla="*/ 53816 h 606647"/>
                <a:gd name="connsiteX54" fmla="*/ 316992 w 610362"/>
                <a:gd name="connsiteY54" fmla="*/ 46101 h 606647"/>
                <a:gd name="connsiteX55" fmla="*/ 320612 w 610362"/>
                <a:gd name="connsiteY55" fmla="*/ 45625 h 606647"/>
                <a:gd name="connsiteX56" fmla="*/ 322897 w 610362"/>
                <a:gd name="connsiteY56" fmla="*/ 48959 h 606647"/>
                <a:gd name="connsiteX57" fmla="*/ 326231 w 610362"/>
                <a:gd name="connsiteY57" fmla="*/ 46673 h 606647"/>
                <a:gd name="connsiteX58" fmla="*/ 329375 w 610362"/>
                <a:gd name="connsiteY58" fmla="*/ 42672 h 606647"/>
                <a:gd name="connsiteX59" fmla="*/ 331184 w 610362"/>
                <a:gd name="connsiteY59" fmla="*/ 42482 h 606647"/>
                <a:gd name="connsiteX60" fmla="*/ 330898 w 610362"/>
                <a:gd name="connsiteY60" fmla="*/ 40672 h 606647"/>
                <a:gd name="connsiteX61" fmla="*/ 331756 w 610362"/>
                <a:gd name="connsiteY61" fmla="*/ 33338 h 606647"/>
                <a:gd name="connsiteX62" fmla="*/ 336899 w 610362"/>
                <a:gd name="connsiteY62" fmla="*/ 30766 h 606647"/>
                <a:gd name="connsiteX63" fmla="*/ 338614 w 610362"/>
                <a:gd name="connsiteY63" fmla="*/ 16097 h 606647"/>
                <a:gd name="connsiteX64" fmla="*/ 344234 w 610362"/>
                <a:gd name="connsiteY64" fmla="*/ 17145 h 606647"/>
                <a:gd name="connsiteX65" fmla="*/ 348805 w 610362"/>
                <a:gd name="connsiteY65" fmla="*/ 23813 h 606647"/>
                <a:gd name="connsiteX66" fmla="*/ 360712 w 610362"/>
                <a:gd name="connsiteY66" fmla="*/ 31242 h 606647"/>
                <a:gd name="connsiteX67" fmla="*/ 371570 w 610362"/>
                <a:gd name="connsiteY67" fmla="*/ 29813 h 606647"/>
                <a:gd name="connsiteX68" fmla="*/ 386334 w 610362"/>
                <a:gd name="connsiteY68" fmla="*/ 17050 h 606647"/>
                <a:gd name="connsiteX69" fmla="*/ 393954 w 610362"/>
                <a:gd name="connsiteY69" fmla="*/ 19621 h 606647"/>
                <a:gd name="connsiteX70" fmla="*/ 393478 w 610362"/>
                <a:gd name="connsiteY70" fmla="*/ 16097 h 606647"/>
                <a:gd name="connsiteX71" fmla="*/ 400907 w 610362"/>
                <a:gd name="connsiteY71" fmla="*/ 16859 h 606647"/>
                <a:gd name="connsiteX72" fmla="*/ 400621 w 610362"/>
                <a:gd name="connsiteY72" fmla="*/ 15145 h 606647"/>
                <a:gd name="connsiteX73" fmla="*/ 404431 w 610362"/>
                <a:gd name="connsiteY73" fmla="*/ 16383 h 606647"/>
                <a:gd name="connsiteX74" fmla="*/ 404241 w 610362"/>
                <a:gd name="connsiteY74" fmla="*/ 14669 h 606647"/>
                <a:gd name="connsiteX75" fmla="*/ 407861 w 610362"/>
                <a:gd name="connsiteY75" fmla="*/ 14192 h 606647"/>
                <a:gd name="connsiteX76" fmla="*/ 407098 w 610362"/>
                <a:gd name="connsiteY76" fmla="*/ 8763 h 606647"/>
                <a:gd name="connsiteX77" fmla="*/ 412052 w 610362"/>
                <a:gd name="connsiteY77" fmla="*/ 4572 h 606647"/>
                <a:gd name="connsiteX78" fmla="*/ 418719 w 610362"/>
                <a:gd name="connsiteY78" fmla="*/ 0 h 606647"/>
                <a:gd name="connsiteX79" fmla="*/ 426148 w 610362"/>
                <a:gd name="connsiteY79" fmla="*/ 857 h 606647"/>
                <a:gd name="connsiteX80" fmla="*/ 425291 w 610362"/>
                <a:gd name="connsiteY80" fmla="*/ 8192 h 606647"/>
                <a:gd name="connsiteX81" fmla="*/ 426530 w 610362"/>
                <a:gd name="connsiteY81" fmla="*/ 17145 h 606647"/>
                <a:gd name="connsiteX82" fmla="*/ 431006 w 610362"/>
                <a:gd name="connsiteY82" fmla="*/ 23813 h 606647"/>
                <a:gd name="connsiteX83" fmla="*/ 431006 w 610362"/>
                <a:gd name="connsiteY83" fmla="*/ 23813 h 606647"/>
                <a:gd name="connsiteX84" fmla="*/ 431292 w 610362"/>
                <a:gd name="connsiteY84" fmla="*/ 25622 h 606647"/>
                <a:gd name="connsiteX85" fmla="*/ 429482 w 610362"/>
                <a:gd name="connsiteY85" fmla="*/ 25813 h 606647"/>
                <a:gd name="connsiteX86" fmla="*/ 423863 w 610362"/>
                <a:gd name="connsiteY86" fmla="*/ 24765 h 606647"/>
                <a:gd name="connsiteX87" fmla="*/ 421481 w 610362"/>
                <a:gd name="connsiteY87" fmla="*/ 34100 h 606647"/>
                <a:gd name="connsiteX88" fmla="*/ 423672 w 610362"/>
                <a:gd name="connsiteY88" fmla="*/ 37433 h 606647"/>
                <a:gd name="connsiteX89" fmla="*/ 428435 w 610362"/>
                <a:gd name="connsiteY89" fmla="*/ 45911 h 606647"/>
                <a:gd name="connsiteX90" fmla="*/ 428149 w 610362"/>
                <a:gd name="connsiteY90" fmla="*/ 56769 h 606647"/>
                <a:gd name="connsiteX91" fmla="*/ 436245 w 610362"/>
                <a:gd name="connsiteY91" fmla="*/ 62960 h 606647"/>
                <a:gd name="connsiteX92" fmla="*/ 439007 w 610362"/>
                <a:gd name="connsiteY92" fmla="*/ 69818 h 606647"/>
                <a:gd name="connsiteX93" fmla="*/ 429101 w 610362"/>
                <a:gd name="connsiteY93" fmla="*/ 78391 h 606647"/>
                <a:gd name="connsiteX94" fmla="*/ 432149 w 610362"/>
                <a:gd name="connsiteY94" fmla="*/ 87059 h 606647"/>
                <a:gd name="connsiteX95" fmla="*/ 443960 w 610362"/>
                <a:gd name="connsiteY95" fmla="*/ 80105 h 606647"/>
                <a:gd name="connsiteX96" fmla="*/ 455486 w 610362"/>
                <a:gd name="connsiteY96" fmla="*/ 84011 h 606647"/>
                <a:gd name="connsiteX97" fmla="*/ 457771 w 610362"/>
                <a:gd name="connsiteY97" fmla="*/ 87344 h 606647"/>
                <a:gd name="connsiteX98" fmla="*/ 456438 w 610362"/>
                <a:gd name="connsiteY98" fmla="*/ 91154 h 606647"/>
                <a:gd name="connsiteX99" fmla="*/ 468821 w 610362"/>
                <a:gd name="connsiteY99" fmla="*/ 102203 h 606647"/>
                <a:gd name="connsiteX100" fmla="*/ 465677 w 610362"/>
                <a:gd name="connsiteY100" fmla="*/ 106204 h 606647"/>
                <a:gd name="connsiteX101" fmla="*/ 470059 w 610362"/>
                <a:gd name="connsiteY101" fmla="*/ 111062 h 606647"/>
                <a:gd name="connsiteX102" fmla="*/ 465296 w 610362"/>
                <a:gd name="connsiteY102" fmla="*/ 117158 h 606647"/>
                <a:gd name="connsiteX103" fmla="*/ 461772 w 610362"/>
                <a:gd name="connsiteY103" fmla="*/ 117634 h 606647"/>
                <a:gd name="connsiteX104" fmla="*/ 464439 w 610362"/>
                <a:gd name="connsiteY104" fmla="*/ 124492 h 606647"/>
                <a:gd name="connsiteX105" fmla="*/ 462915 w 610362"/>
                <a:gd name="connsiteY105" fmla="*/ 126492 h 606647"/>
                <a:gd name="connsiteX106" fmla="*/ 465392 w 610362"/>
                <a:gd name="connsiteY106" fmla="*/ 131636 h 606647"/>
                <a:gd name="connsiteX107" fmla="*/ 462344 w 610362"/>
                <a:gd name="connsiteY107" fmla="*/ 135636 h 606647"/>
                <a:gd name="connsiteX108" fmla="*/ 465296 w 610362"/>
                <a:gd name="connsiteY108" fmla="*/ 144304 h 606647"/>
                <a:gd name="connsiteX109" fmla="*/ 455390 w 610362"/>
                <a:gd name="connsiteY109" fmla="*/ 152876 h 606647"/>
                <a:gd name="connsiteX110" fmla="*/ 454533 w 610362"/>
                <a:gd name="connsiteY110" fmla="*/ 160306 h 606647"/>
                <a:gd name="connsiteX111" fmla="*/ 452342 w 610362"/>
                <a:gd name="connsiteY111" fmla="*/ 156972 h 606647"/>
                <a:gd name="connsiteX112" fmla="*/ 449675 w 610362"/>
                <a:gd name="connsiteY112" fmla="*/ 164497 h 606647"/>
                <a:gd name="connsiteX113" fmla="*/ 462725 w 610362"/>
                <a:gd name="connsiteY113" fmla="*/ 166497 h 606647"/>
                <a:gd name="connsiteX114" fmla="*/ 463201 w 610362"/>
                <a:gd name="connsiteY114" fmla="*/ 170021 h 606647"/>
                <a:gd name="connsiteX115" fmla="*/ 460248 w 610362"/>
                <a:gd name="connsiteY115" fmla="*/ 175832 h 606647"/>
                <a:gd name="connsiteX116" fmla="*/ 471106 w 610362"/>
                <a:gd name="connsiteY116" fmla="*/ 174403 h 606647"/>
                <a:gd name="connsiteX117" fmla="*/ 475107 w 610362"/>
                <a:gd name="connsiteY117" fmla="*/ 177451 h 606647"/>
                <a:gd name="connsiteX118" fmla="*/ 478536 w 610362"/>
                <a:gd name="connsiteY118" fmla="*/ 175260 h 606647"/>
                <a:gd name="connsiteX119" fmla="*/ 482346 w 610362"/>
                <a:gd name="connsiteY119" fmla="*/ 176498 h 606647"/>
                <a:gd name="connsiteX120" fmla="*/ 479203 w 610362"/>
                <a:gd name="connsiteY120" fmla="*/ 180594 h 606647"/>
                <a:gd name="connsiteX121" fmla="*/ 479203 w 610362"/>
                <a:gd name="connsiteY121" fmla="*/ 180594 h 606647"/>
                <a:gd name="connsiteX122" fmla="*/ 475583 w 610362"/>
                <a:gd name="connsiteY122" fmla="*/ 181070 h 606647"/>
                <a:gd name="connsiteX123" fmla="*/ 473773 w 610362"/>
                <a:gd name="connsiteY123" fmla="*/ 181261 h 606647"/>
                <a:gd name="connsiteX124" fmla="*/ 470440 w 610362"/>
                <a:gd name="connsiteY124" fmla="*/ 183547 h 606647"/>
                <a:gd name="connsiteX125" fmla="*/ 470726 w 610362"/>
                <a:gd name="connsiteY125" fmla="*/ 185357 h 606647"/>
                <a:gd name="connsiteX126" fmla="*/ 472535 w 610362"/>
                <a:gd name="connsiteY126" fmla="*/ 185071 h 606647"/>
                <a:gd name="connsiteX127" fmla="*/ 474059 w 610362"/>
                <a:gd name="connsiteY127" fmla="*/ 183071 h 606647"/>
                <a:gd name="connsiteX128" fmla="*/ 477869 w 610362"/>
                <a:gd name="connsiteY128" fmla="*/ 184404 h 606647"/>
                <a:gd name="connsiteX129" fmla="*/ 478346 w 610362"/>
                <a:gd name="connsiteY129" fmla="*/ 187928 h 606647"/>
                <a:gd name="connsiteX130" fmla="*/ 473202 w 610362"/>
                <a:gd name="connsiteY130" fmla="*/ 190405 h 606647"/>
                <a:gd name="connsiteX131" fmla="*/ 461010 w 610362"/>
                <a:gd name="connsiteY131" fmla="*/ 181166 h 606647"/>
                <a:gd name="connsiteX132" fmla="*/ 457867 w 610362"/>
                <a:gd name="connsiteY132" fmla="*/ 185261 h 606647"/>
                <a:gd name="connsiteX133" fmla="*/ 444818 w 610362"/>
                <a:gd name="connsiteY133" fmla="*/ 183356 h 606647"/>
                <a:gd name="connsiteX134" fmla="*/ 433483 w 610362"/>
                <a:gd name="connsiteY134" fmla="*/ 193929 h 606647"/>
                <a:gd name="connsiteX135" fmla="*/ 446532 w 610362"/>
                <a:gd name="connsiteY135" fmla="*/ 210312 h 606647"/>
                <a:gd name="connsiteX136" fmla="*/ 443484 w 610362"/>
                <a:gd name="connsiteY136" fmla="*/ 214313 h 606647"/>
                <a:gd name="connsiteX137" fmla="*/ 436531 w 610362"/>
                <a:gd name="connsiteY137" fmla="*/ 217075 h 606647"/>
                <a:gd name="connsiteX138" fmla="*/ 441008 w 610362"/>
                <a:gd name="connsiteY138" fmla="*/ 223742 h 606647"/>
                <a:gd name="connsiteX139" fmla="*/ 444627 w 610362"/>
                <a:gd name="connsiteY139" fmla="*/ 223266 h 606647"/>
                <a:gd name="connsiteX140" fmla="*/ 445103 w 610362"/>
                <a:gd name="connsiteY140" fmla="*/ 226790 h 606647"/>
                <a:gd name="connsiteX141" fmla="*/ 443579 w 610362"/>
                <a:gd name="connsiteY141" fmla="*/ 228791 h 606647"/>
                <a:gd name="connsiteX142" fmla="*/ 446056 w 610362"/>
                <a:gd name="connsiteY142" fmla="*/ 233934 h 606647"/>
                <a:gd name="connsiteX143" fmla="*/ 446151 w 610362"/>
                <a:gd name="connsiteY143" fmla="*/ 248412 h 606647"/>
                <a:gd name="connsiteX144" fmla="*/ 442817 w 610362"/>
                <a:gd name="connsiteY144" fmla="*/ 250698 h 606647"/>
                <a:gd name="connsiteX145" fmla="*/ 439864 w 610362"/>
                <a:gd name="connsiteY145" fmla="*/ 256508 h 606647"/>
                <a:gd name="connsiteX146" fmla="*/ 443770 w 610362"/>
                <a:gd name="connsiteY146" fmla="*/ 257842 h 606647"/>
                <a:gd name="connsiteX147" fmla="*/ 454343 w 610362"/>
                <a:gd name="connsiteY147" fmla="*/ 269081 h 606647"/>
                <a:gd name="connsiteX148" fmla="*/ 467868 w 610362"/>
                <a:gd name="connsiteY148" fmla="*/ 274511 h 606647"/>
                <a:gd name="connsiteX149" fmla="*/ 474250 w 610362"/>
                <a:gd name="connsiteY149" fmla="*/ 280988 h 606647"/>
                <a:gd name="connsiteX150" fmla="*/ 476726 w 610362"/>
                <a:gd name="connsiteY150" fmla="*/ 286036 h 606647"/>
                <a:gd name="connsiteX151" fmla="*/ 481298 w 610362"/>
                <a:gd name="connsiteY151" fmla="*/ 292703 h 606647"/>
                <a:gd name="connsiteX152" fmla="*/ 484442 w 610362"/>
                <a:gd name="connsiteY152" fmla="*/ 303181 h 606647"/>
                <a:gd name="connsiteX153" fmla="*/ 486156 w 610362"/>
                <a:gd name="connsiteY153" fmla="*/ 330137 h 606647"/>
                <a:gd name="connsiteX154" fmla="*/ 497205 w 610362"/>
                <a:gd name="connsiteY154" fmla="*/ 330518 h 606647"/>
                <a:gd name="connsiteX155" fmla="*/ 510921 w 610362"/>
                <a:gd name="connsiteY155" fmla="*/ 337757 h 606647"/>
                <a:gd name="connsiteX156" fmla="*/ 514350 w 610362"/>
                <a:gd name="connsiteY156" fmla="*/ 335471 h 606647"/>
                <a:gd name="connsiteX157" fmla="*/ 532162 w 610362"/>
                <a:gd name="connsiteY157" fmla="*/ 318611 h 606647"/>
                <a:gd name="connsiteX158" fmla="*/ 544259 w 610362"/>
                <a:gd name="connsiteY158" fmla="*/ 313373 h 606647"/>
                <a:gd name="connsiteX159" fmla="*/ 563499 w 610362"/>
                <a:gd name="connsiteY159" fmla="*/ 334423 h 606647"/>
                <a:gd name="connsiteX160" fmla="*/ 560451 w 610362"/>
                <a:gd name="connsiteY160" fmla="*/ 338423 h 606647"/>
                <a:gd name="connsiteX161" fmla="*/ 574358 w 610362"/>
                <a:gd name="connsiteY161" fmla="*/ 347472 h 606647"/>
                <a:gd name="connsiteX162" fmla="*/ 585026 w 610362"/>
                <a:gd name="connsiteY162" fmla="*/ 358712 h 606647"/>
                <a:gd name="connsiteX163" fmla="*/ 588359 w 610362"/>
                <a:gd name="connsiteY163" fmla="*/ 356521 h 606647"/>
                <a:gd name="connsiteX164" fmla="*/ 598265 w 610362"/>
                <a:gd name="connsiteY164" fmla="*/ 362426 h 606647"/>
                <a:gd name="connsiteX165" fmla="*/ 610362 w 610362"/>
                <a:gd name="connsiteY165" fmla="*/ 357188 h 606647"/>
                <a:gd name="connsiteX166" fmla="*/ 608743 w 610362"/>
                <a:gd name="connsiteY166" fmla="*/ 371951 h 606647"/>
                <a:gd name="connsiteX167" fmla="*/ 593217 w 610362"/>
                <a:gd name="connsiteY167" fmla="*/ 379476 h 606647"/>
                <a:gd name="connsiteX168" fmla="*/ 580263 w 610362"/>
                <a:gd name="connsiteY168" fmla="*/ 392049 h 606647"/>
                <a:gd name="connsiteX169" fmla="*/ 568643 w 610362"/>
                <a:gd name="connsiteY169" fmla="*/ 400812 h 606647"/>
                <a:gd name="connsiteX170" fmla="*/ 564928 w 610362"/>
                <a:gd name="connsiteY170" fmla="*/ 413957 h 606647"/>
                <a:gd name="connsiteX171" fmla="*/ 543973 w 610362"/>
                <a:gd name="connsiteY171" fmla="*/ 449390 h 606647"/>
                <a:gd name="connsiteX172" fmla="*/ 540544 w 610362"/>
                <a:gd name="connsiteY172" fmla="*/ 464344 h 606647"/>
                <a:gd name="connsiteX173" fmla="*/ 539210 w 610362"/>
                <a:gd name="connsiteY173" fmla="*/ 468154 h 606647"/>
                <a:gd name="connsiteX174" fmla="*/ 529590 w 610362"/>
                <a:gd name="connsiteY174" fmla="*/ 478536 h 606647"/>
                <a:gd name="connsiteX175" fmla="*/ 529114 w 610362"/>
                <a:gd name="connsiteY175" fmla="*/ 502158 h 606647"/>
                <a:gd name="connsiteX176" fmla="*/ 517684 w 610362"/>
                <a:gd name="connsiteY176" fmla="*/ 512731 h 606647"/>
                <a:gd name="connsiteX177" fmla="*/ 504539 w 610362"/>
                <a:gd name="connsiteY177" fmla="*/ 537972 h 606647"/>
                <a:gd name="connsiteX178" fmla="*/ 503396 w 610362"/>
                <a:gd name="connsiteY178" fmla="*/ 570834 h 606647"/>
                <a:gd name="connsiteX179" fmla="*/ 500539 w 610362"/>
                <a:gd name="connsiteY179" fmla="*/ 576644 h 606647"/>
                <a:gd name="connsiteX180" fmla="*/ 499681 w 610362"/>
                <a:gd name="connsiteY180" fmla="*/ 583978 h 606647"/>
                <a:gd name="connsiteX181" fmla="*/ 495014 w 610362"/>
                <a:gd name="connsiteY181" fmla="*/ 590074 h 606647"/>
                <a:gd name="connsiteX182" fmla="*/ 494157 w 610362"/>
                <a:gd name="connsiteY182" fmla="*/ 597408 h 606647"/>
                <a:gd name="connsiteX183" fmla="*/ 487204 w 610362"/>
                <a:gd name="connsiteY183" fmla="*/ 600170 h 606647"/>
                <a:gd name="connsiteX184" fmla="*/ 478917 w 610362"/>
                <a:gd name="connsiteY184" fmla="*/ 606647 h 606647"/>
                <a:gd name="connsiteX185" fmla="*/ 476631 w 610362"/>
                <a:gd name="connsiteY185" fmla="*/ 603313 h 606647"/>
                <a:gd name="connsiteX186" fmla="*/ 467392 w 610362"/>
                <a:gd name="connsiteY186" fmla="*/ 602742 h 606647"/>
                <a:gd name="connsiteX187" fmla="*/ 459581 w 610362"/>
                <a:gd name="connsiteY187" fmla="*/ 598361 h 606647"/>
                <a:gd name="connsiteX188" fmla="*/ 460915 w 610362"/>
                <a:gd name="connsiteY188" fmla="*/ 594551 h 606647"/>
                <a:gd name="connsiteX189" fmla="*/ 466915 w 610362"/>
                <a:gd name="connsiteY189" fmla="*/ 584740 h 606647"/>
                <a:gd name="connsiteX190" fmla="*/ 465963 w 610362"/>
                <a:gd name="connsiteY190" fmla="*/ 577596 h 606647"/>
                <a:gd name="connsiteX191" fmla="*/ 467487 w 610362"/>
                <a:gd name="connsiteY191" fmla="*/ 575596 h 606647"/>
                <a:gd name="connsiteX192" fmla="*/ 467011 w 610362"/>
                <a:gd name="connsiteY192" fmla="*/ 571976 h 606647"/>
                <a:gd name="connsiteX193" fmla="*/ 463201 w 610362"/>
                <a:gd name="connsiteY193" fmla="*/ 570643 h 606647"/>
                <a:gd name="connsiteX194" fmla="*/ 460915 w 610362"/>
                <a:gd name="connsiteY194" fmla="*/ 567404 h 606647"/>
                <a:gd name="connsiteX195" fmla="*/ 462248 w 610362"/>
                <a:gd name="connsiteY195" fmla="*/ 563594 h 606647"/>
                <a:gd name="connsiteX196" fmla="*/ 459296 w 610362"/>
                <a:gd name="connsiteY196" fmla="*/ 554927 h 606647"/>
                <a:gd name="connsiteX197" fmla="*/ 462915 w 610362"/>
                <a:gd name="connsiteY197" fmla="*/ 554355 h 606647"/>
                <a:gd name="connsiteX198" fmla="*/ 462153 w 610362"/>
                <a:gd name="connsiteY198" fmla="*/ 549117 h 606647"/>
                <a:gd name="connsiteX199" fmla="*/ 459391 w 610362"/>
                <a:gd name="connsiteY199" fmla="*/ 542163 h 606647"/>
                <a:gd name="connsiteX200" fmla="*/ 462820 w 610362"/>
                <a:gd name="connsiteY200" fmla="*/ 539877 h 606647"/>
                <a:gd name="connsiteX201" fmla="*/ 458914 w 610362"/>
                <a:gd name="connsiteY201" fmla="*/ 538639 h 606647"/>
                <a:gd name="connsiteX202" fmla="*/ 462344 w 610362"/>
                <a:gd name="connsiteY202" fmla="*/ 536353 h 606647"/>
                <a:gd name="connsiteX203" fmla="*/ 459867 w 610362"/>
                <a:gd name="connsiteY203" fmla="*/ 531209 h 606647"/>
                <a:gd name="connsiteX204" fmla="*/ 450342 w 610362"/>
                <a:gd name="connsiteY204" fmla="*/ 528923 h 606647"/>
                <a:gd name="connsiteX205" fmla="*/ 449675 w 610362"/>
                <a:gd name="connsiteY205" fmla="*/ 523589 h 606647"/>
                <a:gd name="connsiteX206" fmla="*/ 452533 w 610362"/>
                <a:gd name="connsiteY206" fmla="*/ 517684 h 606647"/>
                <a:gd name="connsiteX207" fmla="*/ 452056 w 610362"/>
                <a:gd name="connsiteY207" fmla="*/ 514160 h 606647"/>
                <a:gd name="connsiteX208" fmla="*/ 455676 w 610362"/>
                <a:gd name="connsiteY208" fmla="*/ 513683 h 606647"/>
                <a:gd name="connsiteX209" fmla="*/ 453580 w 610362"/>
                <a:gd name="connsiteY209" fmla="*/ 512159 h 606647"/>
                <a:gd name="connsiteX210" fmla="*/ 457010 w 610362"/>
                <a:gd name="connsiteY210" fmla="*/ 509873 h 606647"/>
                <a:gd name="connsiteX211" fmla="*/ 454914 w 610362"/>
                <a:gd name="connsiteY211" fmla="*/ 508349 h 606647"/>
                <a:gd name="connsiteX212" fmla="*/ 456057 w 610362"/>
                <a:gd name="connsiteY212" fmla="*/ 502730 h 606647"/>
                <a:gd name="connsiteX213" fmla="*/ 453580 w 610362"/>
                <a:gd name="connsiteY213" fmla="*/ 497681 h 606647"/>
                <a:gd name="connsiteX214" fmla="*/ 454628 w 610362"/>
                <a:gd name="connsiteY214" fmla="*/ 492062 h 606647"/>
                <a:gd name="connsiteX215" fmla="*/ 446532 w 610362"/>
                <a:gd name="connsiteY215" fmla="*/ 485870 h 606647"/>
                <a:gd name="connsiteX216" fmla="*/ 449866 w 610362"/>
                <a:gd name="connsiteY216" fmla="*/ 483584 h 606647"/>
                <a:gd name="connsiteX217" fmla="*/ 443770 w 610362"/>
                <a:gd name="connsiteY217" fmla="*/ 479012 h 606647"/>
                <a:gd name="connsiteX218" fmla="*/ 441484 w 610362"/>
                <a:gd name="connsiteY218" fmla="*/ 475679 h 606647"/>
                <a:gd name="connsiteX219" fmla="*/ 444818 w 610362"/>
                <a:gd name="connsiteY219" fmla="*/ 473393 h 606647"/>
                <a:gd name="connsiteX220" fmla="*/ 440817 w 610362"/>
                <a:gd name="connsiteY220" fmla="*/ 470345 h 606647"/>
                <a:gd name="connsiteX221" fmla="*/ 437388 w 610362"/>
                <a:gd name="connsiteY221" fmla="*/ 472630 h 606647"/>
                <a:gd name="connsiteX222" fmla="*/ 426434 w 610362"/>
                <a:gd name="connsiteY222" fmla="*/ 472250 h 606647"/>
                <a:gd name="connsiteX223" fmla="*/ 419862 w 610362"/>
                <a:gd name="connsiteY223" fmla="*/ 464058 h 606647"/>
                <a:gd name="connsiteX224" fmla="*/ 410718 w 610362"/>
                <a:gd name="connsiteY224" fmla="*/ 477965 h 606647"/>
                <a:gd name="connsiteX225" fmla="*/ 385381 w 610362"/>
                <a:gd name="connsiteY225" fmla="*/ 479488 h 606647"/>
                <a:gd name="connsiteX226" fmla="*/ 379000 w 610362"/>
                <a:gd name="connsiteY226" fmla="*/ 473012 h 606647"/>
                <a:gd name="connsiteX227" fmla="*/ 372713 w 610362"/>
                <a:gd name="connsiteY227" fmla="*/ 481108 h 606647"/>
                <a:gd name="connsiteX228" fmla="*/ 359950 w 610362"/>
                <a:gd name="connsiteY228" fmla="*/ 481013 h 606647"/>
                <a:gd name="connsiteX229" fmla="*/ 354330 w 610362"/>
                <a:gd name="connsiteY229" fmla="*/ 479965 h 606647"/>
                <a:gd name="connsiteX230" fmla="*/ 348044 w 610362"/>
                <a:gd name="connsiteY230" fmla="*/ 487966 h 606647"/>
                <a:gd name="connsiteX231" fmla="*/ 347377 w 610362"/>
                <a:gd name="connsiteY231" fmla="*/ 482632 h 606647"/>
                <a:gd name="connsiteX232" fmla="*/ 339471 w 610362"/>
                <a:gd name="connsiteY232" fmla="*/ 478250 h 606647"/>
                <a:gd name="connsiteX233" fmla="*/ 332327 w 610362"/>
                <a:gd name="connsiteY233" fmla="*/ 479203 h 606647"/>
                <a:gd name="connsiteX234" fmla="*/ 328422 w 610362"/>
                <a:gd name="connsiteY234" fmla="*/ 477965 h 606647"/>
                <a:gd name="connsiteX235" fmla="*/ 327184 w 610362"/>
                <a:gd name="connsiteY235" fmla="*/ 481679 h 606647"/>
                <a:gd name="connsiteX236" fmla="*/ 325088 w 610362"/>
                <a:gd name="connsiteY236" fmla="*/ 480155 h 606647"/>
                <a:gd name="connsiteX237" fmla="*/ 314992 w 610362"/>
                <a:gd name="connsiteY237" fmla="*/ 472440 h 606647"/>
                <a:gd name="connsiteX238" fmla="*/ 309848 w 610362"/>
                <a:gd name="connsiteY238" fmla="*/ 474917 h 606647"/>
                <a:gd name="connsiteX239" fmla="*/ 309277 w 610362"/>
                <a:gd name="connsiteY239" fmla="*/ 471392 h 606647"/>
                <a:gd name="connsiteX240" fmla="*/ 305562 w 610362"/>
                <a:gd name="connsiteY240" fmla="*/ 470059 h 606647"/>
                <a:gd name="connsiteX241" fmla="*/ 304610 w 610362"/>
                <a:gd name="connsiteY241" fmla="*/ 462915 h 606647"/>
                <a:gd name="connsiteX242" fmla="*/ 299752 w 610362"/>
                <a:gd name="connsiteY242" fmla="*/ 454533 h 606647"/>
                <a:gd name="connsiteX243" fmla="*/ 289274 w 610362"/>
                <a:gd name="connsiteY243" fmla="*/ 457771 h 606647"/>
                <a:gd name="connsiteX244" fmla="*/ 288798 w 610362"/>
                <a:gd name="connsiteY244" fmla="*/ 454152 h 606647"/>
                <a:gd name="connsiteX245" fmla="*/ 286798 w 610362"/>
                <a:gd name="connsiteY245" fmla="*/ 452628 h 606647"/>
                <a:gd name="connsiteX246" fmla="*/ 283178 w 610362"/>
                <a:gd name="connsiteY246" fmla="*/ 453104 h 606647"/>
                <a:gd name="connsiteX247" fmla="*/ 281083 w 610362"/>
                <a:gd name="connsiteY247" fmla="*/ 451580 h 606647"/>
                <a:gd name="connsiteX248" fmla="*/ 284512 w 610362"/>
                <a:gd name="connsiteY248" fmla="*/ 449294 h 606647"/>
                <a:gd name="connsiteX249" fmla="*/ 280892 w 610362"/>
                <a:gd name="connsiteY249" fmla="*/ 449771 h 606647"/>
                <a:gd name="connsiteX250" fmla="*/ 278606 w 610362"/>
                <a:gd name="connsiteY250" fmla="*/ 446437 h 606647"/>
                <a:gd name="connsiteX251" fmla="*/ 271463 w 610362"/>
                <a:gd name="connsiteY251" fmla="*/ 447389 h 606647"/>
                <a:gd name="connsiteX252" fmla="*/ 262414 w 610362"/>
                <a:gd name="connsiteY252" fmla="*/ 448628 h 606647"/>
                <a:gd name="connsiteX253" fmla="*/ 260890 w 610362"/>
                <a:gd name="connsiteY253" fmla="*/ 450628 h 606647"/>
                <a:gd name="connsiteX254" fmla="*/ 257080 w 610362"/>
                <a:gd name="connsiteY254" fmla="*/ 449294 h 606647"/>
                <a:gd name="connsiteX255" fmla="*/ 245650 w 610362"/>
                <a:gd name="connsiteY255" fmla="*/ 459867 h 606647"/>
                <a:gd name="connsiteX256" fmla="*/ 242316 w 610362"/>
                <a:gd name="connsiteY256" fmla="*/ 462153 h 606647"/>
                <a:gd name="connsiteX257" fmla="*/ 237554 w 610362"/>
                <a:gd name="connsiteY257" fmla="*/ 453676 h 606647"/>
                <a:gd name="connsiteX258" fmla="*/ 232791 w 610362"/>
                <a:gd name="connsiteY258" fmla="*/ 445294 h 606647"/>
                <a:gd name="connsiteX259" fmla="*/ 233839 w 610362"/>
                <a:gd name="connsiteY259" fmla="*/ 439674 h 606647"/>
                <a:gd name="connsiteX260" fmla="*/ 238315 w 610362"/>
                <a:gd name="connsiteY260" fmla="*/ 431863 h 606647"/>
                <a:gd name="connsiteX261" fmla="*/ 236887 w 610362"/>
                <a:gd name="connsiteY261" fmla="*/ 421100 h 606647"/>
                <a:gd name="connsiteX262" fmla="*/ 234505 w 610362"/>
                <a:gd name="connsiteY262" fmla="*/ 403384 h 606647"/>
                <a:gd name="connsiteX263" fmla="*/ 224600 w 610362"/>
                <a:gd name="connsiteY263" fmla="*/ 397383 h 606647"/>
                <a:gd name="connsiteX264" fmla="*/ 219837 w 610362"/>
                <a:gd name="connsiteY264" fmla="*/ 389001 h 606647"/>
                <a:gd name="connsiteX265" fmla="*/ 211931 w 610362"/>
                <a:gd name="connsiteY265" fmla="*/ 384524 h 606647"/>
                <a:gd name="connsiteX266" fmla="*/ 204502 w 610362"/>
                <a:gd name="connsiteY266" fmla="*/ 383762 h 606647"/>
                <a:gd name="connsiteX267" fmla="*/ 204311 w 610362"/>
                <a:gd name="connsiteY267" fmla="*/ 381953 h 606647"/>
                <a:gd name="connsiteX268" fmla="*/ 195548 w 610362"/>
                <a:gd name="connsiteY268" fmla="*/ 384905 h 606647"/>
                <a:gd name="connsiteX269" fmla="*/ 192691 w 610362"/>
                <a:gd name="connsiteY269" fmla="*/ 390716 h 606647"/>
                <a:gd name="connsiteX270" fmla="*/ 190881 w 610362"/>
                <a:gd name="connsiteY270" fmla="*/ 391001 h 606647"/>
                <a:gd name="connsiteX271" fmla="*/ 179642 w 610362"/>
                <a:gd name="connsiteY271" fmla="*/ 388811 h 606647"/>
                <a:gd name="connsiteX272" fmla="*/ 172688 w 610362"/>
                <a:gd name="connsiteY272" fmla="*/ 391573 h 606647"/>
                <a:gd name="connsiteX273" fmla="*/ 157829 w 610362"/>
                <a:gd name="connsiteY273" fmla="*/ 389954 h 606647"/>
                <a:gd name="connsiteX274" fmla="*/ 158687 w 610362"/>
                <a:gd name="connsiteY274" fmla="*/ 382524 h 606647"/>
                <a:gd name="connsiteX275" fmla="*/ 146971 w 610362"/>
                <a:gd name="connsiteY275" fmla="*/ 376809 h 606647"/>
                <a:gd name="connsiteX276" fmla="*/ 133731 w 610362"/>
                <a:gd name="connsiteY276" fmla="*/ 373190 h 606647"/>
                <a:gd name="connsiteX277" fmla="*/ 125349 w 610362"/>
                <a:gd name="connsiteY277" fmla="*/ 365188 h 606647"/>
                <a:gd name="connsiteX278" fmla="*/ 122777 w 610362"/>
                <a:gd name="connsiteY278" fmla="*/ 360140 h 606647"/>
                <a:gd name="connsiteX279" fmla="*/ 108299 w 610362"/>
                <a:gd name="connsiteY279" fmla="*/ 347472 h 606647"/>
                <a:gd name="connsiteX280" fmla="*/ 101918 w 610362"/>
                <a:gd name="connsiteY280" fmla="*/ 353759 h 606647"/>
                <a:gd name="connsiteX281" fmla="*/ 96107 w 610362"/>
                <a:gd name="connsiteY281" fmla="*/ 365474 h 606647"/>
                <a:gd name="connsiteX282" fmla="*/ 89345 w 610362"/>
                <a:gd name="connsiteY282" fmla="*/ 369951 h 606647"/>
                <a:gd name="connsiteX283" fmla="*/ 86678 w 610362"/>
                <a:gd name="connsiteY283" fmla="*/ 363093 h 606647"/>
                <a:gd name="connsiteX284" fmla="*/ 72295 w 610362"/>
                <a:gd name="connsiteY284" fmla="*/ 364998 h 606647"/>
                <a:gd name="connsiteX285" fmla="*/ 54102 w 610362"/>
                <a:gd name="connsiteY285" fmla="*/ 365570 h 606647"/>
                <a:gd name="connsiteX286" fmla="*/ 39910 w 610362"/>
                <a:gd name="connsiteY286" fmla="*/ 354711 h 606647"/>
                <a:gd name="connsiteX287" fmla="*/ 35528 w 610362"/>
                <a:gd name="connsiteY287" fmla="*/ 349853 h 606647"/>
                <a:gd name="connsiteX288" fmla="*/ 23813 w 610362"/>
                <a:gd name="connsiteY288" fmla="*/ 344138 h 606647"/>
                <a:gd name="connsiteX289" fmla="*/ 6953 w 610362"/>
                <a:gd name="connsiteY289" fmla="*/ 340995 h 606647"/>
                <a:gd name="connsiteX290" fmla="*/ 6477 w 610362"/>
                <a:gd name="connsiteY290" fmla="*/ 337376 h 606647"/>
                <a:gd name="connsiteX291" fmla="*/ 9144 w 610362"/>
                <a:gd name="connsiteY291" fmla="*/ 329755 h 606647"/>
                <a:gd name="connsiteX292" fmla="*/ 9811 w 610362"/>
                <a:gd name="connsiteY292" fmla="*/ 320612 h 606647"/>
                <a:gd name="connsiteX293" fmla="*/ 4096 w 610362"/>
                <a:gd name="connsiteY293" fmla="*/ 305086 h 606647"/>
                <a:gd name="connsiteX294" fmla="*/ 0 w 610362"/>
                <a:gd name="connsiteY294" fmla="*/ 302038 h 606647"/>
                <a:gd name="connsiteX295" fmla="*/ 3143 w 610362"/>
                <a:gd name="connsiteY295" fmla="*/ 297942 h 606647"/>
                <a:gd name="connsiteX296" fmla="*/ 10478 w 610362"/>
                <a:gd name="connsiteY296" fmla="*/ 284321 h 606647"/>
                <a:gd name="connsiteX297" fmla="*/ 7906 w 610362"/>
                <a:gd name="connsiteY297" fmla="*/ 279178 h 606647"/>
                <a:gd name="connsiteX298" fmla="*/ 11716 w 610362"/>
                <a:gd name="connsiteY298" fmla="*/ 280511 h 606647"/>
                <a:gd name="connsiteX299" fmla="*/ 17050 w 610362"/>
                <a:gd name="connsiteY299" fmla="*/ 265271 h 606647"/>
                <a:gd name="connsiteX300" fmla="*/ 10954 w 610362"/>
                <a:gd name="connsiteY300" fmla="*/ 260699 h 606647"/>
                <a:gd name="connsiteX301" fmla="*/ 19812 w 610362"/>
                <a:gd name="connsiteY301" fmla="*/ 244983 h 606647"/>
                <a:gd name="connsiteX302" fmla="*/ 25813 w 610362"/>
                <a:gd name="connsiteY302" fmla="*/ 235172 h 606647"/>
                <a:gd name="connsiteX303" fmla="*/ 48006 w 610362"/>
                <a:gd name="connsiteY303" fmla="*/ 223171 h 606647"/>
                <a:gd name="connsiteX304" fmla="*/ 46768 w 610362"/>
                <a:gd name="connsiteY304" fmla="*/ 199739 h 606647"/>
                <a:gd name="connsiteX305" fmla="*/ 40672 w 610362"/>
                <a:gd name="connsiteY305" fmla="*/ 195072 h 606647"/>
                <a:gd name="connsiteX306" fmla="*/ 36386 w 610362"/>
                <a:gd name="connsiteY306" fmla="*/ 190214 h 606647"/>
                <a:gd name="connsiteX307" fmla="*/ 13621 w 610362"/>
                <a:gd name="connsiteY307" fmla="*/ 184213 h 606647"/>
                <a:gd name="connsiteX308" fmla="*/ 17336 w 610362"/>
                <a:gd name="connsiteY308" fmla="*/ 170974 h 606647"/>
                <a:gd name="connsiteX309" fmla="*/ 24955 w 610362"/>
                <a:gd name="connsiteY309" fmla="*/ 159068 h 606647"/>
                <a:gd name="connsiteX310" fmla="*/ 31052 w 610362"/>
                <a:gd name="connsiteY310" fmla="*/ 163735 h 606647"/>
                <a:gd name="connsiteX311" fmla="*/ 40196 w 610362"/>
                <a:gd name="connsiteY311" fmla="*/ 149828 h 606647"/>
                <a:gd name="connsiteX312" fmla="*/ 30766 w 610362"/>
                <a:gd name="connsiteY312" fmla="*/ 147447 h 606647"/>
                <a:gd name="connsiteX313" fmla="*/ 27718 w 610362"/>
                <a:gd name="connsiteY313" fmla="*/ 138779 h 606647"/>
                <a:gd name="connsiteX314" fmla="*/ 40291 w 610362"/>
                <a:gd name="connsiteY314" fmla="*/ 137160 h 606647"/>
                <a:gd name="connsiteX315" fmla="*/ 39814 w 610362"/>
                <a:gd name="connsiteY315" fmla="*/ 133541 h 606647"/>
                <a:gd name="connsiteX316" fmla="*/ 44958 w 610362"/>
                <a:gd name="connsiteY316" fmla="*/ 131064 h 606647"/>
                <a:gd name="connsiteX317" fmla="*/ 50959 w 610362"/>
                <a:gd name="connsiteY317" fmla="*/ 121253 h 606647"/>
                <a:gd name="connsiteX318" fmla="*/ 43148 w 610362"/>
                <a:gd name="connsiteY318" fmla="*/ 116777 h 606647"/>
                <a:gd name="connsiteX319" fmla="*/ 46006 w 610362"/>
                <a:gd name="connsiteY319" fmla="*/ 110966 h 606647"/>
                <a:gd name="connsiteX320" fmla="*/ 32195 w 610362"/>
                <a:gd name="connsiteY320" fmla="*/ 103727 h 606647"/>
                <a:gd name="connsiteX321" fmla="*/ 40291 w 610362"/>
                <a:gd name="connsiteY321" fmla="*/ 95441 h 60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</a:cxnLst>
              <a:rect l="l" t="t" r="r" b="b"/>
              <a:pathLst>
                <a:path w="610362" h="606647">
                  <a:moveTo>
                    <a:pt x="40291" y="95441"/>
                  </a:moveTo>
                  <a:lnTo>
                    <a:pt x="54864" y="95345"/>
                  </a:lnTo>
                  <a:lnTo>
                    <a:pt x="79820" y="90202"/>
                  </a:lnTo>
                  <a:lnTo>
                    <a:pt x="89630" y="81629"/>
                  </a:lnTo>
                  <a:lnTo>
                    <a:pt x="87630" y="80105"/>
                  </a:lnTo>
                  <a:lnTo>
                    <a:pt x="99917" y="76676"/>
                  </a:lnTo>
                  <a:lnTo>
                    <a:pt x="113062" y="65818"/>
                  </a:lnTo>
                  <a:lnTo>
                    <a:pt x="117158" y="68961"/>
                  </a:lnTo>
                  <a:lnTo>
                    <a:pt x="118301" y="63341"/>
                  </a:lnTo>
                  <a:lnTo>
                    <a:pt x="125921" y="66008"/>
                  </a:lnTo>
                  <a:lnTo>
                    <a:pt x="124873" y="71533"/>
                  </a:lnTo>
                  <a:lnTo>
                    <a:pt x="126873" y="73057"/>
                  </a:lnTo>
                  <a:lnTo>
                    <a:pt x="124015" y="78867"/>
                  </a:lnTo>
                  <a:lnTo>
                    <a:pt x="122872" y="84487"/>
                  </a:lnTo>
                  <a:lnTo>
                    <a:pt x="128111" y="96488"/>
                  </a:lnTo>
                  <a:lnTo>
                    <a:pt x="122968" y="98965"/>
                  </a:lnTo>
                  <a:lnTo>
                    <a:pt x="125730" y="105918"/>
                  </a:lnTo>
                  <a:lnTo>
                    <a:pt x="145256" y="101537"/>
                  </a:lnTo>
                  <a:lnTo>
                    <a:pt x="152400" y="100489"/>
                  </a:lnTo>
                  <a:lnTo>
                    <a:pt x="162878" y="110014"/>
                  </a:lnTo>
                  <a:lnTo>
                    <a:pt x="166402" y="109538"/>
                  </a:lnTo>
                  <a:lnTo>
                    <a:pt x="167164" y="114871"/>
                  </a:lnTo>
                  <a:lnTo>
                    <a:pt x="180213" y="116777"/>
                  </a:lnTo>
                  <a:lnTo>
                    <a:pt x="193929" y="124016"/>
                  </a:lnTo>
                  <a:lnTo>
                    <a:pt x="195263" y="120205"/>
                  </a:lnTo>
                  <a:lnTo>
                    <a:pt x="196787" y="118205"/>
                  </a:lnTo>
                  <a:lnTo>
                    <a:pt x="198120" y="114395"/>
                  </a:lnTo>
                  <a:lnTo>
                    <a:pt x="203740" y="115538"/>
                  </a:lnTo>
                  <a:lnTo>
                    <a:pt x="207073" y="113252"/>
                  </a:lnTo>
                  <a:lnTo>
                    <a:pt x="210503" y="110966"/>
                  </a:lnTo>
                  <a:lnTo>
                    <a:pt x="205169" y="98965"/>
                  </a:lnTo>
                  <a:lnTo>
                    <a:pt x="206597" y="95155"/>
                  </a:lnTo>
                  <a:lnTo>
                    <a:pt x="208597" y="96679"/>
                  </a:lnTo>
                  <a:lnTo>
                    <a:pt x="209455" y="89345"/>
                  </a:lnTo>
                  <a:lnTo>
                    <a:pt x="212788" y="87154"/>
                  </a:lnTo>
                  <a:lnTo>
                    <a:pt x="212312" y="83534"/>
                  </a:lnTo>
                  <a:lnTo>
                    <a:pt x="214122" y="83344"/>
                  </a:lnTo>
                  <a:lnTo>
                    <a:pt x="217456" y="81058"/>
                  </a:lnTo>
                  <a:lnTo>
                    <a:pt x="219742" y="84392"/>
                  </a:lnTo>
                  <a:lnTo>
                    <a:pt x="223076" y="82105"/>
                  </a:lnTo>
                  <a:lnTo>
                    <a:pt x="222409" y="76771"/>
                  </a:lnTo>
                  <a:lnTo>
                    <a:pt x="232220" y="68199"/>
                  </a:lnTo>
                  <a:lnTo>
                    <a:pt x="233077" y="60865"/>
                  </a:lnTo>
                  <a:lnTo>
                    <a:pt x="243364" y="55912"/>
                  </a:lnTo>
                  <a:lnTo>
                    <a:pt x="246317" y="50102"/>
                  </a:lnTo>
                  <a:lnTo>
                    <a:pt x="241935" y="45149"/>
                  </a:lnTo>
                  <a:lnTo>
                    <a:pt x="241745" y="43434"/>
                  </a:lnTo>
                  <a:lnTo>
                    <a:pt x="246888" y="40862"/>
                  </a:lnTo>
                  <a:lnTo>
                    <a:pt x="250984" y="44005"/>
                  </a:lnTo>
                  <a:lnTo>
                    <a:pt x="263652" y="29623"/>
                  </a:lnTo>
                  <a:lnTo>
                    <a:pt x="268414" y="38005"/>
                  </a:lnTo>
                  <a:lnTo>
                    <a:pt x="270034" y="36004"/>
                  </a:lnTo>
                  <a:lnTo>
                    <a:pt x="286036" y="46577"/>
                  </a:lnTo>
                  <a:lnTo>
                    <a:pt x="299752" y="53816"/>
                  </a:lnTo>
                  <a:lnTo>
                    <a:pt x="316992" y="46101"/>
                  </a:lnTo>
                  <a:lnTo>
                    <a:pt x="320612" y="45625"/>
                  </a:lnTo>
                  <a:lnTo>
                    <a:pt x="322897" y="48959"/>
                  </a:lnTo>
                  <a:lnTo>
                    <a:pt x="326231" y="46673"/>
                  </a:lnTo>
                  <a:lnTo>
                    <a:pt x="329375" y="42672"/>
                  </a:lnTo>
                  <a:lnTo>
                    <a:pt x="331184" y="42482"/>
                  </a:lnTo>
                  <a:lnTo>
                    <a:pt x="330898" y="40672"/>
                  </a:lnTo>
                  <a:lnTo>
                    <a:pt x="331756" y="33338"/>
                  </a:lnTo>
                  <a:lnTo>
                    <a:pt x="336899" y="30766"/>
                  </a:lnTo>
                  <a:lnTo>
                    <a:pt x="338614" y="16097"/>
                  </a:lnTo>
                  <a:lnTo>
                    <a:pt x="344234" y="17145"/>
                  </a:lnTo>
                  <a:lnTo>
                    <a:pt x="348805" y="23813"/>
                  </a:lnTo>
                  <a:lnTo>
                    <a:pt x="360712" y="31242"/>
                  </a:lnTo>
                  <a:lnTo>
                    <a:pt x="371570" y="29813"/>
                  </a:lnTo>
                  <a:lnTo>
                    <a:pt x="386334" y="17050"/>
                  </a:lnTo>
                  <a:lnTo>
                    <a:pt x="393954" y="19621"/>
                  </a:lnTo>
                  <a:lnTo>
                    <a:pt x="393478" y="16097"/>
                  </a:lnTo>
                  <a:lnTo>
                    <a:pt x="400907" y="16859"/>
                  </a:lnTo>
                  <a:lnTo>
                    <a:pt x="400621" y="15145"/>
                  </a:lnTo>
                  <a:lnTo>
                    <a:pt x="404431" y="16383"/>
                  </a:lnTo>
                  <a:lnTo>
                    <a:pt x="404241" y="14669"/>
                  </a:lnTo>
                  <a:lnTo>
                    <a:pt x="407861" y="14192"/>
                  </a:lnTo>
                  <a:lnTo>
                    <a:pt x="407098" y="8763"/>
                  </a:lnTo>
                  <a:lnTo>
                    <a:pt x="412052" y="4572"/>
                  </a:lnTo>
                  <a:lnTo>
                    <a:pt x="418719" y="0"/>
                  </a:lnTo>
                  <a:lnTo>
                    <a:pt x="426148" y="857"/>
                  </a:lnTo>
                  <a:lnTo>
                    <a:pt x="425291" y="8192"/>
                  </a:lnTo>
                  <a:lnTo>
                    <a:pt x="426530" y="17145"/>
                  </a:lnTo>
                  <a:lnTo>
                    <a:pt x="431006" y="23813"/>
                  </a:lnTo>
                  <a:lnTo>
                    <a:pt x="431006" y="23813"/>
                  </a:lnTo>
                  <a:lnTo>
                    <a:pt x="431292" y="25622"/>
                  </a:lnTo>
                  <a:lnTo>
                    <a:pt x="429482" y="25813"/>
                  </a:lnTo>
                  <a:lnTo>
                    <a:pt x="423863" y="24765"/>
                  </a:lnTo>
                  <a:lnTo>
                    <a:pt x="421481" y="34100"/>
                  </a:lnTo>
                  <a:lnTo>
                    <a:pt x="423672" y="37433"/>
                  </a:lnTo>
                  <a:lnTo>
                    <a:pt x="428435" y="45911"/>
                  </a:lnTo>
                  <a:lnTo>
                    <a:pt x="428149" y="56769"/>
                  </a:lnTo>
                  <a:lnTo>
                    <a:pt x="436245" y="62960"/>
                  </a:lnTo>
                  <a:lnTo>
                    <a:pt x="439007" y="69818"/>
                  </a:lnTo>
                  <a:lnTo>
                    <a:pt x="429101" y="78391"/>
                  </a:lnTo>
                  <a:lnTo>
                    <a:pt x="432149" y="87059"/>
                  </a:lnTo>
                  <a:lnTo>
                    <a:pt x="443960" y="80105"/>
                  </a:lnTo>
                  <a:lnTo>
                    <a:pt x="455486" y="84011"/>
                  </a:lnTo>
                  <a:lnTo>
                    <a:pt x="457771" y="87344"/>
                  </a:lnTo>
                  <a:lnTo>
                    <a:pt x="456438" y="91154"/>
                  </a:lnTo>
                  <a:lnTo>
                    <a:pt x="468821" y="102203"/>
                  </a:lnTo>
                  <a:lnTo>
                    <a:pt x="465677" y="106204"/>
                  </a:lnTo>
                  <a:lnTo>
                    <a:pt x="470059" y="111062"/>
                  </a:lnTo>
                  <a:lnTo>
                    <a:pt x="465296" y="117158"/>
                  </a:lnTo>
                  <a:lnTo>
                    <a:pt x="461772" y="117634"/>
                  </a:lnTo>
                  <a:lnTo>
                    <a:pt x="464439" y="124492"/>
                  </a:lnTo>
                  <a:lnTo>
                    <a:pt x="462915" y="126492"/>
                  </a:lnTo>
                  <a:lnTo>
                    <a:pt x="465392" y="131636"/>
                  </a:lnTo>
                  <a:lnTo>
                    <a:pt x="462344" y="135636"/>
                  </a:lnTo>
                  <a:lnTo>
                    <a:pt x="465296" y="144304"/>
                  </a:lnTo>
                  <a:lnTo>
                    <a:pt x="455390" y="152876"/>
                  </a:lnTo>
                  <a:lnTo>
                    <a:pt x="454533" y="160306"/>
                  </a:lnTo>
                  <a:lnTo>
                    <a:pt x="452342" y="156972"/>
                  </a:lnTo>
                  <a:lnTo>
                    <a:pt x="449675" y="164497"/>
                  </a:lnTo>
                  <a:lnTo>
                    <a:pt x="462725" y="166497"/>
                  </a:lnTo>
                  <a:lnTo>
                    <a:pt x="463201" y="170021"/>
                  </a:lnTo>
                  <a:lnTo>
                    <a:pt x="460248" y="175832"/>
                  </a:lnTo>
                  <a:lnTo>
                    <a:pt x="471106" y="174403"/>
                  </a:lnTo>
                  <a:lnTo>
                    <a:pt x="475107" y="177451"/>
                  </a:lnTo>
                  <a:lnTo>
                    <a:pt x="478536" y="175260"/>
                  </a:lnTo>
                  <a:lnTo>
                    <a:pt x="482346" y="176498"/>
                  </a:lnTo>
                  <a:lnTo>
                    <a:pt x="479203" y="180594"/>
                  </a:lnTo>
                  <a:lnTo>
                    <a:pt x="479203" y="180594"/>
                  </a:lnTo>
                  <a:lnTo>
                    <a:pt x="475583" y="181070"/>
                  </a:lnTo>
                  <a:lnTo>
                    <a:pt x="473773" y="181261"/>
                  </a:lnTo>
                  <a:lnTo>
                    <a:pt x="470440" y="183547"/>
                  </a:lnTo>
                  <a:lnTo>
                    <a:pt x="470726" y="185357"/>
                  </a:lnTo>
                  <a:lnTo>
                    <a:pt x="472535" y="185071"/>
                  </a:lnTo>
                  <a:lnTo>
                    <a:pt x="474059" y="183071"/>
                  </a:lnTo>
                  <a:lnTo>
                    <a:pt x="477869" y="184404"/>
                  </a:lnTo>
                  <a:lnTo>
                    <a:pt x="478346" y="187928"/>
                  </a:lnTo>
                  <a:lnTo>
                    <a:pt x="473202" y="190405"/>
                  </a:lnTo>
                  <a:lnTo>
                    <a:pt x="461010" y="181166"/>
                  </a:lnTo>
                  <a:lnTo>
                    <a:pt x="457867" y="185261"/>
                  </a:lnTo>
                  <a:lnTo>
                    <a:pt x="444818" y="183356"/>
                  </a:lnTo>
                  <a:lnTo>
                    <a:pt x="433483" y="193929"/>
                  </a:lnTo>
                  <a:lnTo>
                    <a:pt x="446532" y="210312"/>
                  </a:lnTo>
                  <a:lnTo>
                    <a:pt x="443484" y="214313"/>
                  </a:lnTo>
                  <a:lnTo>
                    <a:pt x="436531" y="217075"/>
                  </a:lnTo>
                  <a:lnTo>
                    <a:pt x="441008" y="223742"/>
                  </a:lnTo>
                  <a:lnTo>
                    <a:pt x="444627" y="223266"/>
                  </a:lnTo>
                  <a:lnTo>
                    <a:pt x="445103" y="226790"/>
                  </a:lnTo>
                  <a:lnTo>
                    <a:pt x="443579" y="228791"/>
                  </a:lnTo>
                  <a:lnTo>
                    <a:pt x="446056" y="233934"/>
                  </a:lnTo>
                  <a:lnTo>
                    <a:pt x="446151" y="248412"/>
                  </a:lnTo>
                  <a:lnTo>
                    <a:pt x="442817" y="250698"/>
                  </a:lnTo>
                  <a:lnTo>
                    <a:pt x="439864" y="256508"/>
                  </a:lnTo>
                  <a:lnTo>
                    <a:pt x="443770" y="257842"/>
                  </a:lnTo>
                  <a:lnTo>
                    <a:pt x="454343" y="269081"/>
                  </a:lnTo>
                  <a:lnTo>
                    <a:pt x="467868" y="274511"/>
                  </a:lnTo>
                  <a:lnTo>
                    <a:pt x="474250" y="280988"/>
                  </a:lnTo>
                  <a:lnTo>
                    <a:pt x="476726" y="286036"/>
                  </a:lnTo>
                  <a:lnTo>
                    <a:pt x="481298" y="292703"/>
                  </a:lnTo>
                  <a:lnTo>
                    <a:pt x="484442" y="303181"/>
                  </a:lnTo>
                  <a:lnTo>
                    <a:pt x="486156" y="330137"/>
                  </a:lnTo>
                  <a:lnTo>
                    <a:pt x="497205" y="330518"/>
                  </a:lnTo>
                  <a:lnTo>
                    <a:pt x="510921" y="337757"/>
                  </a:lnTo>
                  <a:lnTo>
                    <a:pt x="514350" y="335471"/>
                  </a:lnTo>
                  <a:lnTo>
                    <a:pt x="532162" y="318611"/>
                  </a:lnTo>
                  <a:lnTo>
                    <a:pt x="544259" y="313373"/>
                  </a:lnTo>
                  <a:lnTo>
                    <a:pt x="563499" y="334423"/>
                  </a:lnTo>
                  <a:lnTo>
                    <a:pt x="560451" y="338423"/>
                  </a:lnTo>
                  <a:lnTo>
                    <a:pt x="574358" y="347472"/>
                  </a:lnTo>
                  <a:lnTo>
                    <a:pt x="585026" y="358712"/>
                  </a:lnTo>
                  <a:lnTo>
                    <a:pt x="588359" y="356521"/>
                  </a:lnTo>
                  <a:lnTo>
                    <a:pt x="598265" y="362426"/>
                  </a:lnTo>
                  <a:lnTo>
                    <a:pt x="610362" y="357188"/>
                  </a:lnTo>
                  <a:lnTo>
                    <a:pt x="608743" y="371951"/>
                  </a:lnTo>
                  <a:lnTo>
                    <a:pt x="593217" y="379476"/>
                  </a:lnTo>
                  <a:lnTo>
                    <a:pt x="580263" y="392049"/>
                  </a:lnTo>
                  <a:lnTo>
                    <a:pt x="568643" y="400812"/>
                  </a:lnTo>
                  <a:lnTo>
                    <a:pt x="564928" y="413957"/>
                  </a:lnTo>
                  <a:lnTo>
                    <a:pt x="543973" y="449390"/>
                  </a:lnTo>
                  <a:lnTo>
                    <a:pt x="540544" y="464344"/>
                  </a:lnTo>
                  <a:lnTo>
                    <a:pt x="539210" y="468154"/>
                  </a:lnTo>
                  <a:lnTo>
                    <a:pt x="529590" y="478536"/>
                  </a:lnTo>
                  <a:lnTo>
                    <a:pt x="529114" y="502158"/>
                  </a:lnTo>
                  <a:lnTo>
                    <a:pt x="517684" y="512731"/>
                  </a:lnTo>
                  <a:lnTo>
                    <a:pt x="504539" y="537972"/>
                  </a:lnTo>
                  <a:lnTo>
                    <a:pt x="503396" y="570834"/>
                  </a:lnTo>
                  <a:lnTo>
                    <a:pt x="500539" y="576644"/>
                  </a:lnTo>
                  <a:lnTo>
                    <a:pt x="499681" y="583978"/>
                  </a:lnTo>
                  <a:lnTo>
                    <a:pt x="495014" y="590074"/>
                  </a:lnTo>
                  <a:lnTo>
                    <a:pt x="494157" y="597408"/>
                  </a:lnTo>
                  <a:lnTo>
                    <a:pt x="487204" y="600170"/>
                  </a:lnTo>
                  <a:lnTo>
                    <a:pt x="478917" y="606647"/>
                  </a:lnTo>
                  <a:lnTo>
                    <a:pt x="476631" y="603313"/>
                  </a:lnTo>
                  <a:lnTo>
                    <a:pt x="467392" y="602742"/>
                  </a:lnTo>
                  <a:lnTo>
                    <a:pt x="459581" y="598361"/>
                  </a:lnTo>
                  <a:lnTo>
                    <a:pt x="460915" y="594551"/>
                  </a:lnTo>
                  <a:lnTo>
                    <a:pt x="466915" y="584740"/>
                  </a:lnTo>
                  <a:lnTo>
                    <a:pt x="465963" y="577596"/>
                  </a:lnTo>
                  <a:lnTo>
                    <a:pt x="467487" y="575596"/>
                  </a:lnTo>
                  <a:lnTo>
                    <a:pt x="467011" y="571976"/>
                  </a:lnTo>
                  <a:lnTo>
                    <a:pt x="463201" y="570643"/>
                  </a:lnTo>
                  <a:lnTo>
                    <a:pt x="460915" y="567404"/>
                  </a:lnTo>
                  <a:lnTo>
                    <a:pt x="462248" y="563594"/>
                  </a:lnTo>
                  <a:lnTo>
                    <a:pt x="459296" y="554927"/>
                  </a:lnTo>
                  <a:lnTo>
                    <a:pt x="462915" y="554355"/>
                  </a:lnTo>
                  <a:lnTo>
                    <a:pt x="462153" y="549117"/>
                  </a:lnTo>
                  <a:lnTo>
                    <a:pt x="459391" y="542163"/>
                  </a:lnTo>
                  <a:lnTo>
                    <a:pt x="462820" y="539877"/>
                  </a:lnTo>
                  <a:lnTo>
                    <a:pt x="458914" y="538639"/>
                  </a:lnTo>
                  <a:lnTo>
                    <a:pt x="462344" y="536353"/>
                  </a:lnTo>
                  <a:lnTo>
                    <a:pt x="459867" y="531209"/>
                  </a:lnTo>
                  <a:lnTo>
                    <a:pt x="450342" y="528923"/>
                  </a:lnTo>
                  <a:lnTo>
                    <a:pt x="449675" y="523589"/>
                  </a:lnTo>
                  <a:lnTo>
                    <a:pt x="452533" y="517684"/>
                  </a:lnTo>
                  <a:lnTo>
                    <a:pt x="452056" y="514160"/>
                  </a:lnTo>
                  <a:lnTo>
                    <a:pt x="455676" y="513683"/>
                  </a:lnTo>
                  <a:lnTo>
                    <a:pt x="453580" y="512159"/>
                  </a:lnTo>
                  <a:lnTo>
                    <a:pt x="457010" y="509873"/>
                  </a:lnTo>
                  <a:lnTo>
                    <a:pt x="454914" y="508349"/>
                  </a:lnTo>
                  <a:lnTo>
                    <a:pt x="456057" y="502730"/>
                  </a:lnTo>
                  <a:lnTo>
                    <a:pt x="453580" y="497681"/>
                  </a:lnTo>
                  <a:lnTo>
                    <a:pt x="454628" y="492062"/>
                  </a:lnTo>
                  <a:lnTo>
                    <a:pt x="446532" y="485870"/>
                  </a:lnTo>
                  <a:lnTo>
                    <a:pt x="449866" y="483584"/>
                  </a:lnTo>
                  <a:lnTo>
                    <a:pt x="443770" y="479012"/>
                  </a:lnTo>
                  <a:lnTo>
                    <a:pt x="441484" y="475679"/>
                  </a:lnTo>
                  <a:lnTo>
                    <a:pt x="444818" y="473393"/>
                  </a:lnTo>
                  <a:lnTo>
                    <a:pt x="440817" y="470345"/>
                  </a:lnTo>
                  <a:lnTo>
                    <a:pt x="437388" y="472630"/>
                  </a:lnTo>
                  <a:lnTo>
                    <a:pt x="426434" y="472250"/>
                  </a:lnTo>
                  <a:lnTo>
                    <a:pt x="419862" y="464058"/>
                  </a:lnTo>
                  <a:lnTo>
                    <a:pt x="410718" y="477965"/>
                  </a:lnTo>
                  <a:lnTo>
                    <a:pt x="385381" y="479488"/>
                  </a:lnTo>
                  <a:lnTo>
                    <a:pt x="379000" y="473012"/>
                  </a:lnTo>
                  <a:lnTo>
                    <a:pt x="372713" y="481108"/>
                  </a:lnTo>
                  <a:lnTo>
                    <a:pt x="359950" y="481013"/>
                  </a:lnTo>
                  <a:lnTo>
                    <a:pt x="354330" y="479965"/>
                  </a:lnTo>
                  <a:lnTo>
                    <a:pt x="348044" y="487966"/>
                  </a:lnTo>
                  <a:lnTo>
                    <a:pt x="347377" y="482632"/>
                  </a:lnTo>
                  <a:lnTo>
                    <a:pt x="339471" y="478250"/>
                  </a:lnTo>
                  <a:lnTo>
                    <a:pt x="332327" y="479203"/>
                  </a:lnTo>
                  <a:lnTo>
                    <a:pt x="328422" y="477965"/>
                  </a:lnTo>
                  <a:lnTo>
                    <a:pt x="327184" y="481679"/>
                  </a:lnTo>
                  <a:lnTo>
                    <a:pt x="325088" y="480155"/>
                  </a:lnTo>
                  <a:lnTo>
                    <a:pt x="314992" y="472440"/>
                  </a:lnTo>
                  <a:lnTo>
                    <a:pt x="309848" y="474917"/>
                  </a:lnTo>
                  <a:lnTo>
                    <a:pt x="309277" y="471392"/>
                  </a:lnTo>
                  <a:lnTo>
                    <a:pt x="305562" y="470059"/>
                  </a:lnTo>
                  <a:lnTo>
                    <a:pt x="304610" y="462915"/>
                  </a:lnTo>
                  <a:lnTo>
                    <a:pt x="299752" y="454533"/>
                  </a:lnTo>
                  <a:lnTo>
                    <a:pt x="289274" y="457771"/>
                  </a:lnTo>
                  <a:lnTo>
                    <a:pt x="288798" y="454152"/>
                  </a:lnTo>
                  <a:lnTo>
                    <a:pt x="286798" y="452628"/>
                  </a:lnTo>
                  <a:lnTo>
                    <a:pt x="283178" y="453104"/>
                  </a:lnTo>
                  <a:lnTo>
                    <a:pt x="281083" y="451580"/>
                  </a:lnTo>
                  <a:lnTo>
                    <a:pt x="284512" y="449294"/>
                  </a:lnTo>
                  <a:lnTo>
                    <a:pt x="280892" y="449771"/>
                  </a:lnTo>
                  <a:lnTo>
                    <a:pt x="278606" y="446437"/>
                  </a:lnTo>
                  <a:lnTo>
                    <a:pt x="271463" y="447389"/>
                  </a:lnTo>
                  <a:lnTo>
                    <a:pt x="262414" y="448628"/>
                  </a:lnTo>
                  <a:lnTo>
                    <a:pt x="260890" y="450628"/>
                  </a:lnTo>
                  <a:lnTo>
                    <a:pt x="257080" y="449294"/>
                  </a:lnTo>
                  <a:lnTo>
                    <a:pt x="245650" y="459867"/>
                  </a:lnTo>
                  <a:lnTo>
                    <a:pt x="242316" y="462153"/>
                  </a:lnTo>
                  <a:lnTo>
                    <a:pt x="237554" y="453676"/>
                  </a:lnTo>
                  <a:lnTo>
                    <a:pt x="232791" y="445294"/>
                  </a:lnTo>
                  <a:lnTo>
                    <a:pt x="233839" y="439674"/>
                  </a:lnTo>
                  <a:lnTo>
                    <a:pt x="238315" y="431863"/>
                  </a:lnTo>
                  <a:lnTo>
                    <a:pt x="236887" y="421100"/>
                  </a:lnTo>
                  <a:lnTo>
                    <a:pt x="234505" y="403384"/>
                  </a:lnTo>
                  <a:lnTo>
                    <a:pt x="224600" y="397383"/>
                  </a:lnTo>
                  <a:lnTo>
                    <a:pt x="219837" y="389001"/>
                  </a:lnTo>
                  <a:lnTo>
                    <a:pt x="211931" y="384524"/>
                  </a:lnTo>
                  <a:lnTo>
                    <a:pt x="204502" y="383762"/>
                  </a:lnTo>
                  <a:lnTo>
                    <a:pt x="204311" y="381953"/>
                  </a:lnTo>
                  <a:lnTo>
                    <a:pt x="195548" y="384905"/>
                  </a:lnTo>
                  <a:lnTo>
                    <a:pt x="192691" y="390716"/>
                  </a:lnTo>
                  <a:lnTo>
                    <a:pt x="190881" y="391001"/>
                  </a:lnTo>
                  <a:lnTo>
                    <a:pt x="179642" y="388811"/>
                  </a:lnTo>
                  <a:lnTo>
                    <a:pt x="172688" y="391573"/>
                  </a:lnTo>
                  <a:lnTo>
                    <a:pt x="157829" y="389954"/>
                  </a:lnTo>
                  <a:lnTo>
                    <a:pt x="158687" y="382524"/>
                  </a:lnTo>
                  <a:lnTo>
                    <a:pt x="146971" y="376809"/>
                  </a:lnTo>
                  <a:lnTo>
                    <a:pt x="133731" y="373190"/>
                  </a:lnTo>
                  <a:lnTo>
                    <a:pt x="125349" y="365188"/>
                  </a:lnTo>
                  <a:lnTo>
                    <a:pt x="122777" y="360140"/>
                  </a:lnTo>
                  <a:lnTo>
                    <a:pt x="108299" y="347472"/>
                  </a:lnTo>
                  <a:lnTo>
                    <a:pt x="101918" y="353759"/>
                  </a:lnTo>
                  <a:lnTo>
                    <a:pt x="96107" y="365474"/>
                  </a:lnTo>
                  <a:lnTo>
                    <a:pt x="89345" y="369951"/>
                  </a:lnTo>
                  <a:lnTo>
                    <a:pt x="86678" y="363093"/>
                  </a:lnTo>
                  <a:lnTo>
                    <a:pt x="72295" y="364998"/>
                  </a:lnTo>
                  <a:lnTo>
                    <a:pt x="54102" y="365570"/>
                  </a:lnTo>
                  <a:lnTo>
                    <a:pt x="39910" y="354711"/>
                  </a:lnTo>
                  <a:lnTo>
                    <a:pt x="35528" y="349853"/>
                  </a:lnTo>
                  <a:lnTo>
                    <a:pt x="23813" y="344138"/>
                  </a:lnTo>
                  <a:lnTo>
                    <a:pt x="6953" y="340995"/>
                  </a:lnTo>
                  <a:lnTo>
                    <a:pt x="6477" y="337376"/>
                  </a:lnTo>
                  <a:lnTo>
                    <a:pt x="9144" y="329755"/>
                  </a:lnTo>
                  <a:lnTo>
                    <a:pt x="9811" y="320612"/>
                  </a:lnTo>
                  <a:lnTo>
                    <a:pt x="4096" y="305086"/>
                  </a:lnTo>
                  <a:lnTo>
                    <a:pt x="0" y="302038"/>
                  </a:lnTo>
                  <a:lnTo>
                    <a:pt x="3143" y="297942"/>
                  </a:lnTo>
                  <a:lnTo>
                    <a:pt x="10478" y="284321"/>
                  </a:lnTo>
                  <a:lnTo>
                    <a:pt x="7906" y="279178"/>
                  </a:lnTo>
                  <a:lnTo>
                    <a:pt x="11716" y="280511"/>
                  </a:lnTo>
                  <a:lnTo>
                    <a:pt x="17050" y="265271"/>
                  </a:lnTo>
                  <a:lnTo>
                    <a:pt x="10954" y="260699"/>
                  </a:lnTo>
                  <a:lnTo>
                    <a:pt x="19812" y="244983"/>
                  </a:lnTo>
                  <a:lnTo>
                    <a:pt x="25813" y="235172"/>
                  </a:lnTo>
                  <a:lnTo>
                    <a:pt x="48006" y="223171"/>
                  </a:lnTo>
                  <a:lnTo>
                    <a:pt x="46768" y="199739"/>
                  </a:lnTo>
                  <a:lnTo>
                    <a:pt x="40672" y="195072"/>
                  </a:lnTo>
                  <a:lnTo>
                    <a:pt x="36386" y="190214"/>
                  </a:lnTo>
                  <a:lnTo>
                    <a:pt x="13621" y="184213"/>
                  </a:lnTo>
                  <a:lnTo>
                    <a:pt x="17336" y="170974"/>
                  </a:lnTo>
                  <a:lnTo>
                    <a:pt x="24955" y="159068"/>
                  </a:lnTo>
                  <a:lnTo>
                    <a:pt x="31052" y="163735"/>
                  </a:lnTo>
                  <a:lnTo>
                    <a:pt x="40196" y="149828"/>
                  </a:lnTo>
                  <a:lnTo>
                    <a:pt x="30766" y="147447"/>
                  </a:lnTo>
                  <a:lnTo>
                    <a:pt x="27718" y="138779"/>
                  </a:lnTo>
                  <a:lnTo>
                    <a:pt x="40291" y="137160"/>
                  </a:lnTo>
                  <a:lnTo>
                    <a:pt x="39814" y="133541"/>
                  </a:lnTo>
                  <a:lnTo>
                    <a:pt x="44958" y="131064"/>
                  </a:lnTo>
                  <a:lnTo>
                    <a:pt x="50959" y="121253"/>
                  </a:lnTo>
                  <a:lnTo>
                    <a:pt x="43148" y="116777"/>
                  </a:lnTo>
                  <a:lnTo>
                    <a:pt x="46006" y="110966"/>
                  </a:lnTo>
                  <a:lnTo>
                    <a:pt x="32195" y="103727"/>
                  </a:lnTo>
                  <a:lnTo>
                    <a:pt x="40291" y="9544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563723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69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89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DB0AB71-4FC5-9816-D89A-FB25FC9FB5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0509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7442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4" name="Zástupný text 8">
            <a:extLst>
              <a:ext uri="{FF2B5EF4-FFF2-40B4-BE49-F238E27FC236}">
                <a16:creationId xmlns:a16="http://schemas.microsoft.com/office/drawing/2014/main" id="{334C7CB7-DCE5-6074-63A1-2EE2E54004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70160F-6A45-07BE-0604-077F038631C9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</p:spTree>
    <p:extLst>
      <p:ext uri="{BB962C8B-B14F-4D97-AF65-F5344CB8AC3E}">
        <p14:creationId xmlns:p14="http://schemas.microsoft.com/office/powerpoint/2010/main" val="130613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89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38921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57924BB9-BA4C-7A1D-FE2E-64F64C188D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FA654F1F-02D6-B213-3F68-BFED82EB2F8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29355077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Zástupný obsah 3">
            <a:extLst>
              <a:ext uri="{FF2B5EF4-FFF2-40B4-BE49-F238E27FC236}">
                <a16:creationId xmlns:a16="http://schemas.microsoft.com/office/drawing/2014/main" id="{103C0E1B-9A5C-2FCC-DE34-51DF2D12A3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630CE26-F1E5-304D-AA96-485BCAD208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11247432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360853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r>
              <a:rPr lang="cs-CZ"/>
              <a:t>Kliknutím na ikonu přidáte graf.</a:t>
            </a:r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97646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19611863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r>
              <a:rPr lang="cs-CZ"/>
              <a:t>Kliknutím na ikonu přidáte graf.</a:t>
            </a:r>
            <a:endParaRPr lang="cs-CZ" dirty="0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731742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32024386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9">
            <a:extLst>
              <a:ext uri="{FF2B5EF4-FFF2-40B4-BE49-F238E27FC236}">
                <a16:creationId xmlns:a16="http://schemas.microsoft.com/office/drawing/2014/main" id="{9F893109-3837-1967-4990-41EDCC7DF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27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19246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fot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6222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tex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AA198B7-83B3-B629-FB4A-08F345D3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99" y="2297475"/>
            <a:ext cx="7338710" cy="2264586"/>
          </a:xfrm>
        </p:spPr>
        <p:txBody>
          <a:bodyPr wrap="square">
            <a:noAutofit/>
          </a:bodyPr>
          <a:lstStyle>
            <a:lvl1pPr marL="0" indent="0">
              <a:buNone/>
              <a:defRPr sz="360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5657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996066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5491" y="1425173"/>
            <a:ext cx="9841018" cy="400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7660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 modr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E800A2A-3E57-67A1-9FC5-281F4B15A2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40059" y="2995034"/>
            <a:ext cx="6911881" cy="867930"/>
          </a:xfrm>
        </p:spPr>
        <p:txBody>
          <a:bodyPr>
            <a:sp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632249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5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940959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549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9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39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001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CF276C58-AD7A-1982-817B-ECF389FFC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813" y="4102873"/>
            <a:ext cx="10795606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79902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60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4" name="Zástupný text 8">
            <a:extLst>
              <a:ext uri="{FF2B5EF4-FFF2-40B4-BE49-F238E27FC236}">
                <a16:creationId xmlns:a16="http://schemas.microsoft.com/office/drawing/2014/main" id="{334C7CB7-DCE5-6074-63A1-2EE2E54004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70160F-6A45-07BE-0604-077F038631C9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</p:spTree>
    <p:extLst>
      <p:ext uri="{BB962C8B-B14F-4D97-AF65-F5344CB8AC3E}">
        <p14:creationId xmlns:p14="http://schemas.microsoft.com/office/powerpoint/2010/main" val="1505002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5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10974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9305828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B568BAED-9959-EA2E-29EC-1A0B33CE9746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731838" y="1663700"/>
            <a:ext cx="5364162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1" name="Zástupný obsah 10">
            <a:extLst>
              <a:ext uri="{FF2B5EF4-FFF2-40B4-BE49-F238E27FC236}">
                <a16:creationId xmlns:a16="http://schemas.microsoft.com/office/drawing/2014/main" id="{163C6B4F-771B-F4FA-C177-55BA3C6FDAD6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6096000" y="1663700"/>
            <a:ext cx="5364163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153352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239694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endParaRPr lang="cs-CZ"/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6581465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31730709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endParaRPr lang="cs-CZ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270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6432206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024099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9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885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endParaRPr lang="cs-CZ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0811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301276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4255106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4456" y="1967816"/>
            <a:ext cx="7176029" cy="2922364"/>
          </a:xfrm>
          <a:prstGeom prst="rect">
            <a:avLst/>
          </a:prstGeom>
        </p:spPr>
      </p:pic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6625C024-02BF-241F-EC69-FD9658C2B6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55858" y="2755482"/>
            <a:ext cx="2049208" cy="134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361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5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199042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5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656680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7197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C16814E-93D7-8660-9E4B-EF5C17EF945B}"/>
              </a:ext>
            </a:extLst>
          </p:cNvPr>
          <p:cNvGrpSpPr/>
          <p:nvPr userDrawn="1"/>
        </p:nvGrpSpPr>
        <p:grpSpPr>
          <a:xfrm>
            <a:off x="9504000" y="3888000"/>
            <a:ext cx="1270751" cy="2016807"/>
            <a:chOff x="9573906" y="3839890"/>
            <a:chExt cx="1270751" cy="2016807"/>
          </a:xfrm>
        </p:grpSpPr>
        <p:sp>
          <p:nvSpPr>
            <p:cNvPr id="47" name="Rovnoramenný trojúhelník 4">
              <a:extLst>
                <a:ext uri="{FF2B5EF4-FFF2-40B4-BE49-F238E27FC236}">
                  <a16:creationId xmlns:a16="http://schemas.microsoft.com/office/drawing/2014/main" id="{C5474CA9-DC43-C5C2-60B4-16339D814A8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8CEA53F-7430-B159-526A-7A9F3A1D7EDB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9" name="Ovál 22">
                <a:extLst>
                  <a:ext uri="{FF2B5EF4-FFF2-40B4-BE49-F238E27FC236}">
                    <a16:creationId xmlns:a16="http://schemas.microsoft.com/office/drawing/2014/main" id="{4BA847E0-413E-514E-A6AF-56E616FAF048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0" name="Ovál 23">
                <a:extLst>
                  <a:ext uri="{FF2B5EF4-FFF2-40B4-BE49-F238E27FC236}">
                    <a16:creationId xmlns:a16="http://schemas.microsoft.com/office/drawing/2014/main" id="{88A794EE-DDBB-9DBE-6259-495A40034396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grpSp>
        <p:nvGrpSpPr>
          <p:cNvPr id="2" name="Skupina 1">
            <a:extLst>
              <a:ext uri="{FF2B5EF4-FFF2-40B4-BE49-F238E27FC236}">
                <a16:creationId xmlns:a16="http://schemas.microsoft.com/office/drawing/2014/main" id="{8CAFD279-737F-7CC8-355E-A876A8AACB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08400" y="5069760"/>
            <a:ext cx="824351" cy="594000"/>
            <a:chOff x="6152149" y="3638168"/>
            <a:chExt cx="1913285" cy="1378648"/>
          </a:xfrm>
          <a:noFill/>
        </p:grpSpPr>
        <p:sp>
          <p:nvSpPr>
            <p:cNvPr id="52" name="Volný tvar: obrazec 51">
              <a:extLst>
                <a:ext uri="{FF2B5EF4-FFF2-40B4-BE49-F238E27FC236}">
                  <a16:creationId xmlns:a16="http://schemas.microsoft.com/office/drawing/2014/main" id="{C88A9181-2B03-9EEA-7996-CB9E236CE8D1}"/>
                </a:ext>
              </a:extLst>
            </p:cNvPr>
            <p:cNvSpPr/>
            <p:nvPr userDrawn="1"/>
          </p:nvSpPr>
          <p:spPr>
            <a:xfrm>
              <a:off x="6875573" y="3638168"/>
              <a:ext cx="458152" cy="493775"/>
            </a:xfrm>
            <a:custGeom>
              <a:avLst/>
              <a:gdLst>
                <a:gd name="connsiteX0" fmla="*/ 24670 w 458152"/>
                <a:gd name="connsiteY0" fmla="*/ 334137 h 493775"/>
                <a:gd name="connsiteX1" fmla="*/ 25337 w 458152"/>
                <a:gd name="connsiteY1" fmla="*/ 325088 h 493775"/>
                <a:gd name="connsiteX2" fmla="*/ 24384 w 458152"/>
                <a:gd name="connsiteY2" fmla="*/ 317945 h 493775"/>
                <a:gd name="connsiteX3" fmla="*/ 27241 w 458152"/>
                <a:gd name="connsiteY3" fmla="*/ 312039 h 493775"/>
                <a:gd name="connsiteX4" fmla="*/ 30671 w 458152"/>
                <a:gd name="connsiteY4" fmla="*/ 309848 h 493775"/>
                <a:gd name="connsiteX5" fmla="*/ 27908 w 458152"/>
                <a:gd name="connsiteY5" fmla="*/ 302990 h 493775"/>
                <a:gd name="connsiteX6" fmla="*/ 20955 w 458152"/>
                <a:gd name="connsiteY6" fmla="*/ 305657 h 493775"/>
                <a:gd name="connsiteX7" fmla="*/ 17145 w 458152"/>
                <a:gd name="connsiteY7" fmla="*/ 304324 h 493775"/>
                <a:gd name="connsiteX8" fmla="*/ 14668 w 458152"/>
                <a:gd name="connsiteY8" fmla="*/ 299275 h 493775"/>
                <a:gd name="connsiteX9" fmla="*/ 19526 w 458152"/>
                <a:gd name="connsiteY9" fmla="*/ 294989 h 493775"/>
                <a:gd name="connsiteX10" fmla="*/ 15430 w 458152"/>
                <a:gd name="connsiteY10" fmla="*/ 291941 h 493775"/>
                <a:gd name="connsiteX11" fmla="*/ 16573 w 458152"/>
                <a:gd name="connsiteY11" fmla="*/ 286321 h 493775"/>
                <a:gd name="connsiteX12" fmla="*/ 21717 w 458152"/>
                <a:gd name="connsiteY12" fmla="*/ 283845 h 493775"/>
                <a:gd name="connsiteX13" fmla="*/ 11049 w 458152"/>
                <a:gd name="connsiteY13" fmla="*/ 272510 h 493775"/>
                <a:gd name="connsiteX14" fmla="*/ 11716 w 458152"/>
                <a:gd name="connsiteY14" fmla="*/ 263366 h 493775"/>
                <a:gd name="connsiteX15" fmla="*/ 14573 w 458152"/>
                <a:gd name="connsiteY15" fmla="*/ 257556 h 493775"/>
                <a:gd name="connsiteX16" fmla="*/ 22860 w 458152"/>
                <a:gd name="connsiteY16" fmla="*/ 251079 h 493775"/>
                <a:gd name="connsiteX17" fmla="*/ 25717 w 458152"/>
                <a:gd name="connsiteY17" fmla="*/ 245173 h 493775"/>
                <a:gd name="connsiteX18" fmla="*/ 18955 w 458152"/>
                <a:gd name="connsiteY18" fmla="*/ 235267 h 493775"/>
                <a:gd name="connsiteX19" fmla="*/ 32575 w 458152"/>
                <a:gd name="connsiteY19" fmla="*/ 228029 h 493775"/>
                <a:gd name="connsiteX20" fmla="*/ 33242 w 458152"/>
                <a:gd name="connsiteY20" fmla="*/ 218884 h 493775"/>
                <a:gd name="connsiteX21" fmla="*/ 26003 w 458152"/>
                <a:gd name="connsiteY21" fmla="*/ 219742 h 493775"/>
                <a:gd name="connsiteX22" fmla="*/ 22003 w 458152"/>
                <a:gd name="connsiteY22" fmla="*/ 216694 h 493775"/>
                <a:gd name="connsiteX23" fmla="*/ 23336 w 458152"/>
                <a:gd name="connsiteY23" fmla="*/ 212884 h 493775"/>
                <a:gd name="connsiteX24" fmla="*/ 26194 w 458152"/>
                <a:gd name="connsiteY24" fmla="*/ 207073 h 493775"/>
                <a:gd name="connsiteX25" fmla="*/ 20764 w 458152"/>
                <a:gd name="connsiteY25" fmla="*/ 207835 h 493775"/>
                <a:gd name="connsiteX26" fmla="*/ 21241 w 458152"/>
                <a:gd name="connsiteY26" fmla="*/ 211360 h 493775"/>
                <a:gd name="connsiteX27" fmla="*/ 17431 w 458152"/>
                <a:gd name="connsiteY27" fmla="*/ 210026 h 493775"/>
                <a:gd name="connsiteX28" fmla="*/ 9239 w 458152"/>
                <a:gd name="connsiteY28" fmla="*/ 203835 h 493775"/>
                <a:gd name="connsiteX29" fmla="*/ 6763 w 458152"/>
                <a:gd name="connsiteY29" fmla="*/ 198787 h 493775"/>
                <a:gd name="connsiteX30" fmla="*/ 8382 w 458152"/>
                <a:gd name="connsiteY30" fmla="*/ 196787 h 493775"/>
                <a:gd name="connsiteX31" fmla="*/ 7906 w 458152"/>
                <a:gd name="connsiteY31" fmla="*/ 193167 h 493775"/>
                <a:gd name="connsiteX32" fmla="*/ 0 w 458152"/>
                <a:gd name="connsiteY32" fmla="*/ 188785 h 493775"/>
                <a:gd name="connsiteX33" fmla="*/ 1524 w 458152"/>
                <a:gd name="connsiteY33" fmla="*/ 186785 h 493775"/>
                <a:gd name="connsiteX34" fmla="*/ 8763 w 458152"/>
                <a:gd name="connsiteY34" fmla="*/ 185833 h 493775"/>
                <a:gd name="connsiteX35" fmla="*/ 12763 w 458152"/>
                <a:gd name="connsiteY35" fmla="*/ 188881 h 493775"/>
                <a:gd name="connsiteX36" fmla="*/ 17812 w 458152"/>
                <a:gd name="connsiteY36" fmla="*/ 199072 h 493775"/>
                <a:gd name="connsiteX37" fmla="*/ 28384 w 458152"/>
                <a:gd name="connsiteY37" fmla="*/ 195929 h 493775"/>
                <a:gd name="connsiteX38" fmla="*/ 31528 w 458152"/>
                <a:gd name="connsiteY38" fmla="*/ 191929 h 493775"/>
                <a:gd name="connsiteX39" fmla="*/ 31051 w 458152"/>
                <a:gd name="connsiteY39" fmla="*/ 188309 h 493775"/>
                <a:gd name="connsiteX40" fmla="*/ 35909 w 458152"/>
                <a:gd name="connsiteY40" fmla="*/ 184023 h 493775"/>
                <a:gd name="connsiteX41" fmla="*/ 43529 w 458152"/>
                <a:gd name="connsiteY41" fmla="*/ 172212 h 493775"/>
                <a:gd name="connsiteX42" fmla="*/ 48863 w 458152"/>
                <a:gd name="connsiteY42" fmla="*/ 171450 h 493775"/>
                <a:gd name="connsiteX43" fmla="*/ 57531 w 458152"/>
                <a:gd name="connsiteY43" fmla="*/ 154019 h 493775"/>
                <a:gd name="connsiteX44" fmla="*/ 54292 w 458152"/>
                <a:gd name="connsiteY44" fmla="*/ 143542 h 493775"/>
                <a:gd name="connsiteX45" fmla="*/ 49339 w 458152"/>
                <a:gd name="connsiteY45" fmla="*/ 133350 h 493775"/>
                <a:gd name="connsiteX46" fmla="*/ 36481 w 458152"/>
                <a:gd name="connsiteY46" fmla="*/ 133159 h 493775"/>
                <a:gd name="connsiteX47" fmla="*/ 34480 w 458152"/>
                <a:gd name="connsiteY47" fmla="*/ 131635 h 493775"/>
                <a:gd name="connsiteX48" fmla="*/ 29051 w 458152"/>
                <a:gd name="connsiteY48" fmla="*/ 132397 h 493775"/>
                <a:gd name="connsiteX49" fmla="*/ 28575 w 458152"/>
                <a:gd name="connsiteY49" fmla="*/ 128778 h 493775"/>
                <a:gd name="connsiteX50" fmla="*/ 22955 w 458152"/>
                <a:gd name="connsiteY50" fmla="*/ 127730 h 493775"/>
                <a:gd name="connsiteX51" fmla="*/ 22765 w 458152"/>
                <a:gd name="connsiteY51" fmla="*/ 126016 h 493775"/>
                <a:gd name="connsiteX52" fmla="*/ 18955 w 458152"/>
                <a:gd name="connsiteY52" fmla="*/ 124682 h 493775"/>
                <a:gd name="connsiteX53" fmla="*/ 18193 w 458152"/>
                <a:gd name="connsiteY53" fmla="*/ 119348 h 493775"/>
                <a:gd name="connsiteX54" fmla="*/ 16192 w 458152"/>
                <a:gd name="connsiteY54" fmla="*/ 117729 h 493775"/>
                <a:gd name="connsiteX55" fmla="*/ 15716 w 458152"/>
                <a:gd name="connsiteY55" fmla="*/ 114205 h 493775"/>
                <a:gd name="connsiteX56" fmla="*/ 24670 w 458152"/>
                <a:gd name="connsiteY56" fmla="*/ 112967 h 493775"/>
                <a:gd name="connsiteX57" fmla="*/ 26003 w 458152"/>
                <a:gd name="connsiteY57" fmla="*/ 109156 h 493775"/>
                <a:gd name="connsiteX58" fmla="*/ 30480 w 458152"/>
                <a:gd name="connsiteY58" fmla="*/ 101346 h 493775"/>
                <a:gd name="connsiteX59" fmla="*/ 29337 w 458152"/>
                <a:gd name="connsiteY59" fmla="*/ 92488 h 493775"/>
                <a:gd name="connsiteX60" fmla="*/ 31337 w 458152"/>
                <a:gd name="connsiteY60" fmla="*/ 94012 h 493775"/>
                <a:gd name="connsiteX61" fmla="*/ 32671 w 458152"/>
                <a:gd name="connsiteY61" fmla="*/ 90202 h 493775"/>
                <a:gd name="connsiteX62" fmla="*/ 33242 w 458152"/>
                <a:gd name="connsiteY62" fmla="*/ 81058 h 493775"/>
                <a:gd name="connsiteX63" fmla="*/ 30766 w 458152"/>
                <a:gd name="connsiteY63" fmla="*/ 75914 h 493775"/>
                <a:gd name="connsiteX64" fmla="*/ 34576 w 458152"/>
                <a:gd name="connsiteY64" fmla="*/ 77248 h 493775"/>
                <a:gd name="connsiteX65" fmla="*/ 39338 w 458152"/>
                <a:gd name="connsiteY65" fmla="*/ 85630 h 493775"/>
                <a:gd name="connsiteX66" fmla="*/ 46768 w 458152"/>
                <a:gd name="connsiteY66" fmla="*/ 86487 h 493775"/>
                <a:gd name="connsiteX67" fmla="*/ 45815 w 458152"/>
                <a:gd name="connsiteY67" fmla="*/ 79343 h 493775"/>
                <a:gd name="connsiteX68" fmla="*/ 55626 w 458152"/>
                <a:gd name="connsiteY68" fmla="*/ 70866 h 493775"/>
                <a:gd name="connsiteX69" fmla="*/ 52673 w 458152"/>
                <a:gd name="connsiteY69" fmla="*/ 62103 h 493775"/>
                <a:gd name="connsiteX70" fmla="*/ 55626 w 458152"/>
                <a:gd name="connsiteY70" fmla="*/ 56388 h 493775"/>
                <a:gd name="connsiteX71" fmla="*/ 61436 w 458152"/>
                <a:gd name="connsiteY71" fmla="*/ 59150 h 493775"/>
                <a:gd name="connsiteX72" fmla="*/ 68389 w 458152"/>
                <a:gd name="connsiteY72" fmla="*/ 56483 h 493775"/>
                <a:gd name="connsiteX73" fmla="*/ 71247 w 458152"/>
                <a:gd name="connsiteY73" fmla="*/ 50673 h 493775"/>
                <a:gd name="connsiteX74" fmla="*/ 75152 w 458152"/>
                <a:gd name="connsiteY74" fmla="*/ 51911 h 493775"/>
                <a:gd name="connsiteX75" fmla="*/ 74866 w 458152"/>
                <a:gd name="connsiteY75" fmla="*/ 50197 h 493775"/>
                <a:gd name="connsiteX76" fmla="*/ 82772 w 458152"/>
                <a:gd name="connsiteY76" fmla="*/ 54578 h 493775"/>
                <a:gd name="connsiteX77" fmla="*/ 80581 w 458152"/>
                <a:gd name="connsiteY77" fmla="*/ 65722 h 493775"/>
                <a:gd name="connsiteX78" fmla="*/ 82391 w 458152"/>
                <a:gd name="connsiteY78" fmla="*/ 65532 h 493775"/>
                <a:gd name="connsiteX79" fmla="*/ 87249 w 458152"/>
                <a:gd name="connsiteY79" fmla="*/ 61150 h 493775"/>
                <a:gd name="connsiteX80" fmla="*/ 91154 w 458152"/>
                <a:gd name="connsiteY80" fmla="*/ 62484 h 493775"/>
                <a:gd name="connsiteX81" fmla="*/ 94202 w 458152"/>
                <a:gd name="connsiteY81" fmla="*/ 58483 h 493775"/>
                <a:gd name="connsiteX82" fmla="*/ 103441 w 458152"/>
                <a:gd name="connsiteY82" fmla="*/ 59055 h 493775"/>
                <a:gd name="connsiteX83" fmla="*/ 116681 w 458152"/>
                <a:gd name="connsiteY83" fmla="*/ 48292 h 493775"/>
                <a:gd name="connsiteX84" fmla="*/ 120301 w 458152"/>
                <a:gd name="connsiteY84" fmla="*/ 47816 h 493775"/>
                <a:gd name="connsiteX85" fmla="*/ 129064 w 458152"/>
                <a:gd name="connsiteY85" fmla="*/ 59341 h 493775"/>
                <a:gd name="connsiteX86" fmla="*/ 132874 w 458152"/>
                <a:gd name="connsiteY86" fmla="*/ 60579 h 493775"/>
                <a:gd name="connsiteX87" fmla="*/ 136303 w 458152"/>
                <a:gd name="connsiteY87" fmla="*/ 58388 h 493775"/>
                <a:gd name="connsiteX88" fmla="*/ 138303 w 458152"/>
                <a:gd name="connsiteY88" fmla="*/ 59912 h 493775"/>
                <a:gd name="connsiteX89" fmla="*/ 143923 w 458152"/>
                <a:gd name="connsiteY89" fmla="*/ 60960 h 493775"/>
                <a:gd name="connsiteX90" fmla="*/ 143446 w 458152"/>
                <a:gd name="connsiteY90" fmla="*/ 57436 h 493775"/>
                <a:gd name="connsiteX91" fmla="*/ 158305 w 458152"/>
                <a:gd name="connsiteY91" fmla="*/ 59055 h 493775"/>
                <a:gd name="connsiteX92" fmla="*/ 161639 w 458152"/>
                <a:gd name="connsiteY92" fmla="*/ 56769 h 493775"/>
                <a:gd name="connsiteX93" fmla="*/ 163925 w 458152"/>
                <a:gd name="connsiteY93" fmla="*/ 60103 h 493775"/>
                <a:gd name="connsiteX94" fmla="*/ 167259 w 458152"/>
                <a:gd name="connsiteY94" fmla="*/ 57912 h 493775"/>
                <a:gd name="connsiteX95" fmla="*/ 164782 w 458152"/>
                <a:gd name="connsiteY95" fmla="*/ 52768 h 493775"/>
                <a:gd name="connsiteX96" fmla="*/ 164021 w 458152"/>
                <a:gd name="connsiteY96" fmla="*/ 47434 h 493775"/>
                <a:gd name="connsiteX97" fmla="*/ 168497 w 458152"/>
                <a:gd name="connsiteY97" fmla="*/ 39624 h 493775"/>
                <a:gd name="connsiteX98" fmla="*/ 168021 w 458152"/>
                <a:gd name="connsiteY98" fmla="*/ 36004 h 493775"/>
                <a:gd name="connsiteX99" fmla="*/ 169545 w 458152"/>
                <a:gd name="connsiteY99" fmla="*/ 34004 h 493775"/>
                <a:gd name="connsiteX100" fmla="*/ 168878 w 458152"/>
                <a:gd name="connsiteY100" fmla="*/ 28670 h 493775"/>
                <a:gd name="connsiteX101" fmla="*/ 167449 w 458152"/>
                <a:gd name="connsiteY101" fmla="*/ 17907 h 493775"/>
                <a:gd name="connsiteX102" fmla="*/ 174212 w 458152"/>
                <a:gd name="connsiteY102" fmla="*/ 13430 h 493775"/>
                <a:gd name="connsiteX103" fmla="*/ 171736 w 458152"/>
                <a:gd name="connsiteY103" fmla="*/ 8382 h 493775"/>
                <a:gd name="connsiteX104" fmla="*/ 176879 w 458152"/>
                <a:gd name="connsiteY104" fmla="*/ 5810 h 493775"/>
                <a:gd name="connsiteX105" fmla="*/ 182213 w 458152"/>
                <a:gd name="connsiteY105" fmla="*/ 5143 h 493775"/>
                <a:gd name="connsiteX106" fmla="*/ 184499 w 458152"/>
                <a:gd name="connsiteY106" fmla="*/ 8477 h 493775"/>
                <a:gd name="connsiteX107" fmla="*/ 188119 w 458152"/>
                <a:gd name="connsiteY107" fmla="*/ 8001 h 493775"/>
                <a:gd name="connsiteX108" fmla="*/ 192976 w 458152"/>
                <a:gd name="connsiteY108" fmla="*/ 3715 h 493775"/>
                <a:gd name="connsiteX109" fmla="*/ 195739 w 458152"/>
                <a:gd name="connsiteY109" fmla="*/ 10573 h 493775"/>
                <a:gd name="connsiteX110" fmla="*/ 205454 w 458152"/>
                <a:gd name="connsiteY110" fmla="*/ 14764 h 493775"/>
                <a:gd name="connsiteX111" fmla="*/ 210312 w 458152"/>
                <a:gd name="connsiteY111" fmla="*/ 10477 h 493775"/>
                <a:gd name="connsiteX112" fmla="*/ 214408 w 458152"/>
                <a:gd name="connsiteY112" fmla="*/ 13621 h 493775"/>
                <a:gd name="connsiteX113" fmla="*/ 219837 w 458152"/>
                <a:gd name="connsiteY113" fmla="*/ 12859 h 493775"/>
                <a:gd name="connsiteX114" fmla="*/ 220028 w 458152"/>
                <a:gd name="connsiteY114" fmla="*/ 14668 h 493775"/>
                <a:gd name="connsiteX115" fmla="*/ 221837 w 458152"/>
                <a:gd name="connsiteY115" fmla="*/ 14383 h 493775"/>
                <a:gd name="connsiteX116" fmla="*/ 230314 w 458152"/>
                <a:gd name="connsiteY116" fmla="*/ 9620 h 493775"/>
                <a:gd name="connsiteX117" fmla="*/ 233934 w 458152"/>
                <a:gd name="connsiteY117" fmla="*/ 9144 h 493775"/>
                <a:gd name="connsiteX118" fmla="*/ 231934 w 458152"/>
                <a:gd name="connsiteY118" fmla="*/ 7620 h 493775"/>
                <a:gd name="connsiteX119" fmla="*/ 232981 w 458152"/>
                <a:gd name="connsiteY119" fmla="*/ 2000 h 493775"/>
                <a:gd name="connsiteX120" fmla="*/ 234601 w 458152"/>
                <a:gd name="connsiteY120" fmla="*/ 0 h 493775"/>
                <a:gd name="connsiteX121" fmla="*/ 247840 w 458152"/>
                <a:gd name="connsiteY121" fmla="*/ 3715 h 493775"/>
                <a:gd name="connsiteX122" fmla="*/ 262509 w 458152"/>
                <a:gd name="connsiteY122" fmla="*/ 18097 h 493775"/>
                <a:gd name="connsiteX123" fmla="*/ 270605 w 458152"/>
                <a:gd name="connsiteY123" fmla="*/ 9811 h 493775"/>
                <a:gd name="connsiteX124" fmla="*/ 280035 w 458152"/>
                <a:gd name="connsiteY124" fmla="*/ 12192 h 493775"/>
                <a:gd name="connsiteX125" fmla="*/ 279559 w 458152"/>
                <a:gd name="connsiteY125" fmla="*/ 8572 h 493775"/>
                <a:gd name="connsiteX126" fmla="*/ 273939 w 458152"/>
                <a:gd name="connsiteY126" fmla="*/ 7525 h 493775"/>
                <a:gd name="connsiteX127" fmla="*/ 275463 w 458152"/>
                <a:gd name="connsiteY127" fmla="*/ 5429 h 493775"/>
                <a:gd name="connsiteX128" fmla="*/ 287179 w 458152"/>
                <a:gd name="connsiteY128" fmla="*/ 11239 h 493775"/>
                <a:gd name="connsiteX129" fmla="*/ 290989 w 458152"/>
                <a:gd name="connsiteY129" fmla="*/ 12478 h 493775"/>
                <a:gd name="connsiteX130" fmla="*/ 294418 w 458152"/>
                <a:gd name="connsiteY130" fmla="*/ 10192 h 493775"/>
                <a:gd name="connsiteX131" fmla="*/ 298228 w 458152"/>
                <a:gd name="connsiteY131" fmla="*/ 11525 h 493775"/>
                <a:gd name="connsiteX132" fmla="*/ 303086 w 458152"/>
                <a:gd name="connsiteY132" fmla="*/ 7239 h 493775"/>
                <a:gd name="connsiteX133" fmla="*/ 301562 w 458152"/>
                <a:gd name="connsiteY133" fmla="*/ 9334 h 493775"/>
                <a:gd name="connsiteX134" fmla="*/ 320421 w 458152"/>
                <a:gd name="connsiteY134" fmla="*/ 14002 h 493775"/>
                <a:gd name="connsiteX135" fmla="*/ 323469 w 458152"/>
                <a:gd name="connsiteY135" fmla="*/ 22670 h 493775"/>
                <a:gd name="connsiteX136" fmla="*/ 328803 w 458152"/>
                <a:gd name="connsiteY136" fmla="*/ 22003 h 493775"/>
                <a:gd name="connsiteX137" fmla="*/ 330613 w 458152"/>
                <a:gd name="connsiteY137" fmla="*/ 21717 h 493775"/>
                <a:gd name="connsiteX138" fmla="*/ 354044 w 458152"/>
                <a:gd name="connsiteY138" fmla="*/ 33147 h 493775"/>
                <a:gd name="connsiteX139" fmla="*/ 359664 w 458152"/>
                <a:gd name="connsiteY139" fmla="*/ 34195 h 493775"/>
                <a:gd name="connsiteX140" fmla="*/ 371856 w 458152"/>
                <a:gd name="connsiteY140" fmla="*/ 43529 h 493775"/>
                <a:gd name="connsiteX141" fmla="*/ 381381 w 458152"/>
                <a:gd name="connsiteY141" fmla="*/ 45910 h 493775"/>
                <a:gd name="connsiteX142" fmla="*/ 400812 w 458152"/>
                <a:gd name="connsiteY142" fmla="*/ 41434 h 493775"/>
                <a:gd name="connsiteX143" fmla="*/ 401098 w 458152"/>
                <a:gd name="connsiteY143" fmla="*/ 43243 h 493775"/>
                <a:gd name="connsiteX144" fmla="*/ 394145 w 458152"/>
                <a:gd name="connsiteY144" fmla="*/ 46006 h 493775"/>
                <a:gd name="connsiteX145" fmla="*/ 392811 w 458152"/>
                <a:gd name="connsiteY145" fmla="*/ 49816 h 493775"/>
                <a:gd name="connsiteX146" fmla="*/ 389477 w 458152"/>
                <a:gd name="connsiteY146" fmla="*/ 52006 h 493775"/>
                <a:gd name="connsiteX147" fmla="*/ 387667 w 458152"/>
                <a:gd name="connsiteY147" fmla="*/ 52292 h 493775"/>
                <a:gd name="connsiteX148" fmla="*/ 386620 w 458152"/>
                <a:gd name="connsiteY148" fmla="*/ 57817 h 493775"/>
                <a:gd name="connsiteX149" fmla="*/ 390430 w 458152"/>
                <a:gd name="connsiteY149" fmla="*/ 59150 h 493775"/>
                <a:gd name="connsiteX150" fmla="*/ 395192 w 458152"/>
                <a:gd name="connsiteY150" fmla="*/ 67627 h 493775"/>
                <a:gd name="connsiteX151" fmla="*/ 399002 w 458152"/>
                <a:gd name="connsiteY151" fmla="*/ 68961 h 493775"/>
                <a:gd name="connsiteX152" fmla="*/ 397955 w 458152"/>
                <a:gd name="connsiteY152" fmla="*/ 74485 h 493775"/>
                <a:gd name="connsiteX153" fmla="*/ 390715 w 458152"/>
                <a:gd name="connsiteY153" fmla="*/ 75438 h 493775"/>
                <a:gd name="connsiteX154" fmla="*/ 382048 w 458152"/>
                <a:gd name="connsiteY154" fmla="*/ 78391 h 493775"/>
                <a:gd name="connsiteX155" fmla="*/ 379952 w 458152"/>
                <a:gd name="connsiteY155" fmla="*/ 76867 h 493775"/>
                <a:gd name="connsiteX156" fmla="*/ 377476 w 458152"/>
                <a:gd name="connsiteY156" fmla="*/ 71723 h 493775"/>
                <a:gd name="connsiteX157" fmla="*/ 371570 w 458152"/>
                <a:gd name="connsiteY157" fmla="*/ 68866 h 493775"/>
                <a:gd name="connsiteX158" fmla="*/ 368237 w 458152"/>
                <a:gd name="connsiteY158" fmla="*/ 71152 h 493775"/>
                <a:gd name="connsiteX159" fmla="*/ 365760 w 458152"/>
                <a:gd name="connsiteY159" fmla="*/ 66104 h 493775"/>
                <a:gd name="connsiteX160" fmla="*/ 364617 w 458152"/>
                <a:gd name="connsiteY160" fmla="*/ 71628 h 493775"/>
                <a:gd name="connsiteX161" fmla="*/ 362426 w 458152"/>
                <a:gd name="connsiteY161" fmla="*/ 68294 h 493775"/>
                <a:gd name="connsiteX162" fmla="*/ 354711 w 458152"/>
                <a:gd name="connsiteY162" fmla="*/ 65722 h 493775"/>
                <a:gd name="connsiteX163" fmla="*/ 348424 w 458152"/>
                <a:gd name="connsiteY163" fmla="*/ 59246 h 493775"/>
                <a:gd name="connsiteX164" fmla="*/ 351187 w 458152"/>
                <a:gd name="connsiteY164" fmla="*/ 66199 h 493775"/>
                <a:gd name="connsiteX165" fmla="*/ 349377 w 458152"/>
                <a:gd name="connsiteY165" fmla="*/ 66389 h 493775"/>
                <a:gd name="connsiteX166" fmla="*/ 350044 w 458152"/>
                <a:gd name="connsiteY166" fmla="*/ 71723 h 493775"/>
                <a:gd name="connsiteX167" fmla="*/ 346615 w 458152"/>
                <a:gd name="connsiteY167" fmla="*/ 74009 h 493775"/>
                <a:gd name="connsiteX168" fmla="*/ 346900 w 458152"/>
                <a:gd name="connsiteY168" fmla="*/ 75819 h 493775"/>
                <a:gd name="connsiteX169" fmla="*/ 349853 w 458152"/>
                <a:gd name="connsiteY169" fmla="*/ 84487 h 493775"/>
                <a:gd name="connsiteX170" fmla="*/ 348805 w 458152"/>
                <a:gd name="connsiteY170" fmla="*/ 90011 h 493775"/>
                <a:gd name="connsiteX171" fmla="*/ 350806 w 458152"/>
                <a:gd name="connsiteY171" fmla="*/ 91630 h 493775"/>
                <a:gd name="connsiteX172" fmla="*/ 356235 w 458152"/>
                <a:gd name="connsiteY172" fmla="*/ 90868 h 493775"/>
                <a:gd name="connsiteX173" fmla="*/ 354711 w 458152"/>
                <a:gd name="connsiteY173" fmla="*/ 92869 h 493775"/>
                <a:gd name="connsiteX174" fmla="*/ 355187 w 458152"/>
                <a:gd name="connsiteY174" fmla="*/ 96488 h 493775"/>
                <a:gd name="connsiteX175" fmla="*/ 352044 w 458152"/>
                <a:gd name="connsiteY175" fmla="*/ 100489 h 493775"/>
                <a:gd name="connsiteX176" fmla="*/ 349377 w 458152"/>
                <a:gd name="connsiteY176" fmla="*/ 108109 h 493775"/>
                <a:gd name="connsiteX177" fmla="*/ 344424 w 458152"/>
                <a:gd name="connsiteY177" fmla="*/ 112395 h 493775"/>
                <a:gd name="connsiteX178" fmla="*/ 341852 w 458152"/>
                <a:gd name="connsiteY178" fmla="*/ 120015 h 493775"/>
                <a:gd name="connsiteX179" fmla="*/ 350996 w 458152"/>
                <a:gd name="connsiteY179" fmla="*/ 120587 h 493775"/>
                <a:gd name="connsiteX180" fmla="*/ 359759 w 458152"/>
                <a:gd name="connsiteY180" fmla="*/ 117634 h 493775"/>
                <a:gd name="connsiteX181" fmla="*/ 362045 w 458152"/>
                <a:gd name="connsiteY181" fmla="*/ 120967 h 493775"/>
                <a:gd name="connsiteX182" fmla="*/ 369189 w 458152"/>
                <a:gd name="connsiteY182" fmla="*/ 120015 h 493775"/>
                <a:gd name="connsiteX183" fmla="*/ 372808 w 458152"/>
                <a:gd name="connsiteY183" fmla="*/ 119539 h 493775"/>
                <a:gd name="connsiteX184" fmla="*/ 382048 w 458152"/>
                <a:gd name="connsiteY184" fmla="*/ 120110 h 493775"/>
                <a:gd name="connsiteX185" fmla="*/ 384524 w 458152"/>
                <a:gd name="connsiteY185" fmla="*/ 125254 h 493775"/>
                <a:gd name="connsiteX186" fmla="*/ 394430 w 458152"/>
                <a:gd name="connsiteY186" fmla="*/ 131159 h 493775"/>
                <a:gd name="connsiteX187" fmla="*/ 405479 w 458152"/>
                <a:gd name="connsiteY187" fmla="*/ 131540 h 493775"/>
                <a:gd name="connsiteX188" fmla="*/ 407003 w 458152"/>
                <a:gd name="connsiteY188" fmla="*/ 129540 h 493775"/>
                <a:gd name="connsiteX189" fmla="*/ 409289 w 458152"/>
                <a:gd name="connsiteY189" fmla="*/ 132779 h 493775"/>
                <a:gd name="connsiteX190" fmla="*/ 412432 w 458152"/>
                <a:gd name="connsiteY190" fmla="*/ 128778 h 493775"/>
                <a:gd name="connsiteX191" fmla="*/ 412623 w 458152"/>
                <a:gd name="connsiteY191" fmla="*/ 130588 h 493775"/>
                <a:gd name="connsiteX192" fmla="*/ 418052 w 458152"/>
                <a:gd name="connsiteY192" fmla="*/ 129826 h 493775"/>
                <a:gd name="connsiteX193" fmla="*/ 418529 w 458152"/>
                <a:gd name="connsiteY193" fmla="*/ 133445 h 493775"/>
                <a:gd name="connsiteX194" fmla="*/ 423481 w 458152"/>
                <a:gd name="connsiteY194" fmla="*/ 129159 h 493775"/>
                <a:gd name="connsiteX195" fmla="*/ 427291 w 458152"/>
                <a:gd name="connsiteY195" fmla="*/ 130397 h 493775"/>
                <a:gd name="connsiteX196" fmla="*/ 429292 w 458152"/>
                <a:gd name="connsiteY196" fmla="*/ 132017 h 493775"/>
                <a:gd name="connsiteX197" fmla="*/ 425958 w 458152"/>
                <a:gd name="connsiteY197" fmla="*/ 134207 h 493775"/>
                <a:gd name="connsiteX198" fmla="*/ 416909 w 458152"/>
                <a:gd name="connsiteY198" fmla="*/ 135446 h 493775"/>
                <a:gd name="connsiteX199" fmla="*/ 412909 w 458152"/>
                <a:gd name="connsiteY199" fmla="*/ 132302 h 493775"/>
                <a:gd name="connsiteX200" fmla="*/ 405955 w 458152"/>
                <a:gd name="connsiteY200" fmla="*/ 135064 h 493775"/>
                <a:gd name="connsiteX201" fmla="*/ 399955 w 458152"/>
                <a:gd name="connsiteY201" fmla="*/ 144971 h 493775"/>
                <a:gd name="connsiteX202" fmla="*/ 403765 w 458152"/>
                <a:gd name="connsiteY202" fmla="*/ 146209 h 493775"/>
                <a:gd name="connsiteX203" fmla="*/ 405193 w 458152"/>
                <a:gd name="connsiteY203" fmla="*/ 156972 h 493775"/>
                <a:gd name="connsiteX204" fmla="*/ 403670 w 458152"/>
                <a:gd name="connsiteY204" fmla="*/ 158972 h 493775"/>
                <a:gd name="connsiteX205" fmla="*/ 398431 w 458152"/>
                <a:gd name="connsiteY205" fmla="*/ 161449 h 493775"/>
                <a:gd name="connsiteX206" fmla="*/ 392811 w 458152"/>
                <a:gd name="connsiteY206" fmla="*/ 160401 h 493775"/>
                <a:gd name="connsiteX207" fmla="*/ 387953 w 458152"/>
                <a:gd name="connsiteY207" fmla="*/ 164687 h 493775"/>
                <a:gd name="connsiteX208" fmla="*/ 390430 w 458152"/>
                <a:gd name="connsiteY208" fmla="*/ 169735 h 493775"/>
                <a:gd name="connsiteX209" fmla="*/ 384905 w 458152"/>
                <a:gd name="connsiteY209" fmla="*/ 183166 h 493775"/>
                <a:gd name="connsiteX210" fmla="*/ 391192 w 458152"/>
                <a:gd name="connsiteY210" fmla="*/ 189643 h 493775"/>
                <a:gd name="connsiteX211" fmla="*/ 390144 w 458152"/>
                <a:gd name="connsiteY211" fmla="*/ 195167 h 493775"/>
                <a:gd name="connsiteX212" fmla="*/ 394430 w 458152"/>
                <a:gd name="connsiteY212" fmla="*/ 200025 h 493775"/>
                <a:gd name="connsiteX213" fmla="*/ 393382 w 458152"/>
                <a:gd name="connsiteY213" fmla="*/ 205645 h 493775"/>
                <a:gd name="connsiteX214" fmla="*/ 399669 w 458152"/>
                <a:gd name="connsiteY214" fmla="*/ 212026 h 493775"/>
                <a:gd name="connsiteX215" fmla="*/ 399955 w 458152"/>
                <a:gd name="connsiteY215" fmla="*/ 213836 h 493775"/>
                <a:gd name="connsiteX216" fmla="*/ 396335 w 458152"/>
                <a:gd name="connsiteY216" fmla="*/ 214313 h 493775"/>
                <a:gd name="connsiteX217" fmla="*/ 398336 w 458152"/>
                <a:gd name="connsiteY217" fmla="*/ 215837 h 493775"/>
                <a:gd name="connsiteX218" fmla="*/ 399383 w 458152"/>
                <a:gd name="connsiteY218" fmla="*/ 237458 h 493775"/>
                <a:gd name="connsiteX219" fmla="*/ 405003 w 458152"/>
                <a:gd name="connsiteY219" fmla="*/ 238506 h 493775"/>
                <a:gd name="connsiteX220" fmla="*/ 407289 w 458152"/>
                <a:gd name="connsiteY220" fmla="*/ 241840 h 493775"/>
                <a:gd name="connsiteX221" fmla="*/ 414433 w 458152"/>
                <a:gd name="connsiteY221" fmla="*/ 240887 h 493775"/>
                <a:gd name="connsiteX222" fmla="*/ 418529 w 458152"/>
                <a:gd name="connsiteY222" fmla="*/ 244030 h 493775"/>
                <a:gd name="connsiteX223" fmla="*/ 415862 w 458152"/>
                <a:gd name="connsiteY223" fmla="*/ 251650 h 493775"/>
                <a:gd name="connsiteX224" fmla="*/ 419671 w 458152"/>
                <a:gd name="connsiteY224" fmla="*/ 252889 h 493775"/>
                <a:gd name="connsiteX225" fmla="*/ 422148 w 458152"/>
                <a:gd name="connsiteY225" fmla="*/ 258032 h 493775"/>
                <a:gd name="connsiteX226" fmla="*/ 418814 w 458152"/>
                <a:gd name="connsiteY226" fmla="*/ 260318 h 493775"/>
                <a:gd name="connsiteX227" fmla="*/ 426053 w 458152"/>
                <a:gd name="connsiteY227" fmla="*/ 259366 h 493775"/>
                <a:gd name="connsiteX228" fmla="*/ 428530 w 458152"/>
                <a:gd name="connsiteY228" fmla="*/ 264414 h 493775"/>
                <a:gd name="connsiteX229" fmla="*/ 425672 w 458152"/>
                <a:gd name="connsiteY229" fmla="*/ 270320 h 493775"/>
                <a:gd name="connsiteX230" fmla="*/ 423577 w 458152"/>
                <a:gd name="connsiteY230" fmla="*/ 268700 h 493775"/>
                <a:gd name="connsiteX231" fmla="*/ 420243 w 458152"/>
                <a:gd name="connsiteY231" fmla="*/ 270986 h 493775"/>
                <a:gd name="connsiteX232" fmla="*/ 414909 w 458152"/>
                <a:gd name="connsiteY232" fmla="*/ 271748 h 493775"/>
                <a:gd name="connsiteX233" fmla="*/ 411575 w 458152"/>
                <a:gd name="connsiteY233" fmla="*/ 273939 h 493775"/>
                <a:gd name="connsiteX234" fmla="*/ 404146 w 458152"/>
                <a:gd name="connsiteY234" fmla="*/ 273082 h 493775"/>
                <a:gd name="connsiteX235" fmla="*/ 401193 w 458152"/>
                <a:gd name="connsiteY235" fmla="*/ 278892 h 493775"/>
                <a:gd name="connsiteX236" fmla="*/ 401955 w 458152"/>
                <a:gd name="connsiteY236" fmla="*/ 284321 h 493775"/>
                <a:gd name="connsiteX237" fmla="*/ 397478 w 458152"/>
                <a:gd name="connsiteY237" fmla="*/ 292132 h 493775"/>
                <a:gd name="connsiteX238" fmla="*/ 398431 w 458152"/>
                <a:gd name="connsiteY238" fmla="*/ 299275 h 493775"/>
                <a:gd name="connsiteX239" fmla="*/ 403765 w 458152"/>
                <a:gd name="connsiteY239" fmla="*/ 298513 h 493775"/>
                <a:gd name="connsiteX240" fmla="*/ 405384 w 458152"/>
                <a:gd name="connsiteY240" fmla="*/ 296513 h 493775"/>
                <a:gd name="connsiteX241" fmla="*/ 409004 w 458152"/>
                <a:gd name="connsiteY241" fmla="*/ 296037 h 493775"/>
                <a:gd name="connsiteX242" fmla="*/ 408337 w 458152"/>
                <a:gd name="connsiteY242" fmla="*/ 305181 h 493775"/>
                <a:gd name="connsiteX243" fmla="*/ 429768 w 458152"/>
                <a:gd name="connsiteY243" fmla="*/ 315087 h 493775"/>
                <a:gd name="connsiteX244" fmla="*/ 438340 w 458152"/>
                <a:gd name="connsiteY244" fmla="*/ 324802 h 493775"/>
                <a:gd name="connsiteX245" fmla="*/ 451866 w 458152"/>
                <a:gd name="connsiteY245" fmla="*/ 330232 h 493775"/>
                <a:gd name="connsiteX246" fmla="*/ 458153 w 458152"/>
                <a:gd name="connsiteY246" fmla="*/ 336613 h 493775"/>
                <a:gd name="connsiteX247" fmla="*/ 457390 w 458152"/>
                <a:gd name="connsiteY247" fmla="*/ 344043 h 493775"/>
                <a:gd name="connsiteX248" fmla="*/ 455771 w 458152"/>
                <a:gd name="connsiteY248" fmla="*/ 346043 h 493775"/>
                <a:gd name="connsiteX249" fmla="*/ 453962 w 458152"/>
                <a:gd name="connsiteY249" fmla="*/ 346329 h 493775"/>
                <a:gd name="connsiteX250" fmla="*/ 456438 w 458152"/>
                <a:gd name="connsiteY250" fmla="*/ 351377 h 493775"/>
                <a:gd name="connsiteX251" fmla="*/ 451771 w 458152"/>
                <a:gd name="connsiteY251" fmla="*/ 357473 h 493775"/>
                <a:gd name="connsiteX252" fmla="*/ 439674 w 458152"/>
                <a:gd name="connsiteY252" fmla="*/ 348139 h 493775"/>
                <a:gd name="connsiteX253" fmla="*/ 435292 w 458152"/>
                <a:gd name="connsiteY253" fmla="*/ 343281 h 493775"/>
                <a:gd name="connsiteX254" fmla="*/ 427672 w 458152"/>
                <a:gd name="connsiteY254" fmla="*/ 340709 h 493775"/>
                <a:gd name="connsiteX255" fmla="*/ 419386 w 458152"/>
                <a:gd name="connsiteY255" fmla="*/ 347281 h 493775"/>
                <a:gd name="connsiteX256" fmla="*/ 418338 w 458152"/>
                <a:gd name="connsiteY256" fmla="*/ 352806 h 493775"/>
                <a:gd name="connsiteX257" fmla="*/ 416719 w 458152"/>
                <a:gd name="connsiteY257" fmla="*/ 354806 h 493775"/>
                <a:gd name="connsiteX258" fmla="*/ 421481 w 458152"/>
                <a:gd name="connsiteY258" fmla="*/ 363284 h 493775"/>
                <a:gd name="connsiteX259" fmla="*/ 425577 w 458152"/>
                <a:gd name="connsiteY259" fmla="*/ 366331 h 493775"/>
                <a:gd name="connsiteX260" fmla="*/ 430339 w 458152"/>
                <a:gd name="connsiteY260" fmla="*/ 374809 h 493775"/>
                <a:gd name="connsiteX261" fmla="*/ 434245 w 458152"/>
                <a:gd name="connsiteY261" fmla="*/ 390620 h 493775"/>
                <a:gd name="connsiteX262" fmla="*/ 431101 w 458152"/>
                <a:gd name="connsiteY262" fmla="*/ 394621 h 493775"/>
                <a:gd name="connsiteX263" fmla="*/ 438626 w 458152"/>
                <a:gd name="connsiteY263" fmla="*/ 395478 h 493775"/>
                <a:gd name="connsiteX264" fmla="*/ 442627 w 458152"/>
                <a:gd name="connsiteY264" fmla="*/ 398526 h 493775"/>
                <a:gd name="connsiteX265" fmla="*/ 441103 w 458152"/>
                <a:gd name="connsiteY265" fmla="*/ 400621 h 493775"/>
                <a:gd name="connsiteX266" fmla="*/ 432054 w 458152"/>
                <a:gd name="connsiteY266" fmla="*/ 401764 h 493775"/>
                <a:gd name="connsiteX267" fmla="*/ 422243 w 458152"/>
                <a:gd name="connsiteY267" fmla="*/ 410337 h 493775"/>
                <a:gd name="connsiteX268" fmla="*/ 420338 w 458152"/>
                <a:gd name="connsiteY268" fmla="*/ 423291 h 493775"/>
                <a:gd name="connsiteX269" fmla="*/ 415195 w 458152"/>
                <a:gd name="connsiteY269" fmla="*/ 425767 h 493775"/>
                <a:gd name="connsiteX270" fmla="*/ 412528 w 458152"/>
                <a:gd name="connsiteY270" fmla="*/ 433388 h 493775"/>
                <a:gd name="connsiteX271" fmla="*/ 414528 w 458152"/>
                <a:gd name="connsiteY271" fmla="*/ 434912 h 493775"/>
                <a:gd name="connsiteX272" fmla="*/ 419957 w 458152"/>
                <a:gd name="connsiteY272" fmla="*/ 434150 h 493775"/>
                <a:gd name="connsiteX273" fmla="*/ 422434 w 458152"/>
                <a:gd name="connsiteY273" fmla="*/ 439293 h 493775"/>
                <a:gd name="connsiteX274" fmla="*/ 428815 w 458152"/>
                <a:gd name="connsiteY274" fmla="*/ 445675 h 493775"/>
                <a:gd name="connsiteX275" fmla="*/ 434149 w 458152"/>
                <a:gd name="connsiteY275" fmla="*/ 445008 h 493775"/>
                <a:gd name="connsiteX276" fmla="*/ 442055 w 458152"/>
                <a:gd name="connsiteY276" fmla="*/ 449389 h 493775"/>
                <a:gd name="connsiteX277" fmla="*/ 447865 w 458152"/>
                <a:gd name="connsiteY277" fmla="*/ 452247 h 493775"/>
                <a:gd name="connsiteX278" fmla="*/ 439864 w 458152"/>
                <a:gd name="connsiteY278" fmla="*/ 460534 h 493775"/>
                <a:gd name="connsiteX279" fmla="*/ 427101 w 458152"/>
                <a:gd name="connsiteY279" fmla="*/ 460438 h 493775"/>
                <a:gd name="connsiteX280" fmla="*/ 415195 w 458152"/>
                <a:gd name="connsiteY280" fmla="*/ 467487 h 493775"/>
                <a:gd name="connsiteX281" fmla="*/ 414147 w 458152"/>
                <a:gd name="connsiteY281" fmla="*/ 473012 h 493775"/>
                <a:gd name="connsiteX282" fmla="*/ 410528 w 458152"/>
                <a:gd name="connsiteY282" fmla="*/ 473488 h 493775"/>
                <a:gd name="connsiteX283" fmla="*/ 405765 w 458152"/>
                <a:gd name="connsiteY283" fmla="*/ 465106 h 493775"/>
                <a:gd name="connsiteX284" fmla="*/ 395002 w 458152"/>
                <a:gd name="connsiteY284" fmla="*/ 466534 h 493775"/>
                <a:gd name="connsiteX285" fmla="*/ 390906 w 458152"/>
                <a:gd name="connsiteY285" fmla="*/ 463391 h 493775"/>
                <a:gd name="connsiteX286" fmla="*/ 385286 w 458152"/>
                <a:gd name="connsiteY286" fmla="*/ 462343 h 493775"/>
                <a:gd name="connsiteX287" fmla="*/ 383953 w 458152"/>
                <a:gd name="connsiteY287" fmla="*/ 466154 h 493775"/>
                <a:gd name="connsiteX288" fmla="*/ 386429 w 458152"/>
                <a:gd name="connsiteY288" fmla="*/ 471297 h 493775"/>
                <a:gd name="connsiteX289" fmla="*/ 385096 w 458152"/>
                <a:gd name="connsiteY289" fmla="*/ 475107 h 493775"/>
                <a:gd name="connsiteX290" fmla="*/ 367474 w 458152"/>
                <a:gd name="connsiteY290" fmla="*/ 493776 h 493775"/>
                <a:gd name="connsiteX291" fmla="*/ 361855 w 458152"/>
                <a:gd name="connsiteY291" fmla="*/ 492633 h 493775"/>
                <a:gd name="connsiteX292" fmla="*/ 351187 w 458152"/>
                <a:gd name="connsiteY292" fmla="*/ 481298 h 493775"/>
                <a:gd name="connsiteX293" fmla="*/ 345186 w 458152"/>
                <a:gd name="connsiteY293" fmla="*/ 476726 h 493775"/>
                <a:gd name="connsiteX294" fmla="*/ 339757 w 458152"/>
                <a:gd name="connsiteY294" fmla="*/ 477393 h 493775"/>
                <a:gd name="connsiteX295" fmla="*/ 338804 w 458152"/>
                <a:gd name="connsiteY295" fmla="*/ 470345 h 493775"/>
                <a:gd name="connsiteX296" fmla="*/ 329851 w 458152"/>
                <a:gd name="connsiteY296" fmla="*/ 471488 h 493775"/>
                <a:gd name="connsiteX297" fmla="*/ 325088 w 458152"/>
                <a:gd name="connsiteY297" fmla="*/ 463105 h 493775"/>
                <a:gd name="connsiteX298" fmla="*/ 326422 w 458152"/>
                <a:gd name="connsiteY298" fmla="*/ 459296 h 493775"/>
                <a:gd name="connsiteX299" fmla="*/ 318230 w 458152"/>
                <a:gd name="connsiteY299" fmla="*/ 453104 h 493775"/>
                <a:gd name="connsiteX300" fmla="*/ 315754 w 458152"/>
                <a:gd name="connsiteY300" fmla="*/ 447961 h 493775"/>
                <a:gd name="connsiteX301" fmla="*/ 309943 w 458152"/>
                <a:gd name="connsiteY301" fmla="*/ 445103 h 493775"/>
                <a:gd name="connsiteX302" fmla="*/ 307372 w 458152"/>
                <a:gd name="connsiteY302" fmla="*/ 440055 h 493775"/>
                <a:gd name="connsiteX303" fmla="*/ 294989 w 458152"/>
                <a:gd name="connsiteY303" fmla="*/ 443484 h 493775"/>
                <a:gd name="connsiteX304" fmla="*/ 292608 w 458152"/>
                <a:gd name="connsiteY304" fmla="*/ 438341 h 493775"/>
                <a:gd name="connsiteX305" fmla="*/ 288703 w 458152"/>
                <a:gd name="connsiteY305" fmla="*/ 437102 h 493775"/>
                <a:gd name="connsiteX306" fmla="*/ 287655 w 458152"/>
                <a:gd name="connsiteY306" fmla="*/ 442627 h 493775"/>
                <a:gd name="connsiteX307" fmla="*/ 279368 w 458152"/>
                <a:gd name="connsiteY307" fmla="*/ 449199 h 493775"/>
                <a:gd name="connsiteX308" fmla="*/ 277368 w 458152"/>
                <a:gd name="connsiteY308" fmla="*/ 447580 h 493775"/>
                <a:gd name="connsiteX309" fmla="*/ 292513 w 458152"/>
                <a:gd name="connsiteY309" fmla="*/ 465582 h 493775"/>
                <a:gd name="connsiteX310" fmla="*/ 288036 w 458152"/>
                <a:gd name="connsiteY310" fmla="*/ 473392 h 493775"/>
                <a:gd name="connsiteX311" fmla="*/ 277273 w 458152"/>
                <a:gd name="connsiteY311" fmla="*/ 474821 h 493775"/>
                <a:gd name="connsiteX312" fmla="*/ 271367 w 458152"/>
                <a:gd name="connsiteY312" fmla="*/ 471964 h 493775"/>
                <a:gd name="connsiteX313" fmla="*/ 268700 w 458152"/>
                <a:gd name="connsiteY313" fmla="*/ 465106 h 493775"/>
                <a:gd name="connsiteX314" fmla="*/ 272605 w 458152"/>
                <a:gd name="connsiteY314" fmla="*/ 453676 h 493775"/>
                <a:gd name="connsiteX315" fmla="*/ 262509 w 458152"/>
                <a:gd name="connsiteY315" fmla="*/ 445960 h 493775"/>
                <a:gd name="connsiteX316" fmla="*/ 264700 w 458152"/>
                <a:gd name="connsiteY316" fmla="*/ 434816 h 493775"/>
                <a:gd name="connsiteX317" fmla="*/ 261461 w 458152"/>
                <a:gd name="connsiteY317" fmla="*/ 424339 h 493775"/>
                <a:gd name="connsiteX318" fmla="*/ 256032 w 458152"/>
                <a:gd name="connsiteY318" fmla="*/ 425101 h 493775"/>
                <a:gd name="connsiteX319" fmla="*/ 257365 w 458152"/>
                <a:gd name="connsiteY319" fmla="*/ 421291 h 493775"/>
                <a:gd name="connsiteX320" fmla="*/ 253365 w 458152"/>
                <a:gd name="connsiteY320" fmla="*/ 418147 h 493775"/>
                <a:gd name="connsiteX321" fmla="*/ 249936 w 458152"/>
                <a:gd name="connsiteY321" fmla="*/ 420434 h 493775"/>
                <a:gd name="connsiteX322" fmla="*/ 238125 w 458152"/>
                <a:gd name="connsiteY322" fmla="*/ 427387 h 493775"/>
                <a:gd name="connsiteX323" fmla="*/ 238601 w 458152"/>
                <a:gd name="connsiteY323" fmla="*/ 431006 h 493775"/>
                <a:gd name="connsiteX324" fmla="*/ 231172 w 458152"/>
                <a:gd name="connsiteY324" fmla="*/ 430149 h 493775"/>
                <a:gd name="connsiteX325" fmla="*/ 227743 w 458152"/>
                <a:gd name="connsiteY325" fmla="*/ 432435 h 493775"/>
                <a:gd name="connsiteX326" fmla="*/ 224409 w 458152"/>
                <a:gd name="connsiteY326" fmla="*/ 434626 h 493775"/>
                <a:gd name="connsiteX327" fmla="*/ 219075 w 458152"/>
                <a:gd name="connsiteY327" fmla="*/ 435388 h 493775"/>
                <a:gd name="connsiteX328" fmla="*/ 217456 w 458152"/>
                <a:gd name="connsiteY328" fmla="*/ 437388 h 493775"/>
                <a:gd name="connsiteX329" fmla="*/ 215932 w 458152"/>
                <a:gd name="connsiteY329" fmla="*/ 439388 h 493775"/>
                <a:gd name="connsiteX330" fmla="*/ 196215 w 458152"/>
                <a:gd name="connsiteY330" fmla="*/ 442055 h 493775"/>
                <a:gd name="connsiteX331" fmla="*/ 194120 w 458152"/>
                <a:gd name="connsiteY331" fmla="*/ 440531 h 493775"/>
                <a:gd name="connsiteX332" fmla="*/ 192596 w 458152"/>
                <a:gd name="connsiteY332" fmla="*/ 442531 h 493775"/>
                <a:gd name="connsiteX333" fmla="*/ 186690 w 458152"/>
                <a:gd name="connsiteY333" fmla="*/ 439674 h 493775"/>
                <a:gd name="connsiteX334" fmla="*/ 189643 w 458152"/>
                <a:gd name="connsiteY334" fmla="*/ 433864 h 493775"/>
                <a:gd name="connsiteX335" fmla="*/ 187833 w 458152"/>
                <a:gd name="connsiteY335" fmla="*/ 434054 h 493775"/>
                <a:gd name="connsiteX336" fmla="*/ 182404 w 458152"/>
                <a:gd name="connsiteY336" fmla="*/ 434816 h 493775"/>
                <a:gd name="connsiteX337" fmla="*/ 185928 w 458152"/>
                <a:gd name="connsiteY337" fmla="*/ 419862 h 493775"/>
                <a:gd name="connsiteX338" fmla="*/ 182308 w 458152"/>
                <a:gd name="connsiteY338" fmla="*/ 420338 h 493775"/>
                <a:gd name="connsiteX339" fmla="*/ 180022 w 458152"/>
                <a:gd name="connsiteY339" fmla="*/ 417005 h 493775"/>
                <a:gd name="connsiteX340" fmla="*/ 176498 w 458152"/>
                <a:gd name="connsiteY340" fmla="*/ 417481 h 493775"/>
                <a:gd name="connsiteX341" fmla="*/ 173926 w 458152"/>
                <a:gd name="connsiteY341" fmla="*/ 412337 h 493775"/>
                <a:gd name="connsiteX342" fmla="*/ 168307 w 458152"/>
                <a:gd name="connsiteY342" fmla="*/ 411289 h 493775"/>
                <a:gd name="connsiteX343" fmla="*/ 162211 w 458152"/>
                <a:gd name="connsiteY343" fmla="*/ 406622 h 493775"/>
                <a:gd name="connsiteX344" fmla="*/ 163544 w 458152"/>
                <a:gd name="connsiteY344" fmla="*/ 402812 h 493775"/>
                <a:gd name="connsiteX345" fmla="*/ 168688 w 458152"/>
                <a:gd name="connsiteY345" fmla="*/ 400336 h 493775"/>
                <a:gd name="connsiteX346" fmla="*/ 169069 w 458152"/>
                <a:gd name="connsiteY346" fmla="*/ 389382 h 493775"/>
                <a:gd name="connsiteX347" fmla="*/ 172498 w 458152"/>
                <a:gd name="connsiteY347" fmla="*/ 387191 h 493775"/>
                <a:gd name="connsiteX348" fmla="*/ 169736 w 458152"/>
                <a:gd name="connsiteY348" fmla="*/ 380238 h 493775"/>
                <a:gd name="connsiteX349" fmla="*/ 156400 w 458152"/>
                <a:gd name="connsiteY349" fmla="*/ 376618 h 493775"/>
                <a:gd name="connsiteX350" fmla="*/ 154400 w 458152"/>
                <a:gd name="connsiteY350" fmla="*/ 374999 h 493775"/>
                <a:gd name="connsiteX351" fmla="*/ 159067 w 458152"/>
                <a:gd name="connsiteY351" fmla="*/ 368998 h 493775"/>
                <a:gd name="connsiteX352" fmla="*/ 158591 w 458152"/>
                <a:gd name="connsiteY352" fmla="*/ 365474 h 493775"/>
                <a:gd name="connsiteX353" fmla="*/ 159734 w 458152"/>
                <a:gd name="connsiteY353" fmla="*/ 359855 h 493775"/>
                <a:gd name="connsiteX354" fmla="*/ 159448 w 458152"/>
                <a:gd name="connsiteY354" fmla="*/ 358045 h 493775"/>
                <a:gd name="connsiteX355" fmla="*/ 152019 w 458152"/>
                <a:gd name="connsiteY355" fmla="*/ 357188 h 493775"/>
                <a:gd name="connsiteX356" fmla="*/ 144494 w 458152"/>
                <a:gd name="connsiteY356" fmla="*/ 369094 h 493775"/>
                <a:gd name="connsiteX357" fmla="*/ 141732 w 458152"/>
                <a:gd name="connsiteY357" fmla="*/ 362236 h 493775"/>
                <a:gd name="connsiteX358" fmla="*/ 137731 w 458152"/>
                <a:gd name="connsiteY358" fmla="*/ 359092 h 493775"/>
                <a:gd name="connsiteX359" fmla="*/ 133159 w 458152"/>
                <a:gd name="connsiteY359" fmla="*/ 352520 h 493775"/>
                <a:gd name="connsiteX360" fmla="*/ 124396 w 458152"/>
                <a:gd name="connsiteY360" fmla="*/ 355473 h 493775"/>
                <a:gd name="connsiteX361" fmla="*/ 120587 w 458152"/>
                <a:gd name="connsiteY361" fmla="*/ 354139 h 493775"/>
                <a:gd name="connsiteX362" fmla="*/ 114490 w 458152"/>
                <a:gd name="connsiteY362" fmla="*/ 349472 h 493775"/>
                <a:gd name="connsiteX363" fmla="*/ 107728 w 458152"/>
                <a:gd name="connsiteY363" fmla="*/ 354044 h 493775"/>
                <a:gd name="connsiteX364" fmla="*/ 103251 w 458152"/>
                <a:gd name="connsiteY364" fmla="*/ 347377 h 493775"/>
                <a:gd name="connsiteX365" fmla="*/ 106108 w 458152"/>
                <a:gd name="connsiteY365" fmla="*/ 341567 h 493775"/>
                <a:gd name="connsiteX366" fmla="*/ 112586 w 458152"/>
                <a:gd name="connsiteY366" fmla="*/ 335280 h 493775"/>
                <a:gd name="connsiteX367" fmla="*/ 112109 w 458152"/>
                <a:gd name="connsiteY367" fmla="*/ 331660 h 493775"/>
                <a:gd name="connsiteX368" fmla="*/ 98870 w 458152"/>
                <a:gd name="connsiteY368" fmla="*/ 328041 h 493775"/>
                <a:gd name="connsiteX369" fmla="*/ 98774 w 458152"/>
                <a:gd name="connsiteY369" fmla="*/ 313563 h 493775"/>
                <a:gd name="connsiteX370" fmla="*/ 96488 w 458152"/>
                <a:gd name="connsiteY370" fmla="*/ 310229 h 493775"/>
                <a:gd name="connsiteX371" fmla="*/ 93154 w 458152"/>
                <a:gd name="connsiteY371" fmla="*/ 312420 h 493775"/>
                <a:gd name="connsiteX372" fmla="*/ 97250 w 458152"/>
                <a:gd name="connsiteY372" fmla="*/ 315563 h 493775"/>
                <a:gd name="connsiteX373" fmla="*/ 92297 w 458152"/>
                <a:gd name="connsiteY373" fmla="*/ 319850 h 493775"/>
                <a:gd name="connsiteX374" fmla="*/ 91154 w 458152"/>
                <a:gd name="connsiteY374" fmla="*/ 325374 h 493775"/>
                <a:gd name="connsiteX375" fmla="*/ 87630 w 458152"/>
                <a:gd name="connsiteY375" fmla="*/ 325850 h 493775"/>
                <a:gd name="connsiteX376" fmla="*/ 86868 w 458152"/>
                <a:gd name="connsiteY376" fmla="*/ 320516 h 493775"/>
                <a:gd name="connsiteX377" fmla="*/ 83534 w 458152"/>
                <a:gd name="connsiteY377" fmla="*/ 322802 h 493775"/>
                <a:gd name="connsiteX378" fmla="*/ 82677 w 458152"/>
                <a:gd name="connsiteY378" fmla="*/ 330137 h 493775"/>
                <a:gd name="connsiteX379" fmla="*/ 80867 w 458152"/>
                <a:gd name="connsiteY379" fmla="*/ 330422 h 493775"/>
                <a:gd name="connsiteX380" fmla="*/ 80391 w 458152"/>
                <a:gd name="connsiteY380" fmla="*/ 326803 h 493775"/>
                <a:gd name="connsiteX381" fmla="*/ 81534 w 458152"/>
                <a:gd name="connsiteY381" fmla="*/ 321278 h 493775"/>
                <a:gd name="connsiteX382" fmla="*/ 80772 w 458152"/>
                <a:gd name="connsiteY382" fmla="*/ 315944 h 493775"/>
                <a:gd name="connsiteX383" fmla="*/ 76962 w 458152"/>
                <a:gd name="connsiteY383" fmla="*/ 314611 h 493775"/>
                <a:gd name="connsiteX384" fmla="*/ 73342 w 458152"/>
                <a:gd name="connsiteY384" fmla="*/ 315087 h 493775"/>
                <a:gd name="connsiteX385" fmla="*/ 72962 w 458152"/>
                <a:gd name="connsiteY385" fmla="*/ 325946 h 493775"/>
                <a:gd name="connsiteX386" fmla="*/ 69151 w 458152"/>
                <a:gd name="connsiteY386" fmla="*/ 324707 h 493775"/>
                <a:gd name="connsiteX387" fmla="*/ 68675 w 458152"/>
                <a:gd name="connsiteY387" fmla="*/ 321088 h 493775"/>
                <a:gd name="connsiteX388" fmla="*/ 65341 w 458152"/>
                <a:gd name="connsiteY388" fmla="*/ 323374 h 493775"/>
                <a:gd name="connsiteX389" fmla="*/ 71628 w 458152"/>
                <a:gd name="connsiteY389" fmla="*/ 329755 h 493775"/>
                <a:gd name="connsiteX390" fmla="*/ 70580 w 458152"/>
                <a:gd name="connsiteY390" fmla="*/ 335375 h 493775"/>
                <a:gd name="connsiteX391" fmla="*/ 70771 w 458152"/>
                <a:gd name="connsiteY391" fmla="*/ 337185 h 493775"/>
                <a:gd name="connsiteX392" fmla="*/ 66484 w 458152"/>
                <a:gd name="connsiteY392" fmla="*/ 332327 h 493775"/>
                <a:gd name="connsiteX393" fmla="*/ 60007 w 458152"/>
                <a:gd name="connsiteY393" fmla="*/ 338614 h 493775"/>
                <a:gd name="connsiteX394" fmla="*/ 67723 w 458152"/>
                <a:gd name="connsiteY394" fmla="*/ 341185 h 493775"/>
                <a:gd name="connsiteX395" fmla="*/ 68104 w 458152"/>
                <a:gd name="connsiteY395" fmla="*/ 344805 h 493775"/>
                <a:gd name="connsiteX396" fmla="*/ 68389 w 458152"/>
                <a:gd name="connsiteY396" fmla="*/ 346520 h 493775"/>
                <a:gd name="connsiteX397" fmla="*/ 61246 w 458152"/>
                <a:gd name="connsiteY397" fmla="*/ 347472 h 493775"/>
                <a:gd name="connsiteX398" fmla="*/ 62389 w 458152"/>
                <a:gd name="connsiteY398" fmla="*/ 356425 h 493775"/>
                <a:gd name="connsiteX399" fmla="*/ 56959 w 458152"/>
                <a:gd name="connsiteY399" fmla="*/ 357092 h 493775"/>
                <a:gd name="connsiteX400" fmla="*/ 42577 w 458152"/>
                <a:gd name="connsiteY400" fmla="*/ 344519 h 493775"/>
                <a:gd name="connsiteX401" fmla="*/ 33052 w 458152"/>
                <a:gd name="connsiteY401" fmla="*/ 342138 h 493775"/>
                <a:gd name="connsiteX402" fmla="*/ 30385 w 458152"/>
                <a:gd name="connsiteY402" fmla="*/ 335280 h 493775"/>
                <a:gd name="connsiteX403" fmla="*/ 24670 w 458152"/>
                <a:gd name="connsiteY403" fmla="*/ 334137 h 49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</a:cxnLst>
              <a:rect l="l" t="t" r="r" b="b"/>
              <a:pathLst>
                <a:path w="458152" h="493775">
                  <a:moveTo>
                    <a:pt x="24670" y="334137"/>
                  </a:moveTo>
                  <a:lnTo>
                    <a:pt x="25337" y="325088"/>
                  </a:lnTo>
                  <a:lnTo>
                    <a:pt x="24384" y="317945"/>
                  </a:lnTo>
                  <a:lnTo>
                    <a:pt x="27241" y="312039"/>
                  </a:lnTo>
                  <a:lnTo>
                    <a:pt x="30671" y="309848"/>
                  </a:lnTo>
                  <a:lnTo>
                    <a:pt x="27908" y="302990"/>
                  </a:lnTo>
                  <a:lnTo>
                    <a:pt x="20955" y="305657"/>
                  </a:lnTo>
                  <a:lnTo>
                    <a:pt x="17145" y="304324"/>
                  </a:lnTo>
                  <a:lnTo>
                    <a:pt x="14668" y="299275"/>
                  </a:lnTo>
                  <a:lnTo>
                    <a:pt x="19526" y="294989"/>
                  </a:lnTo>
                  <a:lnTo>
                    <a:pt x="15430" y="291941"/>
                  </a:lnTo>
                  <a:lnTo>
                    <a:pt x="16573" y="286321"/>
                  </a:lnTo>
                  <a:lnTo>
                    <a:pt x="21717" y="283845"/>
                  </a:lnTo>
                  <a:lnTo>
                    <a:pt x="11049" y="272510"/>
                  </a:lnTo>
                  <a:lnTo>
                    <a:pt x="11716" y="263366"/>
                  </a:lnTo>
                  <a:lnTo>
                    <a:pt x="14573" y="257556"/>
                  </a:lnTo>
                  <a:lnTo>
                    <a:pt x="22860" y="251079"/>
                  </a:lnTo>
                  <a:lnTo>
                    <a:pt x="25717" y="245173"/>
                  </a:lnTo>
                  <a:lnTo>
                    <a:pt x="18955" y="235267"/>
                  </a:lnTo>
                  <a:lnTo>
                    <a:pt x="32575" y="228029"/>
                  </a:lnTo>
                  <a:lnTo>
                    <a:pt x="33242" y="218884"/>
                  </a:lnTo>
                  <a:lnTo>
                    <a:pt x="26003" y="219742"/>
                  </a:lnTo>
                  <a:lnTo>
                    <a:pt x="22003" y="216694"/>
                  </a:lnTo>
                  <a:lnTo>
                    <a:pt x="23336" y="212884"/>
                  </a:lnTo>
                  <a:lnTo>
                    <a:pt x="26194" y="207073"/>
                  </a:lnTo>
                  <a:lnTo>
                    <a:pt x="20764" y="207835"/>
                  </a:lnTo>
                  <a:lnTo>
                    <a:pt x="21241" y="211360"/>
                  </a:lnTo>
                  <a:lnTo>
                    <a:pt x="17431" y="210026"/>
                  </a:lnTo>
                  <a:lnTo>
                    <a:pt x="9239" y="203835"/>
                  </a:lnTo>
                  <a:lnTo>
                    <a:pt x="6763" y="198787"/>
                  </a:lnTo>
                  <a:lnTo>
                    <a:pt x="8382" y="196787"/>
                  </a:lnTo>
                  <a:lnTo>
                    <a:pt x="7906" y="193167"/>
                  </a:lnTo>
                  <a:lnTo>
                    <a:pt x="0" y="188785"/>
                  </a:lnTo>
                  <a:lnTo>
                    <a:pt x="1524" y="186785"/>
                  </a:lnTo>
                  <a:lnTo>
                    <a:pt x="8763" y="185833"/>
                  </a:lnTo>
                  <a:lnTo>
                    <a:pt x="12763" y="188881"/>
                  </a:lnTo>
                  <a:lnTo>
                    <a:pt x="17812" y="199072"/>
                  </a:lnTo>
                  <a:lnTo>
                    <a:pt x="28384" y="195929"/>
                  </a:lnTo>
                  <a:lnTo>
                    <a:pt x="31528" y="191929"/>
                  </a:lnTo>
                  <a:lnTo>
                    <a:pt x="31051" y="188309"/>
                  </a:lnTo>
                  <a:lnTo>
                    <a:pt x="35909" y="184023"/>
                  </a:lnTo>
                  <a:lnTo>
                    <a:pt x="43529" y="172212"/>
                  </a:lnTo>
                  <a:lnTo>
                    <a:pt x="48863" y="171450"/>
                  </a:lnTo>
                  <a:lnTo>
                    <a:pt x="57531" y="154019"/>
                  </a:lnTo>
                  <a:lnTo>
                    <a:pt x="54292" y="143542"/>
                  </a:lnTo>
                  <a:lnTo>
                    <a:pt x="49339" y="133350"/>
                  </a:lnTo>
                  <a:lnTo>
                    <a:pt x="36481" y="133159"/>
                  </a:lnTo>
                  <a:lnTo>
                    <a:pt x="34480" y="131635"/>
                  </a:lnTo>
                  <a:lnTo>
                    <a:pt x="29051" y="132397"/>
                  </a:lnTo>
                  <a:lnTo>
                    <a:pt x="28575" y="128778"/>
                  </a:lnTo>
                  <a:lnTo>
                    <a:pt x="22955" y="127730"/>
                  </a:lnTo>
                  <a:lnTo>
                    <a:pt x="22765" y="126016"/>
                  </a:lnTo>
                  <a:lnTo>
                    <a:pt x="18955" y="124682"/>
                  </a:lnTo>
                  <a:lnTo>
                    <a:pt x="18193" y="119348"/>
                  </a:lnTo>
                  <a:lnTo>
                    <a:pt x="16192" y="117729"/>
                  </a:lnTo>
                  <a:lnTo>
                    <a:pt x="15716" y="114205"/>
                  </a:lnTo>
                  <a:lnTo>
                    <a:pt x="24670" y="112967"/>
                  </a:lnTo>
                  <a:lnTo>
                    <a:pt x="26003" y="109156"/>
                  </a:lnTo>
                  <a:lnTo>
                    <a:pt x="30480" y="101346"/>
                  </a:lnTo>
                  <a:lnTo>
                    <a:pt x="29337" y="92488"/>
                  </a:lnTo>
                  <a:lnTo>
                    <a:pt x="31337" y="94012"/>
                  </a:lnTo>
                  <a:lnTo>
                    <a:pt x="32671" y="90202"/>
                  </a:lnTo>
                  <a:lnTo>
                    <a:pt x="33242" y="81058"/>
                  </a:lnTo>
                  <a:lnTo>
                    <a:pt x="30766" y="75914"/>
                  </a:lnTo>
                  <a:lnTo>
                    <a:pt x="34576" y="77248"/>
                  </a:lnTo>
                  <a:lnTo>
                    <a:pt x="39338" y="85630"/>
                  </a:lnTo>
                  <a:lnTo>
                    <a:pt x="46768" y="86487"/>
                  </a:lnTo>
                  <a:lnTo>
                    <a:pt x="45815" y="79343"/>
                  </a:lnTo>
                  <a:lnTo>
                    <a:pt x="55626" y="70866"/>
                  </a:lnTo>
                  <a:lnTo>
                    <a:pt x="52673" y="62103"/>
                  </a:lnTo>
                  <a:lnTo>
                    <a:pt x="55626" y="56388"/>
                  </a:lnTo>
                  <a:lnTo>
                    <a:pt x="61436" y="59150"/>
                  </a:lnTo>
                  <a:lnTo>
                    <a:pt x="68389" y="56483"/>
                  </a:lnTo>
                  <a:lnTo>
                    <a:pt x="71247" y="50673"/>
                  </a:lnTo>
                  <a:lnTo>
                    <a:pt x="75152" y="51911"/>
                  </a:lnTo>
                  <a:lnTo>
                    <a:pt x="74866" y="50197"/>
                  </a:lnTo>
                  <a:lnTo>
                    <a:pt x="82772" y="54578"/>
                  </a:lnTo>
                  <a:lnTo>
                    <a:pt x="80581" y="65722"/>
                  </a:lnTo>
                  <a:lnTo>
                    <a:pt x="82391" y="65532"/>
                  </a:lnTo>
                  <a:lnTo>
                    <a:pt x="87249" y="61150"/>
                  </a:lnTo>
                  <a:lnTo>
                    <a:pt x="91154" y="62484"/>
                  </a:lnTo>
                  <a:lnTo>
                    <a:pt x="94202" y="58483"/>
                  </a:lnTo>
                  <a:lnTo>
                    <a:pt x="103441" y="59055"/>
                  </a:lnTo>
                  <a:lnTo>
                    <a:pt x="116681" y="48292"/>
                  </a:lnTo>
                  <a:lnTo>
                    <a:pt x="120301" y="47816"/>
                  </a:lnTo>
                  <a:lnTo>
                    <a:pt x="129064" y="59341"/>
                  </a:lnTo>
                  <a:lnTo>
                    <a:pt x="132874" y="60579"/>
                  </a:lnTo>
                  <a:lnTo>
                    <a:pt x="136303" y="58388"/>
                  </a:lnTo>
                  <a:lnTo>
                    <a:pt x="138303" y="59912"/>
                  </a:lnTo>
                  <a:lnTo>
                    <a:pt x="143923" y="60960"/>
                  </a:lnTo>
                  <a:lnTo>
                    <a:pt x="143446" y="57436"/>
                  </a:lnTo>
                  <a:lnTo>
                    <a:pt x="158305" y="59055"/>
                  </a:lnTo>
                  <a:lnTo>
                    <a:pt x="161639" y="56769"/>
                  </a:lnTo>
                  <a:lnTo>
                    <a:pt x="163925" y="60103"/>
                  </a:lnTo>
                  <a:lnTo>
                    <a:pt x="167259" y="57912"/>
                  </a:lnTo>
                  <a:lnTo>
                    <a:pt x="164782" y="52768"/>
                  </a:lnTo>
                  <a:lnTo>
                    <a:pt x="164021" y="47434"/>
                  </a:lnTo>
                  <a:lnTo>
                    <a:pt x="168497" y="39624"/>
                  </a:lnTo>
                  <a:lnTo>
                    <a:pt x="168021" y="36004"/>
                  </a:lnTo>
                  <a:lnTo>
                    <a:pt x="169545" y="34004"/>
                  </a:lnTo>
                  <a:lnTo>
                    <a:pt x="168878" y="28670"/>
                  </a:lnTo>
                  <a:lnTo>
                    <a:pt x="167449" y="17907"/>
                  </a:lnTo>
                  <a:lnTo>
                    <a:pt x="174212" y="13430"/>
                  </a:lnTo>
                  <a:lnTo>
                    <a:pt x="171736" y="8382"/>
                  </a:lnTo>
                  <a:lnTo>
                    <a:pt x="176879" y="5810"/>
                  </a:lnTo>
                  <a:lnTo>
                    <a:pt x="182213" y="5143"/>
                  </a:lnTo>
                  <a:lnTo>
                    <a:pt x="184499" y="8477"/>
                  </a:lnTo>
                  <a:lnTo>
                    <a:pt x="188119" y="8001"/>
                  </a:lnTo>
                  <a:lnTo>
                    <a:pt x="192976" y="3715"/>
                  </a:lnTo>
                  <a:lnTo>
                    <a:pt x="195739" y="10573"/>
                  </a:lnTo>
                  <a:lnTo>
                    <a:pt x="205454" y="14764"/>
                  </a:lnTo>
                  <a:lnTo>
                    <a:pt x="210312" y="10477"/>
                  </a:lnTo>
                  <a:lnTo>
                    <a:pt x="214408" y="13621"/>
                  </a:lnTo>
                  <a:lnTo>
                    <a:pt x="219837" y="12859"/>
                  </a:lnTo>
                  <a:lnTo>
                    <a:pt x="220028" y="14668"/>
                  </a:lnTo>
                  <a:lnTo>
                    <a:pt x="221837" y="14383"/>
                  </a:lnTo>
                  <a:lnTo>
                    <a:pt x="230314" y="9620"/>
                  </a:lnTo>
                  <a:lnTo>
                    <a:pt x="233934" y="9144"/>
                  </a:lnTo>
                  <a:lnTo>
                    <a:pt x="231934" y="7620"/>
                  </a:lnTo>
                  <a:lnTo>
                    <a:pt x="232981" y="2000"/>
                  </a:lnTo>
                  <a:lnTo>
                    <a:pt x="234601" y="0"/>
                  </a:lnTo>
                  <a:lnTo>
                    <a:pt x="247840" y="3715"/>
                  </a:lnTo>
                  <a:lnTo>
                    <a:pt x="262509" y="18097"/>
                  </a:lnTo>
                  <a:lnTo>
                    <a:pt x="270605" y="9811"/>
                  </a:lnTo>
                  <a:lnTo>
                    <a:pt x="280035" y="12192"/>
                  </a:lnTo>
                  <a:lnTo>
                    <a:pt x="279559" y="8572"/>
                  </a:lnTo>
                  <a:lnTo>
                    <a:pt x="273939" y="7525"/>
                  </a:lnTo>
                  <a:lnTo>
                    <a:pt x="275463" y="5429"/>
                  </a:lnTo>
                  <a:lnTo>
                    <a:pt x="287179" y="11239"/>
                  </a:lnTo>
                  <a:lnTo>
                    <a:pt x="290989" y="12478"/>
                  </a:lnTo>
                  <a:lnTo>
                    <a:pt x="294418" y="10192"/>
                  </a:lnTo>
                  <a:lnTo>
                    <a:pt x="298228" y="11525"/>
                  </a:lnTo>
                  <a:lnTo>
                    <a:pt x="303086" y="7239"/>
                  </a:lnTo>
                  <a:lnTo>
                    <a:pt x="301562" y="9334"/>
                  </a:lnTo>
                  <a:lnTo>
                    <a:pt x="320421" y="14002"/>
                  </a:lnTo>
                  <a:lnTo>
                    <a:pt x="323469" y="22670"/>
                  </a:lnTo>
                  <a:lnTo>
                    <a:pt x="328803" y="22003"/>
                  </a:lnTo>
                  <a:lnTo>
                    <a:pt x="330613" y="21717"/>
                  </a:lnTo>
                  <a:lnTo>
                    <a:pt x="354044" y="33147"/>
                  </a:lnTo>
                  <a:lnTo>
                    <a:pt x="359664" y="34195"/>
                  </a:lnTo>
                  <a:lnTo>
                    <a:pt x="371856" y="43529"/>
                  </a:lnTo>
                  <a:lnTo>
                    <a:pt x="381381" y="45910"/>
                  </a:lnTo>
                  <a:lnTo>
                    <a:pt x="400812" y="41434"/>
                  </a:lnTo>
                  <a:lnTo>
                    <a:pt x="401098" y="43243"/>
                  </a:lnTo>
                  <a:lnTo>
                    <a:pt x="394145" y="46006"/>
                  </a:lnTo>
                  <a:lnTo>
                    <a:pt x="392811" y="49816"/>
                  </a:lnTo>
                  <a:lnTo>
                    <a:pt x="389477" y="52006"/>
                  </a:lnTo>
                  <a:lnTo>
                    <a:pt x="387667" y="52292"/>
                  </a:lnTo>
                  <a:lnTo>
                    <a:pt x="386620" y="57817"/>
                  </a:lnTo>
                  <a:lnTo>
                    <a:pt x="390430" y="59150"/>
                  </a:lnTo>
                  <a:lnTo>
                    <a:pt x="395192" y="67627"/>
                  </a:lnTo>
                  <a:lnTo>
                    <a:pt x="399002" y="68961"/>
                  </a:lnTo>
                  <a:lnTo>
                    <a:pt x="397955" y="74485"/>
                  </a:lnTo>
                  <a:lnTo>
                    <a:pt x="390715" y="75438"/>
                  </a:lnTo>
                  <a:lnTo>
                    <a:pt x="382048" y="78391"/>
                  </a:lnTo>
                  <a:lnTo>
                    <a:pt x="379952" y="76867"/>
                  </a:lnTo>
                  <a:lnTo>
                    <a:pt x="377476" y="71723"/>
                  </a:lnTo>
                  <a:lnTo>
                    <a:pt x="371570" y="68866"/>
                  </a:lnTo>
                  <a:lnTo>
                    <a:pt x="368237" y="71152"/>
                  </a:lnTo>
                  <a:lnTo>
                    <a:pt x="365760" y="66104"/>
                  </a:lnTo>
                  <a:lnTo>
                    <a:pt x="364617" y="71628"/>
                  </a:lnTo>
                  <a:lnTo>
                    <a:pt x="362426" y="68294"/>
                  </a:lnTo>
                  <a:lnTo>
                    <a:pt x="354711" y="65722"/>
                  </a:lnTo>
                  <a:lnTo>
                    <a:pt x="348424" y="59246"/>
                  </a:lnTo>
                  <a:lnTo>
                    <a:pt x="351187" y="66199"/>
                  </a:lnTo>
                  <a:lnTo>
                    <a:pt x="349377" y="66389"/>
                  </a:lnTo>
                  <a:lnTo>
                    <a:pt x="350044" y="71723"/>
                  </a:lnTo>
                  <a:lnTo>
                    <a:pt x="346615" y="74009"/>
                  </a:lnTo>
                  <a:lnTo>
                    <a:pt x="346900" y="75819"/>
                  </a:lnTo>
                  <a:lnTo>
                    <a:pt x="349853" y="84487"/>
                  </a:lnTo>
                  <a:lnTo>
                    <a:pt x="348805" y="90011"/>
                  </a:lnTo>
                  <a:lnTo>
                    <a:pt x="350806" y="91630"/>
                  </a:lnTo>
                  <a:lnTo>
                    <a:pt x="356235" y="90868"/>
                  </a:lnTo>
                  <a:lnTo>
                    <a:pt x="354711" y="92869"/>
                  </a:lnTo>
                  <a:lnTo>
                    <a:pt x="355187" y="96488"/>
                  </a:lnTo>
                  <a:lnTo>
                    <a:pt x="352044" y="100489"/>
                  </a:lnTo>
                  <a:lnTo>
                    <a:pt x="349377" y="108109"/>
                  </a:lnTo>
                  <a:lnTo>
                    <a:pt x="344424" y="112395"/>
                  </a:lnTo>
                  <a:lnTo>
                    <a:pt x="341852" y="120015"/>
                  </a:lnTo>
                  <a:lnTo>
                    <a:pt x="350996" y="120587"/>
                  </a:lnTo>
                  <a:lnTo>
                    <a:pt x="359759" y="117634"/>
                  </a:lnTo>
                  <a:lnTo>
                    <a:pt x="362045" y="120967"/>
                  </a:lnTo>
                  <a:lnTo>
                    <a:pt x="369189" y="120015"/>
                  </a:lnTo>
                  <a:lnTo>
                    <a:pt x="372808" y="119539"/>
                  </a:lnTo>
                  <a:lnTo>
                    <a:pt x="382048" y="120110"/>
                  </a:lnTo>
                  <a:lnTo>
                    <a:pt x="384524" y="125254"/>
                  </a:lnTo>
                  <a:lnTo>
                    <a:pt x="394430" y="131159"/>
                  </a:lnTo>
                  <a:lnTo>
                    <a:pt x="405479" y="131540"/>
                  </a:lnTo>
                  <a:lnTo>
                    <a:pt x="407003" y="129540"/>
                  </a:lnTo>
                  <a:lnTo>
                    <a:pt x="409289" y="132779"/>
                  </a:lnTo>
                  <a:lnTo>
                    <a:pt x="412432" y="128778"/>
                  </a:lnTo>
                  <a:lnTo>
                    <a:pt x="412623" y="130588"/>
                  </a:lnTo>
                  <a:lnTo>
                    <a:pt x="418052" y="129826"/>
                  </a:lnTo>
                  <a:lnTo>
                    <a:pt x="418529" y="133445"/>
                  </a:lnTo>
                  <a:lnTo>
                    <a:pt x="423481" y="129159"/>
                  </a:lnTo>
                  <a:lnTo>
                    <a:pt x="427291" y="130397"/>
                  </a:lnTo>
                  <a:lnTo>
                    <a:pt x="429292" y="132017"/>
                  </a:lnTo>
                  <a:lnTo>
                    <a:pt x="425958" y="134207"/>
                  </a:lnTo>
                  <a:lnTo>
                    <a:pt x="416909" y="135446"/>
                  </a:lnTo>
                  <a:lnTo>
                    <a:pt x="412909" y="132302"/>
                  </a:lnTo>
                  <a:lnTo>
                    <a:pt x="405955" y="135064"/>
                  </a:lnTo>
                  <a:lnTo>
                    <a:pt x="399955" y="144971"/>
                  </a:lnTo>
                  <a:lnTo>
                    <a:pt x="403765" y="146209"/>
                  </a:lnTo>
                  <a:lnTo>
                    <a:pt x="405193" y="156972"/>
                  </a:lnTo>
                  <a:lnTo>
                    <a:pt x="403670" y="158972"/>
                  </a:lnTo>
                  <a:lnTo>
                    <a:pt x="398431" y="161449"/>
                  </a:lnTo>
                  <a:lnTo>
                    <a:pt x="392811" y="160401"/>
                  </a:lnTo>
                  <a:lnTo>
                    <a:pt x="387953" y="164687"/>
                  </a:lnTo>
                  <a:lnTo>
                    <a:pt x="390430" y="169735"/>
                  </a:lnTo>
                  <a:lnTo>
                    <a:pt x="384905" y="183166"/>
                  </a:lnTo>
                  <a:lnTo>
                    <a:pt x="391192" y="189643"/>
                  </a:lnTo>
                  <a:lnTo>
                    <a:pt x="390144" y="195167"/>
                  </a:lnTo>
                  <a:lnTo>
                    <a:pt x="394430" y="200025"/>
                  </a:lnTo>
                  <a:lnTo>
                    <a:pt x="393382" y="205645"/>
                  </a:lnTo>
                  <a:lnTo>
                    <a:pt x="399669" y="212026"/>
                  </a:lnTo>
                  <a:lnTo>
                    <a:pt x="399955" y="213836"/>
                  </a:lnTo>
                  <a:lnTo>
                    <a:pt x="396335" y="214313"/>
                  </a:lnTo>
                  <a:lnTo>
                    <a:pt x="398336" y="215837"/>
                  </a:lnTo>
                  <a:lnTo>
                    <a:pt x="399383" y="237458"/>
                  </a:lnTo>
                  <a:lnTo>
                    <a:pt x="405003" y="238506"/>
                  </a:lnTo>
                  <a:lnTo>
                    <a:pt x="407289" y="241840"/>
                  </a:lnTo>
                  <a:lnTo>
                    <a:pt x="414433" y="240887"/>
                  </a:lnTo>
                  <a:lnTo>
                    <a:pt x="418529" y="244030"/>
                  </a:lnTo>
                  <a:lnTo>
                    <a:pt x="415862" y="251650"/>
                  </a:lnTo>
                  <a:lnTo>
                    <a:pt x="419671" y="252889"/>
                  </a:lnTo>
                  <a:lnTo>
                    <a:pt x="422148" y="258032"/>
                  </a:lnTo>
                  <a:lnTo>
                    <a:pt x="418814" y="260318"/>
                  </a:lnTo>
                  <a:lnTo>
                    <a:pt x="426053" y="259366"/>
                  </a:lnTo>
                  <a:lnTo>
                    <a:pt x="428530" y="264414"/>
                  </a:lnTo>
                  <a:lnTo>
                    <a:pt x="425672" y="270320"/>
                  </a:lnTo>
                  <a:lnTo>
                    <a:pt x="423577" y="268700"/>
                  </a:lnTo>
                  <a:lnTo>
                    <a:pt x="420243" y="270986"/>
                  </a:lnTo>
                  <a:lnTo>
                    <a:pt x="414909" y="271748"/>
                  </a:lnTo>
                  <a:lnTo>
                    <a:pt x="411575" y="273939"/>
                  </a:lnTo>
                  <a:lnTo>
                    <a:pt x="404146" y="273082"/>
                  </a:lnTo>
                  <a:lnTo>
                    <a:pt x="401193" y="278892"/>
                  </a:lnTo>
                  <a:lnTo>
                    <a:pt x="401955" y="284321"/>
                  </a:lnTo>
                  <a:lnTo>
                    <a:pt x="397478" y="292132"/>
                  </a:lnTo>
                  <a:lnTo>
                    <a:pt x="398431" y="299275"/>
                  </a:lnTo>
                  <a:lnTo>
                    <a:pt x="403765" y="298513"/>
                  </a:lnTo>
                  <a:lnTo>
                    <a:pt x="405384" y="296513"/>
                  </a:lnTo>
                  <a:lnTo>
                    <a:pt x="409004" y="296037"/>
                  </a:lnTo>
                  <a:lnTo>
                    <a:pt x="408337" y="305181"/>
                  </a:lnTo>
                  <a:lnTo>
                    <a:pt x="429768" y="315087"/>
                  </a:lnTo>
                  <a:lnTo>
                    <a:pt x="438340" y="324802"/>
                  </a:lnTo>
                  <a:lnTo>
                    <a:pt x="451866" y="330232"/>
                  </a:lnTo>
                  <a:lnTo>
                    <a:pt x="458153" y="336613"/>
                  </a:lnTo>
                  <a:lnTo>
                    <a:pt x="457390" y="344043"/>
                  </a:lnTo>
                  <a:lnTo>
                    <a:pt x="455771" y="346043"/>
                  </a:lnTo>
                  <a:lnTo>
                    <a:pt x="453962" y="346329"/>
                  </a:lnTo>
                  <a:lnTo>
                    <a:pt x="456438" y="351377"/>
                  </a:lnTo>
                  <a:lnTo>
                    <a:pt x="451771" y="357473"/>
                  </a:lnTo>
                  <a:lnTo>
                    <a:pt x="439674" y="348139"/>
                  </a:lnTo>
                  <a:lnTo>
                    <a:pt x="435292" y="343281"/>
                  </a:lnTo>
                  <a:lnTo>
                    <a:pt x="427672" y="340709"/>
                  </a:lnTo>
                  <a:lnTo>
                    <a:pt x="419386" y="347281"/>
                  </a:lnTo>
                  <a:lnTo>
                    <a:pt x="418338" y="352806"/>
                  </a:lnTo>
                  <a:lnTo>
                    <a:pt x="416719" y="354806"/>
                  </a:lnTo>
                  <a:lnTo>
                    <a:pt x="421481" y="363284"/>
                  </a:lnTo>
                  <a:lnTo>
                    <a:pt x="425577" y="366331"/>
                  </a:lnTo>
                  <a:lnTo>
                    <a:pt x="430339" y="374809"/>
                  </a:lnTo>
                  <a:lnTo>
                    <a:pt x="434245" y="390620"/>
                  </a:lnTo>
                  <a:lnTo>
                    <a:pt x="431101" y="394621"/>
                  </a:lnTo>
                  <a:lnTo>
                    <a:pt x="438626" y="395478"/>
                  </a:lnTo>
                  <a:lnTo>
                    <a:pt x="442627" y="398526"/>
                  </a:lnTo>
                  <a:lnTo>
                    <a:pt x="441103" y="400621"/>
                  </a:lnTo>
                  <a:lnTo>
                    <a:pt x="432054" y="401764"/>
                  </a:lnTo>
                  <a:lnTo>
                    <a:pt x="422243" y="410337"/>
                  </a:lnTo>
                  <a:lnTo>
                    <a:pt x="420338" y="423291"/>
                  </a:lnTo>
                  <a:lnTo>
                    <a:pt x="415195" y="425767"/>
                  </a:lnTo>
                  <a:lnTo>
                    <a:pt x="412528" y="433388"/>
                  </a:lnTo>
                  <a:lnTo>
                    <a:pt x="414528" y="434912"/>
                  </a:lnTo>
                  <a:lnTo>
                    <a:pt x="419957" y="434150"/>
                  </a:lnTo>
                  <a:lnTo>
                    <a:pt x="422434" y="439293"/>
                  </a:lnTo>
                  <a:lnTo>
                    <a:pt x="428815" y="445675"/>
                  </a:lnTo>
                  <a:lnTo>
                    <a:pt x="434149" y="445008"/>
                  </a:lnTo>
                  <a:lnTo>
                    <a:pt x="442055" y="449389"/>
                  </a:lnTo>
                  <a:lnTo>
                    <a:pt x="447865" y="452247"/>
                  </a:lnTo>
                  <a:lnTo>
                    <a:pt x="439864" y="460534"/>
                  </a:lnTo>
                  <a:lnTo>
                    <a:pt x="427101" y="460438"/>
                  </a:lnTo>
                  <a:lnTo>
                    <a:pt x="415195" y="467487"/>
                  </a:lnTo>
                  <a:lnTo>
                    <a:pt x="414147" y="473012"/>
                  </a:lnTo>
                  <a:lnTo>
                    <a:pt x="410528" y="473488"/>
                  </a:lnTo>
                  <a:lnTo>
                    <a:pt x="405765" y="465106"/>
                  </a:lnTo>
                  <a:lnTo>
                    <a:pt x="395002" y="466534"/>
                  </a:lnTo>
                  <a:lnTo>
                    <a:pt x="390906" y="463391"/>
                  </a:lnTo>
                  <a:lnTo>
                    <a:pt x="385286" y="462343"/>
                  </a:lnTo>
                  <a:lnTo>
                    <a:pt x="383953" y="466154"/>
                  </a:lnTo>
                  <a:lnTo>
                    <a:pt x="386429" y="471297"/>
                  </a:lnTo>
                  <a:lnTo>
                    <a:pt x="385096" y="475107"/>
                  </a:lnTo>
                  <a:lnTo>
                    <a:pt x="367474" y="493776"/>
                  </a:lnTo>
                  <a:lnTo>
                    <a:pt x="361855" y="492633"/>
                  </a:lnTo>
                  <a:lnTo>
                    <a:pt x="351187" y="481298"/>
                  </a:lnTo>
                  <a:lnTo>
                    <a:pt x="345186" y="476726"/>
                  </a:lnTo>
                  <a:lnTo>
                    <a:pt x="339757" y="477393"/>
                  </a:lnTo>
                  <a:lnTo>
                    <a:pt x="338804" y="470345"/>
                  </a:lnTo>
                  <a:lnTo>
                    <a:pt x="329851" y="471488"/>
                  </a:lnTo>
                  <a:lnTo>
                    <a:pt x="325088" y="463105"/>
                  </a:lnTo>
                  <a:lnTo>
                    <a:pt x="326422" y="459296"/>
                  </a:lnTo>
                  <a:lnTo>
                    <a:pt x="318230" y="453104"/>
                  </a:lnTo>
                  <a:lnTo>
                    <a:pt x="315754" y="447961"/>
                  </a:lnTo>
                  <a:lnTo>
                    <a:pt x="309943" y="445103"/>
                  </a:lnTo>
                  <a:lnTo>
                    <a:pt x="307372" y="440055"/>
                  </a:lnTo>
                  <a:lnTo>
                    <a:pt x="294989" y="443484"/>
                  </a:lnTo>
                  <a:lnTo>
                    <a:pt x="292608" y="438341"/>
                  </a:lnTo>
                  <a:lnTo>
                    <a:pt x="288703" y="437102"/>
                  </a:lnTo>
                  <a:lnTo>
                    <a:pt x="287655" y="442627"/>
                  </a:lnTo>
                  <a:lnTo>
                    <a:pt x="279368" y="449199"/>
                  </a:lnTo>
                  <a:lnTo>
                    <a:pt x="277368" y="447580"/>
                  </a:lnTo>
                  <a:lnTo>
                    <a:pt x="292513" y="465582"/>
                  </a:lnTo>
                  <a:lnTo>
                    <a:pt x="288036" y="473392"/>
                  </a:lnTo>
                  <a:lnTo>
                    <a:pt x="277273" y="474821"/>
                  </a:lnTo>
                  <a:lnTo>
                    <a:pt x="271367" y="471964"/>
                  </a:lnTo>
                  <a:lnTo>
                    <a:pt x="268700" y="465106"/>
                  </a:lnTo>
                  <a:lnTo>
                    <a:pt x="272605" y="453676"/>
                  </a:lnTo>
                  <a:lnTo>
                    <a:pt x="262509" y="445960"/>
                  </a:lnTo>
                  <a:lnTo>
                    <a:pt x="264700" y="434816"/>
                  </a:lnTo>
                  <a:lnTo>
                    <a:pt x="261461" y="424339"/>
                  </a:lnTo>
                  <a:lnTo>
                    <a:pt x="256032" y="425101"/>
                  </a:lnTo>
                  <a:lnTo>
                    <a:pt x="257365" y="421291"/>
                  </a:lnTo>
                  <a:lnTo>
                    <a:pt x="253365" y="418147"/>
                  </a:lnTo>
                  <a:lnTo>
                    <a:pt x="249936" y="420434"/>
                  </a:lnTo>
                  <a:lnTo>
                    <a:pt x="238125" y="427387"/>
                  </a:lnTo>
                  <a:lnTo>
                    <a:pt x="238601" y="431006"/>
                  </a:lnTo>
                  <a:lnTo>
                    <a:pt x="231172" y="430149"/>
                  </a:lnTo>
                  <a:lnTo>
                    <a:pt x="227743" y="432435"/>
                  </a:lnTo>
                  <a:lnTo>
                    <a:pt x="224409" y="434626"/>
                  </a:lnTo>
                  <a:lnTo>
                    <a:pt x="219075" y="435388"/>
                  </a:lnTo>
                  <a:lnTo>
                    <a:pt x="217456" y="437388"/>
                  </a:lnTo>
                  <a:lnTo>
                    <a:pt x="215932" y="439388"/>
                  </a:lnTo>
                  <a:lnTo>
                    <a:pt x="196215" y="442055"/>
                  </a:lnTo>
                  <a:lnTo>
                    <a:pt x="194120" y="440531"/>
                  </a:lnTo>
                  <a:lnTo>
                    <a:pt x="192596" y="442531"/>
                  </a:lnTo>
                  <a:lnTo>
                    <a:pt x="186690" y="439674"/>
                  </a:lnTo>
                  <a:lnTo>
                    <a:pt x="189643" y="433864"/>
                  </a:lnTo>
                  <a:lnTo>
                    <a:pt x="187833" y="434054"/>
                  </a:lnTo>
                  <a:lnTo>
                    <a:pt x="182404" y="434816"/>
                  </a:lnTo>
                  <a:lnTo>
                    <a:pt x="185928" y="419862"/>
                  </a:lnTo>
                  <a:lnTo>
                    <a:pt x="182308" y="420338"/>
                  </a:lnTo>
                  <a:lnTo>
                    <a:pt x="180022" y="417005"/>
                  </a:lnTo>
                  <a:lnTo>
                    <a:pt x="176498" y="417481"/>
                  </a:lnTo>
                  <a:lnTo>
                    <a:pt x="173926" y="412337"/>
                  </a:lnTo>
                  <a:lnTo>
                    <a:pt x="168307" y="411289"/>
                  </a:lnTo>
                  <a:lnTo>
                    <a:pt x="162211" y="406622"/>
                  </a:lnTo>
                  <a:lnTo>
                    <a:pt x="163544" y="402812"/>
                  </a:lnTo>
                  <a:lnTo>
                    <a:pt x="168688" y="400336"/>
                  </a:lnTo>
                  <a:lnTo>
                    <a:pt x="169069" y="389382"/>
                  </a:lnTo>
                  <a:lnTo>
                    <a:pt x="172498" y="387191"/>
                  </a:lnTo>
                  <a:lnTo>
                    <a:pt x="169736" y="380238"/>
                  </a:lnTo>
                  <a:lnTo>
                    <a:pt x="156400" y="376618"/>
                  </a:lnTo>
                  <a:lnTo>
                    <a:pt x="154400" y="374999"/>
                  </a:lnTo>
                  <a:lnTo>
                    <a:pt x="159067" y="368998"/>
                  </a:lnTo>
                  <a:lnTo>
                    <a:pt x="158591" y="365474"/>
                  </a:lnTo>
                  <a:lnTo>
                    <a:pt x="159734" y="359855"/>
                  </a:lnTo>
                  <a:lnTo>
                    <a:pt x="159448" y="358045"/>
                  </a:lnTo>
                  <a:lnTo>
                    <a:pt x="152019" y="357188"/>
                  </a:lnTo>
                  <a:lnTo>
                    <a:pt x="144494" y="369094"/>
                  </a:lnTo>
                  <a:lnTo>
                    <a:pt x="141732" y="362236"/>
                  </a:lnTo>
                  <a:lnTo>
                    <a:pt x="137731" y="359092"/>
                  </a:lnTo>
                  <a:lnTo>
                    <a:pt x="133159" y="352520"/>
                  </a:lnTo>
                  <a:lnTo>
                    <a:pt x="124396" y="355473"/>
                  </a:lnTo>
                  <a:lnTo>
                    <a:pt x="120587" y="354139"/>
                  </a:lnTo>
                  <a:lnTo>
                    <a:pt x="114490" y="349472"/>
                  </a:lnTo>
                  <a:lnTo>
                    <a:pt x="107728" y="354044"/>
                  </a:lnTo>
                  <a:lnTo>
                    <a:pt x="103251" y="347377"/>
                  </a:lnTo>
                  <a:lnTo>
                    <a:pt x="106108" y="341567"/>
                  </a:lnTo>
                  <a:lnTo>
                    <a:pt x="112586" y="335280"/>
                  </a:lnTo>
                  <a:lnTo>
                    <a:pt x="112109" y="331660"/>
                  </a:lnTo>
                  <a:lnTo>
                    <a:pt x="98870" y="328041"/>
                  </a:lnTo>
                  <a:lnTo>
                    <a:pt x="98774" y="313563"/>
                  </a:lnTo>
                  <a:lnTo>
                    <a:pt x="96488" y="310229"/>
                  </a:lnTo>
                  <a:lnTo>
                    <a:pt x="93154" y="312420"/>
                  </a:lnTo>
                  <a:lnTo>
                    <a:pt x="97250" y="315563"/>
                  </a:lnTo>
                  <a:lnTo>
                    <a:pt x="92297" y="319850"/>
                  </a:lnTo>
                  <a:lnTo>
                    <a:pt x="91154" y="325374"/>
                  </a:lnTo>
                  <a:lnTo>
                    <a:pt x="87630" y="325850"/>
                  </a:lnTo>
                  <a:lnTo>
                    <a:pt x="86868" y="320516"/>
                  </a:lnTo>
                  <a:lnTo>
                    <a:pt x="83534" y="322802"/>
                  </a:lnTo>
                  <a:lnTo>
                    <a:pt x="82677" y="330137"/>
                  </a:lnTo>
                  <a:lnTo>
                    <a:pt x="80867" y="330422"/>
                  </a:lnTo>
                  <a:lnTo>
                    <a:pt x="80391" y="326803"/>
                  </a:lnTo>
                  <a:lnTo>
                    <a:pt x="81534" y="321278"/>
                  </a:lnTo>
                  <a:lnTo>
                    <a:pt x="80772" y="315944"/>
                  </a:lnTo>
                  <a:lnTo>
                    <a:pt x="76962" y="314611"/>
                  </a:lnTo>
                  <a:lnTo>
                    <a:pt x="73342" y="315087"/>
                  </a:lnTo>
                  <a:lnTo>
                    <a:pt x="72962" y="325946"/>
                  </a:lnTo>
                  <a:lnTo>
                    <a:pt x="69151" y="324707"/>
                  </a:lnTo>
                  <a:lnTo>
                    <a:pt x="68675" y="321088"/>
                  </a:lnTo>
                  <a:lnTo>
                    <a:pt x="65341" y="323374"/>
                  </a:lnTo>
                  <a:lnTo>
                    <a:pt x="71628" y="329755"/>
                  </a:lnTo>
                  <a:lnTo>
                    <a:pt x="70580" y="335375"/>
                  </a:lnTo>
                  <a:lnTo>
                    <a:pt x="70771" y="337185"/>
                  </a:lnTo>
                  <a:lnTo>
                    <a:pt x="66484" y="332327"/>
                  </a:lnTo>
                  <a:lnTo>
                    <a:pt x="60007" y="338614"/>
                  </a:lnTo>
                  <a:lnTo>
                    <a:pt x="67723" y="341185"/>
                  </a:lnTo>
                  <a:lnTo>
                    <a:pt x="68104" y="344805"/>
                  </a:lnTo>
                  <a:lnTo>
                    <a:pt x="68389" y="346520"/>
                  </a:lnTo>
                  <a:lnTo>
                    <a:pt x="61246" y="347472"/>
                  </a:lnTo>
                  <a:lnTo>
                    <a:pt x="62389" y="356425"/>
                  </a:lnTo>
                  <a:lnTo>
                    <a:pt x="56959" y="357092"/>
                  </a:lnTo>
                  <a:lnTo>
                    <a:pt x="42577" y="344519"/>
                  </a:lnTo>
                  <a:lnTo>
                    <a:pt x="33052" y="342138"/>
                  </a:lnTo>
                  <a:lnTo>
                    <a:pt x="30385" y="335280"/>
                  </a:lnTo>
                  <a:lnTo>
                    <a:pt x="24670" y="33413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3" name="Volný tvar: obrazec 52">
              <a:extLst>
                <a:ext uri="{FF2B5EF4-FFF2-40B4-BE49-F238E27FC236}">
                  <a16:creationId xmlns:a16="http://schemas.microsoft.com/office/drawing/2014/main" id="{3CE92453-506E-3C90-DC94-A0E49720DB76}"/>
                </a:ext>
              </a:extLst>
            </p:cNvPr>
            <p:cNvSpPr/>
            <p:nvPr userDrawn="1"/>
          </p:nvSpPr>
          <p:spPr>
            <a:xfrm>
              <a:off x="7251715" y="3812571"/>
              <a:ext cx="397192" cy="628840"/>
            </a:xfrm>
            <a:custGeom>
              <a:avLst/>
              <a:gdLst>
                <a:gd name="connsiteX0" fmla="*/ 326327 w 397192"/>
                <a:gd name="connsiteY0" fmla="*/ 557784 h 628840"/>
                <a:gd name="connsiteX1" fmla="*/ 313563 w 397192"/>
                <a:gd name="connsiteY1" fmla="*/ 572167 h 628840"/>
                <a:gd name="connsiteX2" fmla="*/ 309944 w 397192"/>
                <a:gd name="connsiteY2" fmla="*/ 572738 h 628840"/>
                <a:gd name="connsiteX3" fmla="*/ 299561 w 397192"/>
                <a:gd name="connsiteY3" fmla="*/ 563213 h 628840"/>
                <a:gd name="connsiteX4" fmla="*/ 294227 w 397192"/>
                <a:gd name="connsiteY4" fmla="*/ 563880 h 628840"/>
                <a:gd name="connsiteX5" fmla="*/ 293751 w 397192"/>
                <a:gd name="connsiteY5" fmla="*/ 560261 h 628840"/>
                <a:gd name="connsiteX6" fmla="*/ 289655 w 397192"/>
                <a:gd name="connsiteY6" fmla="*/ 557213 h 628840"/>
                <a:gd name="connsiteX7" fmla="*/ 282797 w 397192"/>
                <a:gd name="connsiteY7" fmla="*/ 532733 h 628840"/>
                <a:gd name="connsiteX8" fmla="*/ 276511 w 397192"/>
                <a:gd name="connsiteY8" fmla="*/ 540830 h 628840"/>
                <a:gd name="connsiteX9" fmla="*/ 265557 w 397192"/>
                <a:gd name="connsiteY9" fmla="*/ 540448 h 628840"/>
                <a:gd name="connsiteX10" fmla="*/ 268129 w 397192"/>
                <a:gd name="connsiteY10" fmla="*/ 532829 h 628840"/>
                <a:gd name="connsiteX11" fmla="*/ 265652 w 397192"/>
                <a:gd name="connsiteY11" fmla="*/ 527780 h 628840"/>
                <a:gd name="connsiteX12" fmla="*/ 258889 w 397192"/>
                <a:gd name="connsiteY12" fmla="*/ 517779 h 628840"/>
                <a:gd name="connsiteX13" fmla="*/ 256604 w 397192"/>
                <a:gd name="connsiteY13" fmla="*/ 514445 h 628840"/>
                <a:gd name="connsiteX14" fmla="*/ 250698 w 397192"/>
                <a:gd name="connsiteY14" fmla="*/ 511588 h 628840"/>
                <a:gd name="connsiteX15" fmla="*/ 250031 w 397192"/>
                <a:gd name="connsiteY15" fmla="*/ 506254 h 628840"/>
                <a:gd name="connsiteX16" fmla="*/ 244412 w 397192"/>
                <a:gd name="connsiteY16" fmla="*/ 505206 h 628840"/>
                <a:gd name="connsiteX17" fmla="*/ 243078 w 397192"/>
                <a:gd name="connsiteY17" fmla="*/ 509016 h 628840"/>
                <a:gd name="connsiteX18" fmla="*/ 237935 w 397192"/>
                <a:gd name="connsiteY18" fmla="*/ 511493 h 628840"/>
                <a:gd name="connsiteX19" fmla="*/ 230600 w 397192"/>
                <a:gd name="connsiteY19" fmla="*/ 525113 h 628840"/>
                <a:gd name="connsiteX20" fmla="*/ 233553 w 397192"/>
                <a:gd name="connsiteY20" fmla="*/ 533781 h 628840"/>
                <a:gd name="connsiteX21" fmla="*/ 232696 w 397192"/>
                <a:gd name="connsiteY21" fmla="*/ 541211 h 628840"/>
                <a:gd name="connsiteX22" fmla="*/ 235458 w 397192"/>
                <a:gd name="connsiteY22" fmla="*/ 548069 h 628840"/>
                <a:gd name="connsiteX23" fmla="*/ 236029 w 397192"/>
                <a:gd name="connsiteY23" fmla="*/ 566166 h 628840"/>
                <a:gd name="connsiteX24" fmla="*/ 232220 w 397192"/>
                <a:gd name="connsiteY24" fmla="*/ 564832 h 628840"/>
                <a:gd name="connsiteX25" fmla="*/ 229076 w 397192"/>
                <a:gd name="connsiteY25" fmla="*/ 568833 h 628840"/>
                <a:gd name="connsiteX26" fmla="*/ 225266 w 397192"/>
                <a:gd name="connsiteY26" fmla="*/ 567595 h 628840"/>
                <a:gd name="connsiteX27" fmla="*/ 229457 w 397192"/>
                <a:gd name="connsiteY27" fmla="*/ 557974 h 628840"/>
                <a:gd name="connsiteX28" fmla="*/ 222980 w 397192"/>
                <a:gd name="connsiteY28" fmla="*/ 564261 h 628840"/>
                <a:gd name="connsiteX29" fmla="*/ 208121 w 397192"/>
                <a:gd name="connsiteY29" fmla="*/ 562547 h 628840"/>
                <a:gd name="connsiteX30" fmla="*/ 202025 w 397192"/>
                <a:gd name="connsiteY30" fmla="*/ 557974 h 628840"/>
                <a:gd name="connsiteX31" fmla="*/ 192214 w 397192"/>
                <a:gd name="connsiteY31" fmla="*/ 566452 h 628840"/>
                <a:gd name="connsiteX32" fmla="*/ 183166 w 397192"/>
                <a:gd name="connsiteY32" fmla="*/ 567690 h 628840"/>
                <a:gd name="connsiteX33" fmla="*/ 179832 w 397192"/>
                <a:gd name="connsiteY33" fmla="*/ 569976 h 628840"/>
                <a:gd name="connsiteX34" fmla="*/ 173736 w 397192"/>
                <a:gd name="connsiteY34" fmla="*/ 565309 h 628840"/>
                <a:gd name="connsiteX35" fmla="*/ 157829 w 397192"/>
                <a:gd name="connsiteY35" fmla="*/ 569214 h 628840"/>
                <a:gd name="connsiteX36" fmla="*/ 158115 w 397192"/>
                <a:gd name="connsiteY36" fmla="*/ 571024 h 628840"/>
                <a:gd name="connsiteX37" fmla="*/ 150495 w 397192"/>
                <a:gd name="connsiteY37" fmla="*/ 582930 h 628840"/>
                <a:gd name="connsiteX38" fmla="*/ 143351 w 397192"/>
                <a:gd name="connsiteY38" fmla="*/ 583882 h 628840"/>
                <a:gd name="connsiteX39" fmla="*/ 144018 w 397192"/>
                <a:gd name="connsiteY39" fmla="*/ 589216 h 628840"/>
                <a:gd name="connsiteX40" fmla="*/ 128778 w 397192"/>
                <a:gd name="connsiteY40" fmla="*/ 598456 h 628840"/>
                <a:gd name="connsiteX41" fmla="*/ 121348 w 397192"/>
                <a:gd name="connsiteY41" fmla="*/ 597598 h 628840"/>
                <a:gd name="connsiteX42" fmla="*/ 114681 w 397192"/>
                <a:gd name="connsiteY42" fmla="*/ 602171 h 628840"/>
                <a:gd name="connsiteX43" fmla="*/ 109728 w 397192"/>
                <a:gd name="connsiteY43" fmla="*/ 606362 h 628840"/>
                <a:gd name="connsiteX44" fmla="*/ 110490 w 397192"/>
                <a:gd name="connsiteY44" fmla="*/ 611791 h 628840"/>
                <a:gd name="connsiteX45" fmla="*/ 106871 w 397192"/>
                <a:gd name="connsiteY45" fmla="*/ 612267 h 628840"/>
                <a:gd name="connsiteX46" fmla="*/ 107061 w 397192"/>
                <a:gd name="connsiteY46" fmla="*/ 613981 h 628840"/>
                <a:gd name="connsiteX47" fmla="*/ 103251 w 397192"/>
                <a:gd name="connsiteY47" fmla="*/ 612743 h 628840"/>
                <a:gd name="connsiteX48" fmla="*/ 103537 w 397192"/>
                <a:gd name="connsiteY48" fmla="*/ 614458 h 628840"/>
                <a:gd name="connsiteX49" fmla="*/ 96107 w 397192"/>
                <a:gd name="connsiteY49" fmla="*/ 613696 h 628840"/>
                <a:gd name="connsiteX50" fmla="*/ 96584 w 397192"/>
                <a:gd name="connsiteY50" fmla="*/ 617220 h 628840"/>
                <a:gd name="connsiteX51" fmla="*/ 88963 w 397192"/>
                <a:gd name="connsiteY51" fmla="*/ 614648 h 628840"/>
                <a:gd name="connsiteX52" fmla="*/ 74200 w 397192"/>
                <a:gd name="connsiteY52" fmla="*/ 627412 h 628840"/>
                <a:gd name="connsiteX53" fmla="*/ 63341 w 397192"/>
                <a:gd name="connsiteY53" fmla="*/ 628840 h 628840"/>
                <a:gd name="connsiteX54" fmla="*/ 51435 w 397192"/>
                <a:gd name="connsiteY54" fmla="*/ 621411 h 628840"/>
                <a:gd name="connsiteX55" fmla="*/ 46863 w 397192"/>
                <a:gd name="connsiteY55" fmla="*/ 614744 h 628840"/>
                <a:gd name="connsiteX56" fmla="*/ 43625 w 397192"/>
                <a:gd name="connsiteY56" fmla="*/ 604266 h 628840"/>
                <a:gd name="connsiteX57" fmla="*/ 44101 w 397192"/>
                <a:gd name="connsiteY57" fmla="*/ 593312 h 628840"/>
                <a:gd name="connsiteX58" fmla="*/ 38576 w 397192"/>
                <a:gd name="connsiteY58" fmla="*/ 579596 h 628840"/>
                <a:gd name="connsiteX59" fmla="*/ 23241 w 397192"/>
                <a:gd name="connsiteY59" fmla="*/ 574357 h 628840"/>
                <a:gd name="connsiteX60" fmla="*/ 30099 w 397192"/>
                <a:gd name="connsiteY60" fmla="*/ 557117 h 628840"/>
                <a:gd name="connsiteX61" fmla="*/ 28099 w 397192"/>
                <a:gd name="connsiteY61" fmla="*/ 555593 h 628840"/>
                <a:gd name="connsiteX62" fmla="*/ 24479 w 397192"/>
                <a:gd name="connsiteY62" fmla="*/ 541591 h 628840"/>
                <a:gd name="connsiteX63" fmla="*/ 29337 w 397192"/>
                <a:gd name="connsiteY63" fmla="*/ 537305 h 628840"/>
                <a:gd name="connsiteX64" fmla="*/ 28861 w 397192"/>
                <a:gd name="connsiteY64" fmla="*/ 533686 h 628840"/>
                <a:gd name="connsiteX65" fmla="*/ 27051 w 397192"/>
                <a:gd name="connsiteY65" fmla="*/ 533972 h 628840"/>
                <a:gd name="connsiteX66" fmla="*/ 31718 w 397192"/>
                <a:gd name="connsiteY66" fmla="*/ 527876 h 628840"/>
                <a:gd name="connsiteX67" fmla="*/ 26384 w 397192"/>
                <a:gd name="connsiteY67" fmla="*/ 528638 h 628840"/>
                <a:gd name="connsiteX68" fmla="*/ 24289 w 397192"/>
                <a:gd name="connsiteY68" fmla="*/ 527113 h 628840"/>
                <a:gd name="connsiteX69" fmla="*/ 18288 w 397192"/>
                <a:gd name="connsiteY69" fmla="*/ 536924 h 628840"/>
                <a:gd name="connsiteX70" fmla="*/ 18764 w 397192"/>
                <a:gd name="connsiteY70" fmla="*/ 540448 h 628840"/>
                <a:gd name="connsiteX71" fmla="*/ 15240 w 397192"/>
                <a:gd name="connsiteY71" fmla="*/ 541020 h 628840"/>
                <a:gd name="connsiteX72" fmla="*/ 9525 w 397192"/>
                <a:gd name="connsiteY72" fmla="*/ 539877 h 628840"/>
                <a:gd name="connsiteX73" fmla="*/ 7048 w 397192"/>
                <a:gd name="connsiteY73" fmla="*/ 534734 h 628840"/>
                <a:gd name="connsiteX74" fmla="*/ 12192 w 397192"/>
                <a:gd name="connsiteY74" fmla="*/ 532257 h 628840"/>
                <a:gd name="connsiteX75" fmla="*/ 5905 w 397192"/>
                <a:gd name="connsiteY75" fmla="*/ 525875 h 628840"/>
                <a:gd name="connsiteX76" fmla="*/ 0 w 397192"/>
                <a:gd name="connsiteY76" fmla="*/ 523018 h 628840"/>
                <a:gd name="connsiteX77" fmla="*/ 1619 w 397192"/>
                <a:gd name="connsiteY77" fmla="*/ 521018 h 628840"/>
                <a:gd name="connsiteX78" fmla="*/ 17621 w 397192"/>
                <a:gd name="connsiteY78" fmla="*/ 504349 h 628840"/>
                <a:gd name="connsiteX79" fmla="*/ 25241 w 397192"/>
                <a:gd name="connsiteY79" fmla="*/ 492538 h 628840"/>
                <a:gd name="connsiteX80" fmla="*/ 28099 w 397192"/>
                <a:gd name="connsiteY80" fmla="*/ 486728 h 628840"/>
                <a:gd name="connsiteX81" fmla="*/ 29718 w 397192"/>
                <a:gd name="connsiteY81" fmla="*/ 484632 h 628840"/>
                <a:gd name="connsiteX82" fmla="*/ 43244 w 397192"/>
                <a:gd name="connsiteY82" fmla="*/ 462915 h 628840"/>
                <a:gd name="connsiteX83" fmla="*/ 42767 w 397192"/>
                <a:gd name="connsiteY83" fmla="*/ 459391 h 628840"/>
                <a:gd name="connsiteX84" fmla="*/ 34195 w 397192"/>
                <a:gd name="connsiteY84" fmla="*/ 449580 h 628840"/>
                <a:gd name="connsiteX85" fmla="*/ 33433 w 397192"/>
                <a:gd name="connsiteY85" fmla="*/ 444246 h 628840"/>
                <a:gd name="connsiteX86" fmla="*/ 30480 w 397192"/>
                <a:gd name="connsiteY86" fmla="*/ 435578 h 628840"/>
                <a:gd name="connsiteX87" fmla="*/ 34100 w 397192"/>
                <a:gd name="connsiteY87" fmla="*/ 435102 h 628840"/>
                <a:gd name="connsiteX88" fmla="*/ 33909 w 397192"/>
                <a:gd name="connsiteY88" fmla="*/ 433388 h 628840"/>
                <a:gd name="connsiteX89" fmla="*/ 35623 w 397192"/>
                <a:gd name="connsiteY89" fmla="*/ 433102 h 628840"/>
                <a:gd name="connsiteX90" fmla="*/ 34957 w 397192"/>
                <a:gd name="connsiteY90" fmla="*/ 427768 h 628840"/>
                <a:gd name="connsiteX91" fmla="*/ 43720 w 397192"/>
                <a:gd name="connsiteY91" fmla="*/ 424815 h 628840"/>
                <a:gd name="connsiteX92" fmla="*/ 46672 w 397192"/>
                <a:gd name="connsiteY92" fmla="*/ 433483 h 628840"/>
                <a:gd name="connsiteX93" fmla="*/ 55626 w 397192"/>
                <a:gd name="connsiteY93" fmla="*/ 432245 h 628840"/>
                <a:gd name="connsiteX94" fmla="*/ 59246 w 397192"/>
                <a:gd name="connsiteY94" fmla="*/ 431768 h 628840"/>
                <a:gd name="connsiteX95" fmla="*/ 69723 w 397192"/>
                <a:gd name="connsiteY95" fmla="*/ 428625 h 628840"/>
                <a:gd name="connsiteX96" fmla="*/ 69056 w 397192"/>
                <a:gd name="connsiteY96" fmla="*/ 423196 h 628840"/>
                <a:gd name="connsiteX97" fmla="*/ 70580 w 397192"/>
                <a:gd name="connsiteY97" fmla="*/ 421196 h 628840"/>
                <a:gd name="connsiteX98" fmla="*/ 74009 w 397192"/>
                <a:gd name="connsiteY98" fmla="*/ 419005 h 628840"/>
                <a:gd name="connsiteX99" fmla="*/ 75343 w 397192"/>
                <a:gd name="connsiteY99" fmla="*/ 415195 h 628840"/>
                <a:gd name="connsiteX100" fmla="*/ 82487 w 397192"/>
                <a:gd name="connsiteY100" fmla="*/ 414242 h 628840"/>
                <a:gd name="connsiteX101" fmla="*/ 81058 w 397192"/>
                <a:gd name="connsiteY101" fmla="*/ 403574 h 628840"/>
                <a:gd name="connsiteX102" fmla="*/ 73628 w 397192"/>
                <a:gd name="connsiteY102" fmla="*/ 388239 h 628840"/>
                <a:gd name="connsiteX103" fmla="*/ 67437 w 397192"/>
                <a:gd name="connsiteY103" fmla="*/ 383572 h 628840"/>
                <a:gd name="connsiteX104" fmla="*/ 73152 w 397192"/>
                <a:gd name="connsiteY104" fmla="*/ 384620 h 628840"/>
                <a:gd name="connsiteX105" fmla="*/ 70580 w 397192"/>
                <a:gd name="connsiteY105" fmla="*/ 379571 h 628840"/>
                <a:gd name="connsiteX106" fmla="*/ 80867 w 397192"/>
                <a:gd name="connsiteY106" fmla="*/ 374523 h 628840"/>
                <a:gd name="connsiteX107" fmla="*/ 74581 w 397192"/>
                <a:gd name="connsiteY107" fmla="*/ 368141 h 628840"/>
                <a:gd name="connsiteX108" fmla="*/ 73438 w 397192"/>
                <a:gd name="connsiteY108" fmla="*/ 359188 h 628840"/>
                <a:gd name="connsiteX109" fmla="*/ 72866 w 397192"/>
                <a:gd name="connsiteY109" fmla="*/ 355663 h 628840"/>
                <a:gd name="connsiteX110" fmla="*/ 69818 w 397192"/>
                <a:gd name="connsiteY110" fmla="*/ 359664 h 628840"/>
                <a:gd name="connsiteX111" fmla="*/ 59912 w 397192"/>
                <a:gd name="connsiteY111" fmla="*/ 353759 h 628840"/>
                <a:gd name="connsiteX112" fmla="*/ 53530 w 397192"/>
                <a:gd name="connsiteY112" fmla="*/ 347281 h 628840"/>
                <a:gd name="connsiteX113" fmla="*/ 52578 w 397192"/>
                <a:gd name="connsiteY113" fmla="*/ 340233 h 628840"/>
                <a:gd name="connsiteX114" fmla="*/ 51626 w 397192"/>
                <a:gd name="connsiteY114" fmla="*/ 333089 h 628840"/>
                <a:gd name="connsiteX115" fmla="*/ 46482 w 397192"/>
                <a:gd name="connsiteY115" fmla="*/ 335566 h 628840"/>
                <a:gd name="connsiteX116" fmla="*/ 44005 w 397192"/>
                <a:gd name="connsiteY116" fmla="*/ 330422 h 628840"/>
                <a:gd name="connsiteX117" fmla="*/ 41624 w 397192"/>
                <a:gd name="connsiteY117" fmla="*/ 312706 h 628840"/>
                <a:gd name="connsiteX118" fmla="*/ 55340 w 397192"/>
                <a:gd name="connsiteY118" fmla="*/ 305371 h 628840"/>
                <a:gd name="connsiteX119" fmla="*/ 62389 w 397192"/>
                <a:gd name="connsiteY119" fmla="*/ 289941 h 628840"/>
                <a:gd name="connsiteX120" fmla="*/ 50959 w 397192"/>
                <a:gd name="connsiteY120" fmla="*/ 286036 h 628840"/>
                <a:gd name="connsiteX121" fmla="*/ 63722 w 397192"/>
                <a:gd name="connsiteY121" fmla="*/ 286131 h 628840"/>
                <a:gd name="connsiteX122" fmla="*/ 71723 w 397192"/>
                <a:gd name="connsiteY122" fmla="*/ 277844 h 628840"/>
                <a:gd name="connsiteX123" fmla="*/ 65913 w 397192"/>
                <a:gd name="connsiteY123" fmla="*/ 274987 h 628840"/>
                <a:gd name="connsiteX124" fmla="*/ 58007 w 397192"/>
                <a:gd name="connsiteY124" fmla="*/ 270605 h 628840"/>
                <a:gd name="connsiteX125" fmla="*/ 52673 w 397192"/>
                <a:gd name="connsiteY125" fmla="*/ 271272 h 628840"/>
                <a:gd name="connsiteX126" fmla="*/ 46292 w 397192"/>
                <a:gd name="connsiteY126" fmla="*/ 264890 h 628840"/>
                <a:gd name="connsiteX127" fmla="*/ 43815 w 397192"/>
                <a:gd name="connsiteY127" fmla="*/ 259747 h 628840"/>
                <a:gd name="connsiteX128" fmla="*/ 38386 w 397192"/>
                <a:gd name="connsiteY128" fmla="*/ 260509 h 628840"/>
                <a:gd name="connsiteX129" fmla="*/ 36386 w 397192"/>
                <a:gd name="connsiteY129" fmla="*/ 258985 h 628840"/>
                <a:gd name="connsiteX130" fmla="*/ 39053 w 397192"/>
                <a:gd name="connsiteY130" fmla="*/ 251365 h 628840"/>
                <a:gd name="connsiteX131" fmla="*/ 44196 w 397192"/>
                <a:gd name="connsiteY131" fmla="*/ 248888 h 628840"/>
                <a:gd name="connsiteX132" fmla="*/ 46101 w 397192"/>
                <a:gd name="connsiteY132" fmla="*/ 235934 h 628840"/>
                <a:gd name="connsiteX133" fmla="*/ 55912 w 397192"/>
                <a:gd name="connsiteY133" fmla="*/ 227362 h 628840"/>
                <a:gd name="connsiteX134" fmla="*/ 64961 w 397192"/>
                <a:gd name="connsiteY134" fmla="*/ 226219 h 628840"/>
                <a:gd name="connsiteX135" fmla="*/ 66485 w 397192"/>
                <a:gd name="connsiteY135" fmla="*/ 224123 h 628840"/>
                <a:gd name="connsiteX136" fmla="*/ 62484 w 397192"/>
                <a:gd name="connsiteY136" fmla="*/ 221075 h 628840"/>
                <a:gd name="connsiteX137" fmla="*/ 54959 w 397192"/>
                <a:gd name="connsiteY137" fmla="*/ 220218 h 628840"/>
                <a:gd name="connsiteX138" fmla="*/ 58103 w 397192"/>
                <a:gd name="connsiteY138" fmla="*/ 216217 h 628840"/>
                <a:gd name="connsiteX139" fmla="*/ 54197 w 397192"/>
                <a:gd name="connsiteY139" fmla="*/ 200406 h 628840"/>
                <a:gd name="connsiteX140" fmla="*/ 49435 w 397192"/>
                <a:gd name="connsiteY140" fmla="*/ 191929 h 628840"/>
                <a:gd name="connsiteX141" fmla="*/ 45339 w 397192"/>
                <a:gd name="connsiteY141" fmla="*/ 188881 h 628840"/>
                <a:gd name="connsiteX142" fmla="*/ 40577 w 397192"/>
                <a:gd name="connsiteY142" fmla="*/ 180404 h 628840"/>
                <a:gd name="connsiteX143" fmla="*/ 42196 w 397192"/>
                <a:gd name="connsiteY143" fmla="*/ 178403 h 628840"/>
                <a:gd name="connsiteX144" fmla="*/ 43244 w 397192"/>
                <a:gd name="connsiteY144" fmla="*/ 172879 h 628840"/>
                <a:gd name="connsiteX145" fmla="*/ 51530 w 397192"/>
                <a:gd name="connsiteY145" fmla="*/ 166307 h 628840"/>
                <a:gd name="connsiteX146" fmla="*/ 59150 w 397192"/>
                <a:gd name="connsiteY146" fmla="*/ 168878 h 628840"/>
                <a:gd name="connsiteX147" fmla="*/ 63532 w 397192"/>
                <a:gd name="connsiteY147" fmla="*/ 173736 h 628840"/>
                <a:gd name="connsiteX148" fmla="*/ 75629 w 397192"/>
                <a:gd name="connsiteY148" fmla="*/ 183071 h 628840"/>
                <a:gd name="connsiteX149" fmla="*/ 80296 w 397192"/>
                <a:gd name="connsiteY149" fmla="*/ 176975 h 628840"/>
                <a:gd name="connsiteX150" fmla="*/ 77819 w 397192"/>
                <a:gd name="connsiteY150" fmla="*/ 171926 h 628840"/>
                <a:gd name="connsiteX151" fmla="*/ 79629 w 397192"/>
                <a:gd name="connsiteY151" fmla="*/ 171641 h 628840"/>
                <a:gd name="connsiteX152" fmla="*/ 81248 w 397192"/>
                <a:gd name="connsiteY152" fmla="*/ 169640 h 628840"/>
                <a:gd name="connsiteX153" fmla="*/ 82010 w 397192"/>
                <a:gd name="connsiteY153" fmla="*/ 162211 h 628840"/>
                <a:gd name="connsiteX154" fmla="*/ 83629 w 397192"/>
                <a:gd name="connsiteY154" fmla="*/ 160211 h 628840"/>
                <a:gd name="connsiteX155" fmla="*/ 84677 w 397192"/>
                <a:gd name="connsiteY155" fmla="*/ 154686 h 628840"/>
                <a:gd name="connsiteX156" fmla="*/ 92488 w 397192"/>
                <a:gd name="connsiteY156" fmla="*/ 144589 h 628840"/>
                <a:gd name="connsiteX157" fmla="*/ 98965 w 397192"/>
                <a:gd name="connsiteY157" fmla="*/ 138303 h 628840"/>
                <a:gd name="connsiteX158" fmla="*/ 104585 w 397192"/>
                <a:gd name="connsiteY158" fmla="*/ 139351 h 628840"/>
                <a:gd name="connsiteX159" fmla="*/ 109252 w 397192"/>
                <a:gd name="connsiteY159" fmla="*/ 133255 h 628840"/>
                <a:gd name="connsiteX160" fmla="*/ 113347 w 397192"/>
                <a:gd name="connsiteY160" fmla="*/ 136303 h 628840"/>
                <a:gd name="connsiteX161" fmla="*/ 108776 w 397192"/>
                <a:gd name="connsiteY161" fmla="*/ 129730 h 628840"/>
                <a:gd name="connsiteX162" fmla="*/ 111728 w 397192"/>
                <a:gd name="connsiteY162" fmla="*/ 123920 h 628840"/>
                <a:gd name="connsiteX163" fmla="*/ 109442 w 397192"/>
                <a:gd name="connsiteY163" fmla="*/ 120587 h 628840"/>
                <a:gd name="connsiteX164" fmla="*/ 110490 w 397192"/>
                <a:gd name="connsiteY164" fmla="*/ 114967 h 628840"/>
                <a:gd name="connsiteX165" fmla="*/ 110300 w 397192"/>
                <a:gd name="connsiteY165" fmla="*/ 113157 h 628840"/>
                <a:gd name="connsiteX166" fmla="*/ 115824 w 397192"/>
                <a:gd name="connsiteY166" fmla="*/ 99727 h 628840"/>
                <a:gd name="connsiteX167" fmla="*/ 120110 w 397192"/>
                <a:gd name="connsiteY167" fmla="*/ 104680 h 628840"/>
                <a:gd name="connsiteX168" fmla="*/ 125539 w 397192"/>
                <a:gd name="connsiteY168" fmla="*/ 103918 h 628840"/>
                <a:gd name="connsiteX169" fmla="*/ 129921 w 397192"/>
                <a:gd name="connsiteY169" fmla="*/ 96107 h 628840"/>
                <a:gd name="connsiteX170" fmla="*/ 121634 w 397192"/>
                <a:gd name="connsiteY170" fmla="*/ 88106 h 628840"/>
                <a:gd name="connsiteX171" fmla="*/ 122492 w 397192"/>
                <a:gd name="connsiteY171" fmla="*/ 80772 h 628840"/>
                <a:gd name="connsiteX172" fmla="*/ 122015 w 397192"/>
                <a:gd name="connsiteY172" fmla="*/ 77153 h 628840"/>
                <a:gd name="connsiteX173" fmla="*/ 110776 w 397192"/>
                <a:gd name="connsiteY173" fmla="*/ 75057 h 628840"/>
                <a:gd name="connsiteX174" fmla="*/ 108490 w 397192"/>
                <a:gd name="connsiteY174" fmla="*/ 71723 h 628840"/>
                <a:gd name="connsiteX175" fmla="*/ 109823 w 397192"/>
                <a:gd name="connsiteY175" fmla="*/ 67913 h 628840"/>
                <a:gd name="connsiteX176" fmla="*/ 114967 w 397192"/>
                <a:gd name="connsiteY176" fmla="*/ 65437 h 628840"/>
                <a:gd name="connsiteX177" fmla="*/ 112871 w 397192"/>
                <a:gd name="connsiteY177" fmla="*/ 63913 h 628840"/>
                <a:gd name="connsiteX178" fmla="*/ 116014 w 397192"/>
                <a:gd name="connsiteY178" fmla="*/ 59817 h 628840"/>
                <a:gd name="connsiteX179" fmla="*/ 112204 w 397192"/>
                <a:gd name="connsiteY179" fmla="*/ 58579 h 628840"/>
                <a:gd name="connsiteX180" fmla="*/ 111728 w 397192"/>
                <a:gd name="connsiteY180" fmla="*/ 54959 h 628840"/>
                <a:gd name="connsiteX181" fmla="*/ 106299 w 397192"/>
                <a:gd name="connsiteY181" fmla="*/ 55721 h 628840"/>
                <a:gd name="connsiteX182" fmla="*/ 104775 w 397192"/>
                <a:gd name="connsiteY182" fmla="*/ 57721 h 628840"/>
                <a:gd name="connsiteX183" fmla="*/ 104108 w 397192"/>
                <a:gd name="connsiteY183" fmla="*/ 52388 h 628840"/>
                <a:gd name="connsiteX184" fmla="*/ 100203 w 397192"/>
                <a:gd name="connsiteY184" fmla="*/ 51054 h 628840"/>
                <a:gd name="connsiteX185" fmla="*/ 97727 w 397192"/>
                <a:gd name="connsiteY185" fmla="*/ 46006 h 628840"/>
                <a:gd name="connsiteX186" fmla="*/ 93917 w 397192"/>
                <a:gd name="connsiteY186" fmla="*/ 44672 h 628840"/>
                <a:gd name="connsiteX187" fmla="*/ 95440 w 397192"/>
                <a:gd name="connsiteY187" fmla="*/ 42672 h 628840"/>
                <a:gd name="connsiteX188" fmla="*/ 91916 w 397192"/>
                <a:gd name="connsiteY188" fmla="*/ 43148 h 628840"/>
                <a:gd name="connsiteX189" fmla="*/ 86487 w 397192"/>
                <a:gd name="connsiteY189" fmla="*/ 43815 h 628840"/>
                <a:gd name="connsiteX190" fmla="*/ 86296 w 397192"/>
                <a:gd name="connsiteY190" fmla="*/ 42005 h 628840"/>
                <a:gd name="connsiteX191" fmla="*/ 88868 w 397192"/>
                <a:gd name="connsiteY191" fmla="*/ 34480 h 628840"/>
                <a:gd name="connsiteX192" fmla="*/ 82772 w 397192"/>
                <a:gd name="connsiteY192" fmla="*/ 29813 h 628840"/>
                <a:gd name="connsiteX193" fmla="*/ 77438 w 397192"/>
                <a:gd name="connsiteY193" fmla="*/ 30480 h 628840"/>
                <a:gd name="connsiteX194" fmla="*/ 80581 w 397192"/>
                <a:gd name="connsiteY194" fmla="*/ 26479 h 628840"/>
                <a:gd name="connsiteX195" fmla="*/ 86392 w 397192"/>
                <a:gd name="connsiteY195" fmla="*/ 29337 h 628840"/>
                <a:gd name="connsiteX196" fmla="*/ 91535 w 397192"/>
                <a:gd name="connsiteY196" fmla="*/ 26861 h 628840"/>
                <a:gd name="connsiteX197" fmla="*/ 92678 w 397192"/>
                <a:gd name="connsiteY197" fmla="*/ 21241 h 628840"/>
                <a:gd name="connsiteX198" fmla="*/ 96203 w 397192"/>
                <a:gd name="connsiteY198" fmla="*/ 20764 h 628840"/>
                <a:gd name="connsiteX199" fmla="*/ 96012 w 397192"/>
                <a:gd name="connsiteY199" fmla="*/ 18955 h 628840"/>
                <a:gd name="connsiteX200" fmla="*/ 90583 w 397192"/>
                <a:gd name="connsiteY200" fmla="*/ 19717 h 628840"/>
                <a:gd name="connsiteX201" fmla="*/ 90392 w 397192"/>
                <a:gd name="connsiteY201" fmla="*/ 17907 h 628840"/>
                <a:gd name="connsiteX202" fmla="*/ 93726 w 397192"/>
                <a:gd name="connsiteY202" fmla="*/ 15621 h 628840"/>
                <a:gd name="connsiteX203" fmla="*/ 100965 w 397192"/>
                <a:gd name="connsiteY203" fmla="*/ 14764 h 628840"/>
                <a:gd name="connsiteX204" fmla="*/ 119253 w 397192"/>
                <a:gd name="connsiteY204" fmla="*/ 1429 h 628840"/>
                <a:gd name="connsiteX205" fmla="*/ 123349 w 397192"/>
                <a:gd name="connsiteY205" fmla="*/ 4477 h 628840"/>
                <a:gd name="connsiteX206" fmla="*/ 128206 w 397192"/>
                <a:gd name="connsiteY206" fmla="*/ 191 h 628840"/>
                <a:gd name="connsiteX207" fmla="*/ 130016 w 397192"/>
                <a:gd name="connsiteY207" fmla="*/ 0 h 628840"/>
                <a:gd name="connsiteX208" fmla="*/ 142970 w 397192"/>
                <a:gd name="connsiteY208" fmla="*/ 14573 h 628840"/>
                <a:gd name="connsiteX209" fmla="*/ 149162 w 397192"/>
                <a:gd name="connsiteY209" fmla="*/ 6477 h 628840"/>
                <a:gd name="connsiteX210" fmla="*/ 151162 w 397192"/>
                <a:gd name="connsiteY210" fmla="*/ 8096 h 628840"/>
                <a:gd name="connsiteX211" fmla="*/ 153257 w 397192"/>
                <a:gd name="connsiteY211" fmla="*/ 9620 h 628840"/>
                <a:gd name="connsiteX212" fmla="*/ 156877 w 397192"/>
                <a:gd name="connsiteY212" fmla="*/ 9144 h 628840"/>
                <a:gd name="connsiteX213" fmla="*/ 155257 w 397192"/>
                <a:gd name="connsiteY213" fmla="*/ 11144 h 628840"/>
                <a:gd name="connsiteX214" fmla="*/ 156020 w 397192"/>
                <a:gd name="connsiteY214" fmla="*/ 16478 h 628840"/>
                <a:gd name="connsiteX215" fmla="*/ 165926 w 397192"/>
                <a:gd name="connsiteY215" fmla="*/ 22384 h 628840"/>
                <a:gd name="connsiteX216" fmla="*/ 166878 w 397192"/>
                <a:gd name="connsiteY216" fmla="*/ 29528 h 628840"/>
                <a:gd name="connsiteX217" fmla="*/ 167069 w 397192"/>
                <a:gd name="connsiteY217" fmla="*/ 31337 h 628840"/>
                <a:gd name="connsiteX218" fmla="*/ 160115 w 397192"/>
                <a:gd name="connsiteY218" fmla="*/ 34100 h 628840"/>
                <a:gd name="connsiteX219" fmla="*/ 162211 w 397192"/>
                <a:gd name="connsiteY219" fmla="*/ 35624 h 628840"/>
                <a:gd name="connsiteX220" fmla="*/ 167545 w 397192"/>
                <a:gd name="connsiteY220" fmla="*/ 34862 h 628840"/>
                <a:gd name="connsiteX221" fmla="*/ 166688 w 397192"/>
                <a:gd name="connsiteY221" fmla="*/ 42291 h 628840"/>
                <a:gd name="connsiteX222" fmla="*/ 181546 w 397192"/>
                <a:gd name="connsiteY222" fmla="*/ 43910 h 628840"/>
                <a:gd name="connsiteX223" fmla="*/ 183832 w 397192"/>
                <a:gd name="connsiteY223" fmla="*/ 47244 h 628840"/>
                <a:gd name="connsiteX224" fmla="*/ 182213 w 397192"/>
                <a:gd name="connsiteY224" fmla="*/ 49244 h 628840"/>
                <a:gd name="connsiteX225" fmla="*/ 176879 w 397192"/>
                <a:gd name="connsiteY225" fmla="*/ 50006 h 628840"/>
                <a:gd name="connsiteX226" fmla="*/ 177355 w 397192"/>
                <a:gd name="connsiteY226" fmla="*/ 53530 h 628840"/>
                <a:gd name="connsiteX227" fmla="*/ 178879 w 397192"/>
                <a:gd name="connsiteY227" fmla="*/ 51530 h 628840"/>
                <a:gd name="connsiteX228" fmla="*/ 183166 w 397192"/>
                <a:gd name="connsiteY228" fmla="*/ 56388 h 628840"/>
                <a:gd name="connsiteX229" fmla="*/ 186595 w 397192"/>
                <a:gd name="connsiteY229" fmla="*/ 54102 h 628840"/>
                <a:gd name="connsiteX230" fmla="*/ 189071 w 397192"/>
                <a:gd name="connsiteY230" fmla="*/ 59246 h 628840"/>
                <a:gd name="connsiteX231" fmla="*/ 192691 w 397192"/>
                <a:gd name="connsiteY231" fmla="*/ 58769 h 628840"/>
                <a:gd name="connsiteX232" fmla="*/ 193357 w 397192"/>
                <a:gd name="connsiteY232" fmla="*/ 64103 h 628840"/>
                <a:gd name="connsiteX233" fmla="*/ 193834 w 397192"/>
                <a:gd name="connsiteY233" fmla="*/ 67723 h 628840"/>
                <a:gd name="connsiteX234" fmla="*/ 190500 w 397192"/>
                <a:gd name="connsiteY234" fmla="*/ 69913 h 628840"/>
                <a:gd name="connsiteX235" fmla="*/ 190690 w 397192"/>
                <a:gd name="connsiteY235" fmla="*/ 71723 h 628840"/>
                <a:gd name="connsiteX236" fmla="*/ 197739 w 397192"/>
                <a:gd name="connsiteY236" fmla="*/ 83439 h 628840"/>
                <a:gd name="connsiteX237" fmla="*/ 198406 w 397192"/>
                <a:gd name="connsiteY237" fmla="*/ 88868 h 628840"/>
                <a:gd name="connsiteX238" fmla="*/ 197834 w 397192"/>
                <a:gd name="connsiteY238" fmla="*/ 98012 h 628840"/>
                <a:gd name="connsiteX239" fmla="*/ 195834 w 397192"/>
                <a:gd name="connsiteY239" fmla="*/ 96393 h 628840"/>
                <a:gd name="connsiteX240" fmla="*/ 192500 w 397192"/>
                <a:gd name="connsiteY240" fmla="*/ 98679 h 628840"/>
                <a:gd name="connsiteX241" fmla="*/ 202597 w 397192"/>
                <a:gd name="connsiteY241" fmla="*/ 106394 h 628840"/>
                <a:gd name="connsiteX242" fmla="*/ 208217 w 397192"/>
                <a:gd name="connsiteY242" fmla="*/ 107537 h 628840"/>
                <a:gd name="connsiteX243" fmla="*/ 213170 w 397192"/>
                <a:gd name="connsiteY243" fmla="*/ 103251 h 628840"/>
                <a:gd name="connsiteX244" fmla="*/ 215646 w 397192"/>
                <a:gd name="connsiteY244" fmla="*/ 108299 h 628840"/>
                <a:gd name="connsiteX245" fmla="*/ 219456 w 397192"/>
                <a:gd name="connsiteY245" fmla="*/ 109633 h 628840"/>
                <a:gd name="connsiteX246" fmla="*/ 219742 w 397192"/>
                <a:gd name="connsiteY246" fmla="*/ 111442 h 628840"/>
                <a:gd name="connsiteX247" fmla="*/ 218885 w 397192"/>
                <a:gd name="connsiteY247" fmla="*/ 118777 h 628840"/>
                <a:gd name="connsiteX248" fmla="*/ 220694 w 397192"/>
                <a:gd name="connsiteY248" fmla="*/ 118586 h 628840"/>
                <a:gd name="connsiteX249" fmla="*/ 219551 w 397192"/>
                <a:gd name="connsiteY249" fmla="*/ 124111 h 628840"/>
                <a:gd name="connsiteX250" fmla="*/ 217742 w 397192"/>
                <a:gd name="connsiteY250" fmla="*/ 124396 h 628840"/>
                <a:gd name="connsiteX251" fmla="*/ 218218 w 397192"/>
                <a:gd name="connsiteY251" fmla="*/ 127921 h 628840"/>
                <a:gd name="connsiteX252" fmla="*/ 229267 w 397192"/>
                <a:gd name="connsiteY252" fmla="*/ 128302 h 628840"/>
                <a:gd name="connsiteX253" fmla="*/ 226123 w 397192"/>
                <a:gd name="connsiteY253" fmla="*/ 132302 h 628840"/>
                <a:gd name="connsiteX254" fmla="*/ 228219 w 397192"/>
                <a:gd name="connsiteY254" fmla="*/ 133826 h 628840"/>
                <a:gd name="connsiteX255" fmla="*/ 232696 w 397192"/>
                <a:gd name="connsiteY255" fmla="*/ 140494 h 628840"/>
                <a:gd name="connsiteX256" fmla="*/ 236315 w 397192"/>
                <a:gd name="connsiteY256" fmla="*/ 140017 h 628840"/>
                <a:gd name="connsiteX257" fmla="*/ 234982 w 397192"/>
                <a:gd name="connsiteY257" fmla="*/ 143828 h 628840"/>
                <a:gd name="connsiteX258" fmla="*/ 235648 w 397192"/>
                <a:gd name="connsiteY258" fmla="*/ 149162 h 628840"/>
                <a:gd name="connsiteX259" fmla="*/ 237458 w 397192"/>
                <a:gd name="connsiteY259" fmla="*/ 148971 h 628840"/>
                <a:gd name="connsiteX260" fmla="*/ 237268 w 397192"/>
                <a:gd name="connsiteY260" fmla="*/ 147161 h 628840"/>
                <a:gd name="connsiteX261" fmla="*/ 240887 w 397192"/>
                <a:gd name="connsiteY261" fmla="*/ 146685 h 628840"/>
                <a:gd name="connsiteX262" fmla="*/ 246507 w 397192"/>
                <a:gd name="connsiteY262" fmla="*/ 147733 h 628840"/>
                <a:gd name="connsiteX263" fmla="*/ 246221 w 397192"/>
                <a:gd name="connsiteY263" fmla="*/ 146018 h 628840"/>
                <a:gd name="connsiteX264" fmla="*/ 248031 w 397192"/>
                <a:gd name="connsiteY264" fmla="*/ 145733 h 628840"/>
                <a:gd name="connsiteX265" fmla="*/ 249555 w 397192"/>
                <a:gd name="connsiteY265" fmla="*/ 143732 h 628840"/>
                <a:gd name="connsiteX266" fmla="*/ 247745 w 397192"/>
                <a:gd name="connsiteY266" fmla="*/ 143923 h 628840"/>
                <a:gd name="connsiteX267" fmla="*/ 249079 w 397192"/>
                <a:gd name="connsiteY267" fmla="*/ 140113 h 628840"/>
                <a:gd name="connsiteX268" fmla="*/ 247269 w 397192"/>
                <a:gd name="connsiteY268" fmla="*/ 140399 h 628840"/>
                <a:gd name="connsiteX269" fmla="*/ 246602 w 397192"/>
                <a:gd name="connsiteY269" fmla="*/ 135064 h 628840"/>
                <a:gd name="connsiteX270" fmla="*/ 242792 w 397192"/>
                <a:gd name="connsiteY270" fmla="*/ 133731 h 628840"/>
                <a:gd name="connsiteX271" fmla="*/ 248126 w 397192"/>
                <a:gd name="connsiteY271" fmla="*/ 133064 h 628840"/>
                <a:gd name="connsiteX272" fmla="*/ 247650 w 397192"/>
                <a:gd name="connsiteY272" fmla="*/ 129445 h 628840"/>
                <a:gd name="connsiteX273" fmla="*/ 250793 w 397192"/>
                <a:gd name="connsiteY273" fmla="*/ 125444 h 628840"/>
                <a:gd name="connsiteX274" fmla="*/ 248317 w 397192"/>
                <a:gd name="connsiteY274" fmla="*/ 120301 h 628840"/>
                <a:gd name="connsiteX275" fmla="*/ 250127 w 397192"/>
                <a:gd name="connsiteY275" fmla="*/ 120110 h 628840"/>
                <a:gd name="connsiteX276" fmla="*/ 254127 w 397192"/>
                <a:gd name="connsiteY276" fmla="*/ 123158 h 628840"/>
                <a:gd name="connsiteX277" fmla="*/ 255079 w 397192"/>
                <a:gd name="connsiteY277" fmla="*/ 130302 h 628840"/>
                <a:gd name="connsiteX278" fmla="*/ 261461 w 397192"/>
                <a:gd name="connsiteY278" fmla="*/ 136684 h 628840"/>
                <a:gd name="connsiteX279" fmla="*/ 262414 w 397192"/>
                <a:gd name="connsiteY279" fmla="*/ 143828 h 628840"/>
                <a:gd name="connsiteX280" fmla="*/ 257746 w 397192"/>
                <a:gd name="connsiteY280" fmla="*/ 149924 h 628840"/>
                <a:gd name="connsiteX281" fmla="*/ 256889 w 397192"/>
                <a:gd name="connsiteY281" fmla="*/ 157258 h 628840"/>
                <a:gd name="connsiteX282" fmla="*/ 259175 w 397192"/>
                <a:gd name="connsiteY282" fmla="*/ 160592 h 628840"/>
                <a:gd name="connsiteX283" fmla="*/ 253937 w 397192"/>
                <a:gd name="connsiteY283" fmla="*/ 163068 h 628840"/>
                <a:gd name="connsiteX284" fmla="*/ 248221 w 397192"/>
                <a:gd name="connsiteY284" fmla="*/ 174688 h 628840"/>
                <a:gd name="connsiteX285" fmla="*/ 250507 w 397192"/>
                <a:gd name="connsiteY285" fmla="*/ 178022 h 628840"/>
                <a:gd name="connsiteX286" fmla="*/ 250507 w 397192"/>
                <a:gd name="connsiteY286" fmla="*/ 178022 h 628840"/>
                <a:gd name="connsiteX287" fmla="*/ 254508 w 397192"/>
                <a:gd name="connsiteY287" fmla="*/ 181166 h 628840"/>
                <a:gd name="connsiteX288" fmla="*/ 251460 w 397192"/>
                <a:gd name="connsiteY288" fmla="*/ 185166 h 628840"/>
                <a:gd name="connsiteX289" fmla="*/ 244697 w 397192"/>
                <a:gd name="connsiteY289" fmla="*/ 189738 h 628840"/>
                <a:gd name="connsiteX290" fmla="*/ 250793 w 397192"/>
                <a:gd name="connsiteY290" fmla="*/ 194310 h 628840"/>
                <a:gd name="connsiteX291" fmla="*/ 254413 w 397192"/>
                <a:gd name="connsiteY291" fmla="*/ 193834 h 628840"/>
                <a:gd name="connsiteX292" fmla="*/ 263843 w 397192"/>
                <a:gd name="connsiteY292" fmla="*/ 196215 h 628840"/>
                <a:gd name="connsiteX293" fmla="*/ 264033 w 397192"/>
                <a:gd name="connsiteY293" fmla="*/ 198025 h 628840"/>
                <a:gd name="connsiteX294" fmla="*/ 264795 w 397192"/>
                <a:gd name="connsiteY294" fmla="*/ 203359 h 628840"/>
                <a:gd name="connsiteX295" fmla="*/ 274225 w 397192"/>
                <a:gd name="connsiteY295" fmla="*/ 205740 h 628840"/>
                <a:gd name="connsiteX296" fmla="*/ 274511 w 397192"/>
                <a:gd name="connsiteY296" fmla="*/ 207550 h 628840"/>
                <a:gd name="connsiteX297" fmla="*/ 276225 w 397192"/>
                <a:gd name="connsiteY297" fmla="*/ 207264 h 628840"/>
                <a:gd name="connsiteX298" fmla="*/ 279845 w 397192"/>
                <a:gd name="connsiteY298" fmla="*/ 206788 h 628840"/>
                <a:gd name="connsiteX299" fmla="*/ 291560 w 397192"/>
                <a:gd name="connsiteY299" fmla="*/ 212503 h 628840"/>
                <a:gd name="connsiteX300" fmla="*/ 294894 w 397192"/>
                <a:gd name="connsiteY300" fmla="*/ 210217 h 628840"/>
                <a:gd name="connsiteX301" fmla="*/ 296704 w 397192"/>
                <a:gd name="connsiteY301" fmla="*/ 210026 h 628840"/>
                <a:gd name="connsiteX302" fmla="*/ 308420 w 397192"/>
                <a:gd name="connsiteY302" fmla="*/ 215741 h 628840"/>
                <a:gd name="connsiteX303" fmla="*/ 313849 w 397192"/>
                <a:gd name="connsiteY303" fmla="*/ 214979 h 628840"/>
                <a:gd name="connsiteX304" fmla="*/ 314039 w 397192"/>
                <a:gd name="connsiteY304" fmla="*/ 216789 h 628840"/>
                <a:gd name="connsiteX305" fmla="*/ 318421 w 397192"/>
                <a:gd name="connsiteY305" fmla="*/ 221647 h 628840"/>
                <a:gd name="connsiteX306" fmla="*/ 325374 w 397192"/>
                <a:gd name="connsiteY306" fmla="*/ 233458 h 628840"/>
                <a:gd name="connsiteX307" fmla="*/ 334137 w 397192"/>
                <a:gd name="connsiteY307" fmla="*/ 230410 h 628840"/>
                <a:gd name="connsiteX308" fmla="*/ 336899 w 397192"/>
                <a:gd name="connsiteY308" fmla="*/ 237363 h 628840"/>
                <a:gd name="connsiteX309" fmla="*/ 335566 w 397192"/>
                <a:gd name="connsiteY309" fmla="*/ 241173 h 628840"/>
                <a:gd name="connsiteX310" fmla="*/ 335852 w 397192"/>
                <a:gd name="connsiteY310" fmla="*/ 242888 h 628840"/>
                <a:gd name="connsiteX311" fmla="*/ 332422 w 397192"/>
                <a:gd name="connsiteY311" fmla="*/ 245174 h 628840"/>
                <a:gd name="connsiteX312" fmla="*/ 337185 w 397192"/>
                <a:gd name="connsiteY312" fmla="*/ 253555 h 628840"/>
                <a:gd name="connsiteX313" fmla="*/ 340233 w 397192"/>
                <a:gd name="connsiteY313" fmla="*/ 262223 h 628840"/>
                <a:gd name="connsiteX314" fmla="*/ 339376 w 397192"/>
                <a:gd name="connsiteY314" fmla="*/ 269653 h 628840"/>
                <a:gd name="connsiteX315" fmla="*/ 341852 w 397192"/>
                <a:gd name="connsiteY315" fmla="*/ 274701 h 628840"/>
                <a:gd name="connsiteX316" fmla="*/ 343376 w 397192"/>
                <a:gd name="connsiteY316" fmla="*/ 272701 h 628840"/>
                <a:gd name="connsiteX317" fmla="*/ 345472 w 397192"/>
                <a:gd name="connsiteY317" fmla="*/ 274225 h 628840"/>
                <a:gd name="connsiteX318" fmla="*/ 347948 w 397192"/>
                <a:gd name="connsiteY318" fmla="*/ 279368 h 628840"/>
                <a:gd name="connsiteX319" fmla="*/ 351377 w 397192"/>
                <a:gd name="connsiteY319" fmla="*/ 291655 h 628840"/>
                <a:gd name="connsiteX320" fmla="*/ 355187 w 397192"/>
                <a:gd name="connsiteY320" fmla="*/ 292894 h 628840"/>
                <a:gd name="connsiteX321" fmla="*/ 352139 w 397192"/>
                <a:gd name="connsiteY321" fmla="*/ 296989 h 628840"/>
                <a:gd name="connsiteX322" fmla="*/ 356997 w 397192"/>
                <a:gd name="connsiteY322" fmla="*/ 292703 h 628840"/>
                <a:gd name="connsiteX323" fmla="*/ 357283 w 397192"/>
                <a:gd name="connsiteY323" fmla="*/ 294513 h 628840"/>
                <a:gd name="connsiteX324" fmla="*/ 357759 w 397192"/>
                <a:gd name="connsiteY324" fmla="*/ 298037 h 628840"/>
                <a:gd name="connsiteX325" fmla="*/ 356140 w 397192"/>
                <a:gd name="connsiteY325" fmla="*/ 300038 h 628840"/>
                <a:gd name="connsiteX326" fmla="*/ 349948 w 397192"/>
                <a:gd name="connsiteY326" fmla="*/ 308134 h 628840"/>
                <a:gd name="connsiteX327" fmla="*/ 350139 w 397192"/>
                <a:gd name="connsiteY327" fmla="*/ 309848 h 628840"/>
                <a:gd name="connsiteX328" fmla="*/ 348234 w 397192"/>
                <a:gd name="connsiteY328" fmla="*/ 322802 h 628840"/>
                <a:gd name="connsiteX329" fmla="*/ 341281 w 397192"/>
                <a:gd name="connsiteY329" fmla="*/ 325564 h 628840"/>
                <a:gd name="connsiteX330" fmla="*/ 338138 w 397192"/>
                <a:gd name="connsiteY330" fmla="*/ 329660 h 628840"/>
                <a:gd name="connsiteX331" fmla="*/ 331661 w 397192"/>
                <a:gd name="connsiteY331" fmla="*/ 335947 h 628840"/>
                <a:gd name="connsiteX332" fmla="*/ 330803 w 397192"/>
                <a:gd name="connsiteY332" fmla="*/ 343281 h 628840"/>
                <a:gd name="connsiteX333" fmla="*/ 336613 w 397192"/>
                <a:gd name="connsiteY333" fmla="*/ 346138 h 628840"/>
                <a:gd name="connsiteX334" fmla="*/ 337376 w 397192"/>
                <a:gd name="connsiteY334" fmla="*/ 351472 h 628840"/>
                <a:gd name="connsiteX335" fmla="*/ 345281 w 397192"/>
                <a:gd name="connsiteY335" fmla="*/ 355854 h 628840"/>
                <a:gd name="connsiteX336" fmla="*/ 346710 w 397192"/>
                <a:gd name="connsiteY336" fmla="*/ 366617 h 628840"/>
                <a:gd name="connsiteX337" fmla="*/ 338042 w 397192"/>
                <a:gd name="connsiteY337" fmla="*/ 384048 h 628840"/>
                <a:gd name="connsiteX338" fmla="*/ 343853 w 397192"/>
                <a:gd name="connsiteY338" fmla="*/ 386905 h 628840"/>
                <a:gd name="connsiteX339" fmla="*/ 350425 w 397192"/>
                <a:gd name="connsiteY339" fmla="*/ 395097 h 628840"/>
                <a:gd name="connsiteX340" fmla="*/ 352330 w 397192"/>
                <a:gd name="connsiteY340" fmla="*/ 409289 h 628840"/>
                <a:gd name="connsiteX341" fmla="*/ 356140 w 397192"/>
                <a:gd name="connsiteY341" fmla="*/ 410623 h 628840"/>
                <a:gd name="connsiteX342" fmla="*/ 360236 w 397192"/>
                <a:gd name="connsiteY342" fmla="*/ 413766 h 628840"/>
                <a:gd name="connsiteX343" fmla="*/ 362045 w 397192"/>
                <a:gd name="connsiteY343" fmla="*/ 413480 h 628840"/>
                <a:gd name="connsiteX344" fmla="*/ 362521 w 397192"/>
                <a:gd name="connsiteY344" fmla="*/ 417100 h 628840"/>
                <a:gd name="connsiteX345" fmla="*/ 356045 w 397192"/>
                <a:gd name="connsiteY345" fmla="*/ 423291 h 628840"/>
                <a:gd name="connsiteX346" fmla="*/ 354235 w 397192"/>
                <a:gd name="connsiteY346" fmla="*/ 423577 h 628840"/>
                <a:gd name="connsiteX347" fmla="*/ 355187 w 397192"/>
                <a:gd name="connsiteY347" fmla="*/ 430721 h 628840"/>
                <a:gd name="connsiteX348" fmla="*/ 348710 w 397192"/>
                <a:gd name="connsiteY348" fmla="*/ 437007 h 628840"/>
                <a:gd name="connsiteX349" fmla="*/ 354806 w 397192"/>
                <a:gd name="connsiteY349" fmla="*/ 441674 h 628840"/>
                <a:gd name="connsiteX350" fmla="*/ 354044 w 397192"/>
                <a:gd name="connsiteY350" fmla="*/ 436245 h 628840"/>
                <a:gd name="connsiteX351" fmla="*/ 368427 w 397192"/>
                <a:gd name="connsiteY351" fmla="*/ 434340 h 628840"/>
                <a:gd name="connsiteX352" fmla="*/ 372237 w 397192"/>
                <a:gd name="connsiteY352" fmla="*/ 435673 h 628840"/>
                <a:gd name="connsiteX353" fmla="*/ 375856 w 397192"/>
                <a:gd name="connsiteY353" fmla="*/ 435197 h 628840"/>
                <a:gd name="connsiteX354" fmla="*/ 378143 w 397192"/>
                <a:gd name="connsiteY354" fmla="*/ 438531 h 628840"/>
                <a:gd name="connsiteX355" fmla="*/ 384810 w 397192"/>
                <a:gd name="connsiteY355" fmla="*/ 434054 h 628840"/>
                <a:gd name="connsiteX356" fmla="*/ 390906 w 397192"/>
                <a:gd name="connsiteY356" fmla="*/ 424148 h 628840"/>
                <a:gd name="connsiteX357" fmla="*/ 394430 w 397192"/>
                <a:gd name="connsiteY357" fmla="*/ 423672 h 628840"/>
                <a:gd name="connsiteX358" fmla="*/ 397193 w 397192"/>
                <a:gd name="connsiteY358" fmla="*/ 430625 h 628840"/>
                <a:gd name="connsiteX359" fmla="*/ 395288 w 397192"/>
                <a:gd name="connsiteY359" fmla="*/ 443484 h 628840"/>
                <a:gd name="connsiteX360" fmla="*/ 392144 w 397192"/>
                <a:gd name="connsiteY360" fmla="*/ 447580 h 628840"/>
                <a:gd name="connsiteX361" fmla="*/ 394430 w 397192"/>
                <a:gd name="connsiteY361" fmla="*/ 450913 h 628840"/>
                <a:gd name="connsiteX362" fmla="*/ 392621 w 397192"/>
                <a:gd name="connsiteY362" fmla="*/ 451104 h 628840"/>
                <a:gd name="connsiteX363" fmla="*/ 394906 w 397192"/>
                <a:gd name="connsiteY363" fmla="*/ 454438 h 628840"/>
                <a:gd name="connsiteX364" fmla="*/ 391573 w 397192"/>
                <a:gd name="connsiteY364" fmla="*/ 456724 h 628840"/>
                <a:gd name="connsiteX365" fmla="*/ 384524 w 397192"/>
                <a:gd name="connsiteY365" fmla="*/ 486632 h 628840"/>
                <a:gd name="connsiteX366" fmla="*/ 378619 w 397192"/>
                <a:gd name="connsiteY366" fmla="*/ 483775 h 628840"/>
                <a:gd name="connsiteX367" fmla="*/ 377285 w 397192"/>
                <a:gd name="connsiteY367" fmla="*/ 487585 h 628840"/>
                <a:gd name="connsiteX368" fmla="*/ 373475 w 397192"/>
                <a:gd name="connsiteY368" fmla="*/ 486251 h 628840"/>
                <a:gd name="connsiteX369" fmla="*/ 370142 w 397192"/>
                <a:gd name="connsiteY369" fmla="*/ 488537 h 628840"/>
                <a:gd name="connsiteX370" fmla="*/ 370808 w 397192"/>
                <a:gd name="connsiteY370" fmla="*/ 493871 h 628840"/>
                <a:gd name="connsiteX371" fmla="*/ 365474 w 397192"/>
                <a:gd name="connsiteY371" fmla="*/ 494633 h 628840"/>
                <a:gd name="connsiteX372" fmla="*/ 363188 w 397192"/>
                <a:gd name="connsiteY372" fmla="*/ 491299 h 628840"/>
                <a:gd name="connsiteX373" fmla="*/ 355759 w 397192"/>
                <a:gd name="connsiteY373" fmla="*/ 490442 h 628840"/>
                <a:gd name="connsiteX374" fmla="*/ 350901 w 397192"/>
                <a:gd name="connsiteY374" fmla="*/ 494729 h 628840"/>
                <a:gd name="connsiteX375" fmla="*/ 350520 w 397192"/>
                <a:gd name="connsiteY375" fmla="*/ 505682 h 628840"/>
                <a:gd name="connsiteX376" fmla="*/ 345377 w 397192"/>
                <a:gd name="connsiteY376" fmla="*/ 522637 h 628840"/>
                <a:gd name="connsiteX377" fmla="*/ 343567 w 397192"/>
                <a:gd name="connsiteY377" fmla="*/ 522922 h 628840"/>
                <a:gd name="connsiteX378" fmla="*/ 344996 w 397192"/>
                <a:gd name="connsiteY378" fmla="*/ 533590 h 628840"/>
                <a:gd name="connsiteX379" fmla="*/ 340138 w 397192"/>
                <a:gd name="connsiteY379" fmla="*/ 537877 h 628840"/>
                <a:gd name="connsiteX380" fmla="*/ 334232 w 397192"/>
                <a:gd name="connsiteY380" fmla="*/ 535019 h 628840"/>
                <a:gd name="connsiteX381" fmla="*/ 321469 w 397192"/>
                <a:gd name="connsiteY381" fmla="*/ 534924 h 628840"/>
                <a:gd name="connsiteX382" fmla="*/ 322231 w 397192"/>
                <a:gd name="connsiteY382" fmla="*/ 554736 h 628840"/>
                <a:gd name="connsiteX383" fmla="*/ 323755 w 397192"/>
                <a:gd name="connsiteY383" fmla="*/ 552736 h 628840"/>
                <a:gd name="connsiteX384" fmla="*/ 326327 w 397192"/>
                <a:gd name="connsiteY384" fmla="*/ 557784 h 62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</a:cxnLst>
              <a:rect l="l" t="t" r="r" b="b"/>
              <a:pathLst>
                <a:path w="397192" h="628840">
                  <a:moveTo>
                    <a:pt x="326327" y="557784"/>
                  </a:moveTo>
                  <a:lnTo>
                    <a:pt x="313563" y="572167"/>
                  </a:lnTo>
                  <a:lnTo>
                    <a:pt x="309944" y="572738"/>
                  </a:lnTo>
                  <a:lnTo>
                    <a:pt x="299561" y="563213"/>
                  </a:lnTo>
                  <a:lnTo>
                    <a:pt x="294227" y="563880"/>
                  </a:lnTo>
                  <a:lnTo>
                    <a:pt x="293751" y="560261"/>
                  </a:lnTo>
                  <a:lnTo>
                    <a:pt x="289655" y="557213"/>
                  </a:lnTo>
                  <a:lnTo>
                    <a:pt x="282797" y="532733"/>
                  </a:lnTo>
                  <a:lnTo>
                    <a:pt x="276511" y="540830"/>
                  </a:lnTo>
                  <a:lnTo>
                    <a:pt x="265557" y="540448"/>
                  </a:lnTo>
                  <a:lnTo>
                    <a:pt x="268129" y="532829"/>
                  </a:lnTo>
                  <a:lnTo>
                    <a:pt x="265652" y="527780"/>
                  </a:lnTo>
                  <a:lnTo>
                    <a:pt x="258889" y="517779"/>
                  </a:lnTo>
                  <a:lnTo>
                    <a:pt x="256604" y="514445"/>
                  </a:lnTo>
                  <a:lnTo>
                    <a:pt x="250698" y="511588"/>
                  </a:lnTo>
                  <a:lnTo>
                    <a:pt x="250031" y="506254"/>
                  </a:lnTo>
                  <a:lnTo>
                    <a:pt x="244412" y="505206"/>
                  </a:lnTo>
                  <a:lnTo>
                    <a:pt x="243078" y="509016"/>
                  </a:lnTo>
                  <a:lnTo>
                    <a:pt x="237935" y="511493"/>
                  </a:lnTo>
                  <a:lnTo>
                    <a:pt x="230600" y="525113"/>
                  </a:lnTo>
                  <a:lnTo>
                    <a:pt x="233553" y="533781"/>
                  </a:lnTo>
                  <a:lnTo>
                    <a:pt x="232696" y="541211"/>
                  </a:lnTo>
                  <a:lnTo>
                    <a:pt x="235458" y="548069"/>
                  </a:lnTo>
                  <a:lnTo>
                    <a:pt x="236029" y="566166"/>
                  </a:lnTo>
                  <a:lnTo>
                    <a:pt x="232220" y="564832"/>
                  </a:lnTo>
                  <a:lnTo>
                    <a:pt x="229076" y="568833"/>
                  </a:lnTo>
                  <a:lnTo>
                    <a:pt x="225266" y="567595"/>
                  </a:lnTo>
                  <a:lnTo>
                    <a:pt x="229457" y="557974"/>
                  </a:lnTo>
                  <a:lnTo>
                    <a:pt x="222980" y="564261"/>
                  </a:lnTo>
                  <a:lnTo>
                    <a:pt x="208121" y="562547"/>
                  </a:lnTo>
                  <a:lnTo>
                    <a:pt x="202025" y="557974"/>
                  </a:lnTo>
                  <a:lnTo>
                    <a:pt x="192214" y="566452"/>
                  </a:lnTo>
                  <a:lnTo>
                    <a:pt x="183166" y="567690"/>
                  </a:lnTo>
                  <a:lnTo>
                    <a:pt x="179832" y="569976"/>
                  </a:lnTo>
                  <a:lnTo>
                    <a:pt x="173736" y="565309"/>
                  </a:lnTo>
                  <a:lnTo>
                    <a:pt x="157829" y="569214"/>
                  </a:lnTo>
                  <a:lnTo>
                    <a:pt x="158115" y="571024"/>
                  </a:lnTo>
                  <a:lnTo>
                    <a:pt x="150495" y="582930"/>
                  </a:lnTo>
                  <a:lnTo>
                    <a:pt x="143351" y="583882"/>
                  </a:lnTo>
                  <a:lnTo>
                    <a:pt x="144018" y="589216"/>
                  </a:lnTo>
                  <a:lnTo>
                    <a:pt x="128778" y="598456"/>
                  </a:lnTo>
                  <a:lnTo>
                    <a:pt x="121348" y="597598"/>
                  </a:lnTo>
                  <a:lnTo>
                    <a:pt x="114681" y="602171"/>
                  </a:lnTo>
                  <a:lnTo>
                    <a:pt x="109728" y="606362"/>
                  </a:lnTo>
                  <a:lnTo>
                    <a:pt x="110490" y="611791"/>
                  </a:lnTo>
                  <a:lnTo>
                    <a:pt x="106871" y="612267"/>
                  </a:lnTo>
                  <a:lnTo>
                    <a:pt x="107061" y="613981"/>
                  </a:lnTo>
                  <a:lnTo>
                    <a:pt x="103251" y="612743"/>
                  </a:lnTo>
                  <a:lnTo>
                    <a:pt x="103537" y="614458"/>
                  </a:lnTo>
                  <a:lnTo>
                    <a:pt x="96107" y="613696"/>
                  </a:lnTo>
                  <a:lnTo>
                    <a:pt x="96584" y="617220"/>
                  </a:lnTo>
                  <a:lnTo>
                    <a:pt x="88963" y="614648"/>
                  </a:lnTo>
                  <a:lnTo>
                    <a:pt x="74200" y="627412"/>
                  </a:lnTo>
                  <a:lnTo>
                    <a:pt x="63341" y="628840"/>
                  </a:lnTo>
                  <a:lnTo>
                    <a:pt x="51435" y="621411"/>
                  </a:lnTo>
                  <a:lnTo>
                    <a:pt x="46863" y="614744"/>
                  </a:lnTo>
                  <a:lnTo>
                    <a:pt x="43625" y="604266"/>
                  </a:lnTo>
                  <a:lnTo>
                    <a:pt x="44101" y="593312"/>
                  </a:lnTo>
                  <a:lnTo>
                    <a:pt x="38576" y="579596"/>
                  </a:lnTo>
                  <a:lnTo>
                    <a:pt x="23241" y="574357"/>
                  </a:lnTo>
                  <a:lnTo>
                    <a:pt x="30099" y="557117"/>
                  </a:lnTo>
                  <a:lnTo>
                    <a:pt x="28099" y="555593"/>
                  </a:lnTo>
                  <a:lnTo>
                    <a:pt x="24479" y="541591"/>
                  </a:lnTo>
                  <a:lnTo>
                    <a:pt x="29337" y="537305"/>
                  </a:lnTo>
                  <a:lnTo>
                    <a:pt x="28861" y="533686"/>
                  </a:lnTo>
                  <a:lnTo>
                    <a:pt x="27051" y="533972"/>
                  </a:lnTo>
                  <a:lnTo>
                    <a:pt x="31718" y="527876"/>
                  </a:lnTo>
                  <a:lnTo>
                    <a:pt x="26384" y="528638"/>
                  </a:lnTo>
                  <a:lnTo>
                    <a:pt x="24289" y="527113"/>
                  </a:lnTo>
                  <a:lnTo>
                    <a:pt x="18288" y="536924"/>
                  </a:lnTo>
                  <a:lnTo>
                    <a:pt x="18764" y="540448"/>
                  </a:lnTo>
                  <a:lnTo>
                    <a:pt x="15240" y="541020"/>
                  </a:lnTo>
                  <a:lnTo>
                    <a:pt x="9525" y="539877"/>
                  </a:lnTo>
                  <a:lnTo>
                    <a:pt x="7048" y="534734"/>
                  </a:lnTo>
                  <a:lnTo>
                    <a:pt x="12192" y="532257"/>
                  </a:lnTo>
                  <a:lnTo>
                    <a:pt x="5905" y="525875"/>
                  </a:lnTo>
                  <a:lnTo>
                    <a:pt x="0" y="523018"/>
                  </a:lnTo>
                  <a:lnTo>
                    <a:pt x="1619" y="521018"/>
                  </a:lnTo>
                  <a:lnTo>
                    <a:pt x="17621" y="504349"/>
                  </a:lnTo>
                  <a:lnTo>
                    <a:pt x="25241" y="492538"/>
                  </a:lnTo>
                  <a:lnTo>
                    <a:pt x="28099" y="486728"/>
                  </a:lnTo>
                  <a:lnTo>
                    <a:pt x="29718" y="484632"/>
                  </a:lnTo>
                  <a:lnTo>
                    <a:pt x="43244" y="462915"/>
                  </a:lnTo>
                  <a:lnTo>
                    <a:pt x="42767" y="459391"/>
                  </a:lnTo>
                  <a:lnTo>
                    <a:pt x="34195" y="449580"/>
                  </a:lnTo>
                  <a:lnTo>
                    <a:pt x="33433" y="444246"/>
                  </a:lnTo>
                  <a:lnTo>
                    <a:pt x="30480" y="435578"/>
                  </a:lnTo>
                  <a:lnTo>
                    <a:pt x="34100" y="435102"/>
                  </a:lnTo>
                  <a:lnTo>
                    <a:pt x="33909" y="433388"/>
                  </a:lnTo>
                  <a:lnTo>
                    <a:pt x="35623" y="433102"/>
                  </a:lnTo>
                  <a:lnTo>
                    <a:pt x="34957" y="427768"/>
                  </a:lnTo>
                  <a:lnTo>
                    <a:pt x="43720" y="424815"/>
                  </a:lnTo>
                  <a:lnTo>
                    <a:pt x="46672" y="433483"/>
                  </a:lnTo>
                  <a:lnTo>
                    <a:pt x="55626" y="432245"/>
                  </a:lnTo>
                  <a:lnTo>
                    <a:pt x="59246" y="431768"/>
                  </a:lnTo>
                  <a:lnTo>
                    <a:pt x="69723" y="428625"/>
                  </a:lnTo>
                  <a:lnTo>
                    <a:pt x="69056" y="423196"/>
                  </a:lnTo>
                  <a:lnTo>
                    <a:pt x="70580" y="421196"/>
                  </a:lnTo>
                  <a:lnTo>
                    <a:pt x="74009" y="419005"/>
                  </a:lnTo>
                  <a:lnTo>
                    <a:pt x="75343" y="415195"/>
                  </a:lnTo>
                  <a:lnTo>
                    <a:pt x="82487" y="414242"/>
                  </a:lnTo>
                  <a:lnTo>
                    <a:pt x="81058" y="403574"/>
                  </a:lnTo>
                  <a:lnTo>
                    <a:pt x="73628" y="388239"/>
                  </a:lnTo>
                  <a:lnTo>
                    <a:pt x="67437" y="383572"/>
                  </a:lnTo>
                  <a:lnTo>
                    <a:pt x="73152" y="384620"/>
                  </a:lnTo>
                  <a:lnTo>
                    <a:pt x="70580" y="379571"/>
                  </a:lnTo>
                  <a:lnTo>
                    <a:pt x="80867" y="374523"/>
                  </a:lnTo>
                  <a:lnTo>
                    <a:pt x="74581" y="368141"/>
                  </a:lnTo>
                  <a:lnTo>
                    <a:pt x="73438" y="359188"/>
                  </a:lnTo>
                  <a:lnTo>
                    <a:pt x="72866" y="355663"/>
                  </a:lnTo>
                  <a:lnTo>
                    <a:pt x="69818" y="359664"/>
                  </a:lnTo>
                  <a:lnTo>
                    <a:pt x="59912" y="353759"/>
                  </a:lnTo>
                  <a:lnTo>
                    <a:pt x="53530" y="347281"/>
                  </a:lnTo>
                  <a:lnTo>
                    <a:pt x="52578" y="340233"/>
                  </a:lnTo>
                  <a:lnTo>
                    <a:pt x="51626" y="333089"/>
                  </a:lnTo>
                  <a:lnTo>
                    <a:pt x="46482" y="335566"/>
                  </a:lnTo>
                  <a:lnTo>
                    <a:pt x="44005" y="330422"/>
                  </a:lnTo>
                  <a:lnTo>
                    <a:pt x="41624" y="312706"/>
                  </a:lnTo>
                  <a:lnTo>
                    <a:pt x="55340" y="305371"/>
                  </a:lnTo>
                  <a:lnTo>
                    <a:pt x="62389" y="289941"/>
                  </a:lnTo>
                  <a:lnTo>
                    <a:pt x="50959" y="286036"/>
                  </a:lnTo>
                  <a:lnTo>
                    <a:pt x="63722" y="286131"/>
                  </a:lnTo>
                  <a:lnTo>
                    <a:pt x="71723" y="277844"/>
                  </a:lnTo>
                  <a:lnTo>
                    <a:pt x="65913" y="274987"/>
                  </a:lnTo>
                  <a:lnTo>
                    <a:pt x="58007" y="270605"/>
                  </a:lnTo>
                  <a:lnTo>
                    <a:pt x="52673" y="271272"/>
                  </a:lnTo>
                  <a:lnTo>
                    <a:pt x="46292" y="264890"/>
                  </a:lnTo>
                  <a:lnTo>
                    <a:pt x="43815" y="259747"/>
                  </a:lnTo>
                  <a:lnTo>
                    <a:pt x="38386" y="260509"/>
                  </a:lnTo>
                  <a:lnTo>
                    <a:pt x="36386" y="258985"/>
                  </a:lnTo>
                  <a:lnTo>
                    <a:pt x="39053" y="251365"/>
                  </a:lnTo>
                  <a:lnTo>
                    <a:pt x="44196" y="248888"/>
                  </a:lnTo>
                  <a:lnTo>
                    <a:pt x="46101" y="235934"/>
                  </a:lnTo>
                  <a:lnTo>
                    <a:pt x="55912" y="227362"/>
                  </a:lnTo>
                  <a:lnTo>
                    <a:pt x="64961" y="226219"/>
                  </a:lnTo>
                  <a:lnTo>
                    <a:pt x="66485" y="224123"/>
                  </a:lnTo>
                  <a:lnTo>
                    <a:pt x="62484" y="221075"/>
                  </a:lnTo>
                  <a:lnTo>
                    <a:pt x="54959" y="220218"/>
                  </a:lnTo>
                  <a:lnTo>
                    <a:pt x="58103" y="216217"/>
                  </a:lnTo>
                  <a:lnTo>
                    <a:pt x="54197" y="200406"/>
                  </a:lnTo>
                  <a:lnTo>
                    <a:pt x="49435" y="191929"/>
                  </a:lnTo>
                  <a:lnTo>
                    <a:pt x="45339" y="188881"/>
                  </a:lnTo>
                  <a:lnTo>
                    <a:pt x="40577" y="180404"/>
                  </a:lnTo>
                  <a:lnTo>
                    <a:pt x="42196" y="178403"/>
                  </a:lnTo>
                  <a:lnTo>
                    <a:pt x="43244" y="172879"/>
                  </a:lnTo>
                  <a:lnTo>
                    <a:pt x="51530" y="166307"/>
                  </a:lnTo>
                  <a:lnTo>
                    <a:pt x="59150" y="168878"/>
                  </a:lnTo>
                  <a:lnTo>
                    <a:pt x="63532" y="173736"/>
                  </a:lnTo>
                  <a:lnTo>
                    <a:pt x="75629" y="183071"/>
                  </a:lnTo>
                  <a:lnTo>
                    <a:pt x="80296" y="176975"/>
                  </a:lnTo>
                  <a:lnTo>
                    <a:pt x="77819" y="171926"/>
                  </a:lnTo>
                  <a:lnTo>
                    <a:pt x="79629" y="171641"/>
                  </a:lnTo>
                  <a:lnTo>
                    <a:pt x="81248" y="169640"/>
                  </a:lnTo>
                  <a:lnTo>
                    <a:pt x="82010" y="162211"/>
                  </a:lnTo>
                  <a:lnTo>
                    <a:pt x="83629" y="160211"/>
                  </a:lnTo>
                  <a:lnTo>
                    <a:pt x="84677" y="154686"/>
                  </a:lnTo>
                  <a:lnTo>
                    <a:pt x="92488" y="144589"/>
                  </a:lnTo>
                  <a:lnTo>
                    <a:pt x="98965" y="138303"/>
                  </a:lnTo>
                  <a:lnTo>
                    <a:pt x="104585" y="139351"/>
                  </a:lnTo>
                  <a:lnTo>
                    <a:pt x="109252" y="133255"/>
                  </a:lnTo>
                  <a:lnTo>
                    <a:pt x="113347" y="136303"/>
                  </a:lnTo>
                  <a:lnTo>
                    <a:pt x="108776" y="129730"/>
                  </a:lnTo>
                  <a:lnTo>
                    <a:pt x="111728" y="123920"/>
                  </a:lnTo>
                  <a:lnTo>
                    <a:pt x="109442" y="120587"/>
                  </a:lnTo>
                  <a:lnTo>
                    <a:pt x="110490" y="114967"/>
                  </a:lnTo>
                  <a:lnTo>
                    <a:pt x="110300" y="113157"/>
                  </a:lnTo>
                  <a:lnTo>
                    <a:pt x="115824" y="99727"/>
                  </a:lnTo>
                  <a:lnTo>
                    <a:pt x="120110" y="104680"/>
                  </a:lnTo>
                  <a:lnTo>
                    <a:pt x="125539" y="103918"/>
                  </a:lnTo>
                  <a:lnTo>
                    <a:pt x="129921" y="96107"/>
                  </a:lnTo>
                  <a:lnTo>
                    <a:pt x="121634" y="88106"/>
                  </a:lnTo>
                  <a:lnTo>
                    <a:pt x="122492" y="80772"/>
                  </a:lnTo>
                  <a:lnTo>
                    <a:pt x="122015" y="77153"/>
                  </a:lnTo>
                  <a:lnTo>
                    <a:pt x="110776" y="75057"/>
                  </a:lnTo>
                  <a:lnTo>
                    <a:pt x="108490" y="71723"/>
                  </a:lnTo>
                  <a:lnTo>
                    <a:pt x="109823" y="67913"/>
                  </a:lnTo>
                  <a:lnTo>
                    <a:pt x="114967" y="65437"/>
                  </a:lnTo>
                  <a:lnTo>
                    <a:pt x="112871" y="63913"/>
                  </a:lnTo>
                  <a:lnTo>
                    <a:pt x="116014" y="59817"/>
                  </a:lnTo>
                  <a:lnTo>
                    <a:pt x="112204" y="58579"/>
                  </a:lnTo>
                  <a:lnTo>
                    <a:pt x="111728" y="54959"/>
                  </a:lnTo>
                  <a:lnTo>
                    <a:pt x="106299" y="55721"/>
                  </a:lnTo>
                  <a:lnTo>
                    <a:pt x="104775" y="57721"/>
                  </a:lnTo>
                  <a:lnTo>
                    <a:pt x="104108" y="52388"/>
                  </a:lnTo>
                  <a:lnTo>
                    <a:pt x="100203" y="51054"/>
                  </a:lnTo>
                  <a:lnTo>
                    <a:pt x="97727" y="46006"/>
                  </a:lnTo>
                  <a:lnTo>
                    <a:pt x="93917" y="44672"/>
                  </a:lnTo>
                  <a:lnTo>
                    <a:pt x="95440" y="42672"/>
                  </a:lnTo>
                  <a:lnTo>
                    <a:pt x="91916" y="43148"/>
                  </a:lnTo>
                  <a:lnTo>
                    <a:pt x="86487" y="43815"/>
                  </a:lnTo>
                  <a:lnTo>
                    <a:pt x="86296" y="42005"/>
                  </a:lnTo>
                  <a:lnTo>
                    <a:pt x="88868" y="34480"/>
                  </a:lnTo>
                  <a:lnTo>
                    <a:pt x="82772" y="29813"/>
                  </a:lnTo>
                  <a:lnTo>
                    <a:pt x="77438" y="30480"/>
                  </a:lnTo>
                  <a:lnTo>
                    <a:pt x="80581" y="26479"/>
                  </a:lnTo>
                  <a:lnTo>
                    <a:pt x="86392" y="29337"/>
                  </a:lnTo>
                  <a:lnTo>
                    <a:pt x="91535" y="26861"/>
                  </a:lnTo>
                  <a:lnTo>
                    <a:pt x="92678" y="21241"/>
                  </a:lnTo>
                  <a:lnTo>
                    <a:pt x="96203" y="20764"/>
                  </a:lnTo>
                  <a:lnTo>
                    <a:pt x="96012" y="18955"/>
                  </a:lnTo>
                  <a:lnTo>
                    <a:pt x="90583" y="19717"/>
                  </a:lnTo>
                  <a:lnTo>
                    <a:pt x="90392" y="17907"/>
                  </a:lnTo>
                  <a:lnTo>
                    <a:pt x="93726" y="15621"/>
                  </a:lnTo>
                  <a:lnTo>
                    <a:pt x="100965" y="14764"/>
                  </a:lnTo>
                  <a:lnTo>
                    <a:pt x="119253" y="1429"/>
                  </a:lnTo>
                  <a:lnTo>
                    <a:pt x="123349" y="4477"/>
                  </a:lnTo>
                  <a:lnTo>
                    <a:pt x="128206" y="191"/>
                  </a:lnTo>
                  <a:lnTo>
                    <a:pt x="130016" y="0"/>
                  </a:lnTo>
                  <a:lnTo>
                    <a:pt x="142970" y="14573"/>
                  </a:lnTo>
                  <a:lnTo>
                    <a:pt x="149162" y="6477"/>
                  </a:lnTo>
                  <a:lnTo>
                    <a:pt x="151162" y="8096"/>
                  </a:lnTo>
                  <a:lnTo>
                    <a:pt x="153257" y="9620"/>
                  </a:lnTo>
                  <a:lnTo>
                    <a:pt x="156877" y="9144"/>
                  </a:lnTo>
                  <a:lnTo>
                    <a:pt x="155257" y="11144"/>
                  </a:lnTo>
                  <a:lnTo>
                    <a:pt x="156020" y="16478"/>
                  </a:lnTo>
                  <a:lnTo>
                    <a:pt x="165926" y="22384"/>
                  </a:lnTo>
                  <a:lnTo>
                    <a:pt x="166878" y="29528"/>
                  </a:lnTo>
                  <a:lnTo>
                    <a:pt x="167069" y="31337"/>
                  </a:lnTo>
                  <a:lnTo>
                    <a:pt x="160115" y="34100"/>
                  </a:lnTo>
                  <a:lnTo>
                    <a:pt x="162211" y="35624"/>
                  </a:lnTo>
                  <a:lnTo>
                    <a:pt x="167545" y="34862"/>
                  </a:lnTo>
                  <a:lnTo>
                    <a:pt x="166688" y="42291"/>
                  </a:lnTo>
                  <a:lnTo>
                    <a:pt x="181546" y="43910"/>
                  </a:lnTo>
                  <a:lnTo>
                    <a:pt x="183832" y="47244"/>
                  </a:lnTo>
                  <a:lnTo>
                    <a:pt x="182213" y="49244"/>
                  </a:lnTo>
                  <a:lnTo>
                    <a:pt x="176879" y="50006"/>
                  </a:lnTo>
                  <a:lnTo>
                    <a:pt x="177355" y="53530"/>
                  </a:lnTo>
                  <a:lnTo>
                    <a:pt x="178879" y="51530"/>
                  </a:lnTo>
                  <a:lnTo>
                    <a:pt x="183166" y="56388"/>
                  </a:lnTo>
                  <a:lnTo>
                    <a:pt x="186595" y="54102"/>
                  </a:lnTo>
                  <a:lnTo>
                    <a:pt x="189071" y="59246"/>
                  </a:lnTo>
                  <a:lnTo>
                    <a:pt x="192691" y="58769"/>
                  </a:lnTo>
                  <a:lnTo>
                    <a:pt x="193357" y="64103"/>
                  </a:lnTo>
                  <a:lnTo>
                    <a:pt x="193834" y="67723"/>
                  </a:lnTo>
                  <a:lnTo>
                    <a:pt x="190500" y="69913"/>
                  </a:lnTo>
                  <a:lnTo>
                    <a:pt x="190690" y="71723"/>
                  </a:lnTo>
                  <a:lnTo>
                    <a:pt x="197739" y="83439"/>
                  </a:lnTo>
                  <a:lnTo>
                    <a:pt x="198406" y="88868"/>
                  </a:lnTo>
                  <a:lnTo>
                    <a:pt x="197834" y="98012"/>
                  </a:lnTo>
                  <a:lnTo>
                    <a:pt x="195834" y="96393"/>
                  </a:lnTo>
                  <a:lnTo>
                    <a:pt x="192500" y="98679"/>
                  </a:lnTo>
                  <a:lnTo>
                    <a:pt x="202597" y="106394"/>
                  </a:lnTo>
                  <a:lnTo>
                    <a:pt x="208217" y="107537"/>
                  </a:lnTo>
                  <a:lnTo>
                    <a:pt x="213170" y="103251"/>
                  </a:lnTo>
                  <a:lnTo>
                    <a:pt x="215646" y="108299"/>
                  </a:lnTo>
                  <a:lnTo>
                    <a:pt x="219456" y="109633"/>
                  </a:lnTo>
                  <a:lnTo>
                    <a:pt x="219742" y="111442"/>
                  </a:lnTo>
                  <a:lnTo>
                    <a:pt x="218885" y="118777"/>
                  </a:lnTo>
                  <a:lnTo>
                    <a:pt x="220694" y="118586"/>
                  </a:lnTo>
                  <a:lnTo>
                    <a:pt x="219551" y="124111"/>
                  </a:lnTo>
                  <a:lnTo>
                    <a:pt x="217742" y="124396"/>
                  </a:lnTo>
                  <a:lnTo>
                    <a:pt x="218218" y="127921"/>
                  </a:lnTo>
                  <a:lnTo>
                    <a:pt x="229267" y="128302"/>
                  </a:lnTo>
                  <a:lnTo>
                    <a:pt x="226123" y="132302"/>
                  </a:lnTo>
                  <a:lnTo>
                    <a:pt x="228219" y="133826"/>
                  </a:lnTo>
                  <a:lnTo>
                    <a:pt x="232696" y="140494"/>
                  </a:lnTo>
                  <a:lnTo>
                    <a:pt x="236315" y="140017"/>
                  </a:lnTo>
                  <a:lnTo>
                    <a:pt x="234982" y="143828"/>
                  </a:lnTo>
                  <a:lnTo>
                    <a:pt x="235648" y="149162"/>
                  </a:lnTo>
                  <a:lnTo>
                    <a:pt x="237458" y="148971"/>
                  </a:lnTo>
                  <a:lnTo>
                    <a:pt x="237268" y="147161"/>
                  </a:lnTo>
                  <a:lnTo>
                    <a:pt x="240887" y="146685"/>
                  </a:lnTo>
                  <a:lnTo>
                    <a:pt x="246507" y="147733"/>
                  </a:lnTo>
                  <a:lnTo>
                    <a:pt x="246221" y="146018"/>
                  </a:lnTo>
                  <a:lnTo>
                    <a:pt x="248031" y="145733"/>
                  </a:lnTo>
                  <a:lnTo>
                    <a:pt x="249555" y="143732"/>
                  </a:lnTo>
                  <a:lnTo>
                    <a:pt x="247745" y="143923"/>
                  </a:lnTo>
                  <a:lnTo>
                    <a:pt x="249079" y="140113"/>
                  </a:lnTo>
                  <a:lnTo>
                    <a:pt x="247269" y="140399"/>
                  </a:lnTo>
                  <a:lnTo>
                    <a:pt x="246602" y="135064"/>
                  </a:lnTo>
                  <a:lnTo>
                    <a:pt x="242792" y="133731"/>
                  </a:lnTo>
                  <a:lnTo>
                    <a:pt x="248126" y="133064"/>
                  </a:lnTo>
                  <a:lnTo>
                    <a:pt x="247650" y="129445"/>
                  </a:lnTo>
                  <a:lnTo>
                    <a:pt x="250793" y="125444"/>
                  </a:lnTo>
                  <a:lnTo>
                    <a:pt x="248317" y="120301"/>
                  </a:lnTo>
                  <a:lnTo>
                    <a:pt x="250127" y="120110"/>
                  </a:lnTo>
                  <a:lnTo>
                    <a:pt x="254127" y="123158"/>
                  </a:lnTo>
                  <a:lnTo>
                    <a:pt x="255079" y="130302"/>
                  </a:lnTo>
                  <a:lnTo>
                    <a:pt x="261461" y="136684"/>
                  </a:lnTo>
                  <a:lnTo>
                    <a:pt x="262414" y="143828"/>
                  </a:lnTo>
                  <a:lnTo>
                    <a:pt x="257746" y="149924"/>
                  </a:lnTo>
                  <a:lnTo>
                    <a:pt x="256889" y="157258"/>
                  </a:lnTo>
                  <a:lnTo>
                    <a:pt x="259175" y="160592"/>
                  </a:lnTo>
                  <a:lnTo>
                    <a:pt x="253937" y="163068"/>
                  </a:lnTo>
                  <a:lnTo>
                    <a:pt x="248221" y="174688"/>
                  </a:lnTo>
                  <a:lnTo>
                    <a:pt x="250507" y="178022"/>
                  </a:lnTo>
                  <a:lnTo>
                    <a:pt x="250507" y="178022"/>
                  </a:lnTo>
                  <a:lnTo>
                    <a:pt x="254508" y="181166"/>
                  </a:lnTo>
                  <a:lnTo>
                    <a:pt x="251460" y="185166"/>
                  </a:lnTo>
                  <a:lnTo>
                    <a:pt x="244697" y="189738"/>
                  </a:lnTo>
                  <a:lnTo>
                    <a:pt x="250793" y="194310"/>
                  </a:lnTo>
                  <a:lnTo>
                    <a:pt x="254413" y="193834"/>
                  </a:lnTo>
                  <a:lnTo>
                    <a:pt x="263843" y="196215"/>
                  </a:lnTo>
                  <a:lnTo>
                    <a:pt x="264033" y="198025"/>
                  </a:lnTo>
                  <a:lnTo>
                    <a:pt x="264795" y="203359"/>
                  </a:lnTo>
                  <a:lnTo>
                    <a:pt x="274225" y="205740"/>
                  </a:lnTo>
                  <a:lnTo>
                    <a:pt x="274511" y="207550"/>
                  </a:lnTo>
                  <a:lnTo>
                    <a:pt x="276225" y="207264"/>
                  </a:lnTo>
                  <a:lnTo>
                    <a:pt x="279845" y="206788"/>
                  </a:lnTo>
                  <a:lnTo>
                    <a:pt x="291560" y="212503"/>
                  </a:lnTo>
                  <a:lnTo>
                    <a:pt x="294894" y="210217"/>
                  </a:lnTo>
                  <a:lnTo>
                    <a:pt x="296704" y="210026"/>
                  </a:lnTo>
                  <a:lnTo>
                    <a:pt x="308420" y="215741"/>
                  </a:lnTo>
                  <a:lnTo>
                    <a:pt x="313849" y="214979"/>
                  </a:lnTo>
                  <a:lnTo>
                    <a:pt x="314039" y="216789"/>
                  </a:lnTo>
                  <a:lnTo>
                    <a:pt x="318421" y="221647"/>
                  </a:lnTo>
                  <a:lnTo>
                    <a:pt x="325374" y="233458"/>
                  </a:lnTo>
                  <a:lnTo>
                    <a:pt x="334137" y="230410"/>
                  </a:lnTo>
                  <a:lnTo>
                    <a:pt x="336899" y="237363"/>
                  </a:lnTo>
                  <a:lnTo>
                    <a:pt x="335566" y="241173"/>
                  </a:lnTo>
                  <a:lnTo>
                    <a:pt x="335852" y="242888"/>
                  </a:lnTo>
                  <a:lnTo>
                    <a:pt x="332422" y="245174"/>
                  </a:lnTo>
                  <a:lnTo>
                    <a:pt x="337185" y="253555"/>
                  </a:lnTo>
                  <a:lnTo>
                    <a:pt x="340233" y="262223"/>
                  </a:lnTo>
                  <a:lnTo>
                    <a:pt x="339376" y="269653"/>
                  </a:lnTo>
                  <a:lnTo>
                    <a:pt x="341852" y="274701"/>
                  </a:lnTo>
                  <a:lnTo>
                    <a:pt x="343376" y="272701"/>
                  </a:lnTo>
                  <a:lnTo>
                    <a:pt x="345472" y="274225"/>
                  </a:lnTo>
                  <a:lnTo>
                    <a:pt x="347948" y="279368"/>
                  </a:lnTo>
                  <a:lnTo>
                    <a:pt x="351377" y="291655"/>
                  </a:lnTo>
                  <a:lnTo>
                    <a:pt x="355187" y="292894"/>
                  </a:lnTo>
                  <a:lnTo>
                    <a:pt x="352139" y="296989"/>
                  </a:lnTo>
                  <a:lnTo>
                    <a:pt x="356997" y="292703"/>
                  </a:lnTo>
                  <a:lnTo>
                    <a:pt x="357283" y="294513"/>
                  </a:lnTo>
                  <a:lnTo>
                    <a:pt x="357759" y="298037"/>
                  </a:lnTo>
                  <a:lnTo>
                    <a:pt x="356140" y="300038"/>
                  </a:lnTo>
                  <a:lnTo>
                    <a:pt x="349948" y="308134"/>
                  </a:lnTo>
                  <a:lnTo>
                    <a:pt x="350139" y="309848"/>
                  </a:lnTo>
                  <a:lnTo>
                    <a:pt x="348234" y="322802"/>
                  </a:lnTo>
                  <a:lnTo>
                    <a:pt x="341281" y="325564"/>
                  </a:lnTo>
                  <a:lnTo>
                    <a:pt x="338138" y="329660"/>
                  </a:lnTo>
                  <a:lnTo>
                    <a:pt x="331661" y="335947"/>
                  </a:lnTo>
                  <a:lnTo>
                    <a:pt x="330803" y="343281"/>
                  </a:lnTo>
                  <a:lnTo>
                    <a:pt x="336613" y="346138"/>
                  </a:lnTo>
                  <a:lnTo>
                    <a:pt x="337376" y="351472"/>
                  </a:lnTo>
                  <a:lnTo>
                    <a:pt x="345281" y="355854"/>
                  </a:lnTo>
                  <a:lnTo>
                    <a:pt x="346710" y="366617"/>
                  </a:lnTo>
                  <a:lnTo>
                    <a:pt x="338042" y="384048"/>
                  </a:lnTo>
                  <a:lnTo>
                    <a:pt x="343853" y="386905"/>
                  </a:lnTo>
                  <a:lnTo>
                    <a:pt x="350425" y="395097"/>
                  </a:lnTo>
                  <a:lnTo>
                    <a:pt x="352330" y="409289"/>
                  </a:lnTo>
                  <a:lnTo>
                    <a:pt x="356140" y="410623"/>
                  </a:lnTo>
                  <a:lnTo>
                    <a:pt x="360236" y="413766"/>
                  </a:lnTo>
                  <a:lnTo>
                    <a:pt x="362045" y="413480"/>
                  </a:lnTo>
                  <a:lnTo>
                    <a:pt x="362521" y="417100"/>
                  </a:lnTo>
                  <a:lnTo>
                    <a:pt x="356045" y="423291"/>
                  </a:lnTo>
                  <a:lnTo>
                    <a:pt x="354235" y="423577"/>
                  </a:lnTo>
                  <a:lnTo>
                    <a:pt x="355187" y="430721"/>
                  </a:lnTo>
                  <a:lnTo>
                    <a:pt x="348710" y="437007"/>
                  </a:lnTo>
                  <a:lnTo>
                    <a:pt x="354806" y="441674"/>
                  </a:lnTo>
                  <a:lnTo>
                    <a:pt x="354044" y="436245"/>
                  </a:lnTo>
                  <a:lnTo>
                    <a:pt x="368427" y="434340"/>
                  </a:lnTo>
                  <a:lnTo>
                    <a:pt x="372237" y="435673"/>
                  </a:lnTo>
                  <a:lnTo>
                    <a:pt x="375856" y="435197"/>
                  </a:lnTo>
                  <a:lnTo>
                    <a:pt x="378143" y="438531"/>
                  </a:lnTo>
                  <a:lnTo>
                    <a:pt x="384810" y="434054"/>
                  </a:lnTo>
                  <a:lnTo>
                    <a:pt x="390906" y="424148"/>
                  </a:lnTo>
                  <a:lnTo>
                    <a:pt x="394430" y="423672"/>
                  </a:lnTo>
                  <a:lnTo>
                    <a:pt x="397193" y="430625"/>
                  </a:lnTo>
                  <a:lnTo>
                    <a:pt x="395288" y="443484"/>
                  </a:lnTo>
                  <a:lnTo>
                    <a:pt x="392144" y="447580"/>
                  </a:lnTo>
                  <a:lnTo>
                    <a:pt x="394430" y="450913"/>
                  </a:lnTo>
                  <a:lnTo>
                    <a:pt x="392621" y="451104"/>
                  </a:lnTo>
                  <a:lnTo>
                    <a:pt x="394906" y="454438"/>
                  </a:lnTo>
                  <a:lnTo>
                    <a:pt x="391573" y="456724"/>
                  </a:lnTo>
                  <a:lnTo>
                    <a:pt x="384524" y="486632"/>
                  </a:lnTo>
                  <a:lnTo>
                    <a:pt x="378619" y="483775"/>
                  </a:lnTo>
                  <a:lnTo>
                    <a:pt x="377285" y="487585"/>
                  </a:lnTo>
                  <a:lnTo>
                    <a:pt x="373475" y="486251"/>
                  </a:lnTo>
                  <a:lnTo>
                    <a:pt x="370142" y="488537"/>
                  </a:lnTo>
                  <a:lnTo>
                    <a:pt x="370808" y="493871"/>
                  </a:lnTo>
                  <a:lnTo>
                    <a:pt x="365474" y="494633"/>
                  </a:lnTo>
                  <a:lnTo>
                    <a:pt x="363188" y="491299"/>
                  </a:lnTo>
                  <a:lnTo>
                    <a:pt x="355759" y="490442"/>
                  </a:lnTo>
                  <a:lnTo>
                    <a:pt x="350901" y="494729"/>
                  </a:lnTo>
                  <a:lnTo>
                    <a:pt x="350520" y="505682"/>
                  </a:lnTo>
                  <a:lnTo>
                    <a:pt x="345377" y="522637"/>
                  </a:lnTo>
                  <a:lnTo>
                    <a:pt x="343567" y="522922"/>
                  </a:lnTo>
                  <a:lnTo>
                    <a:pt x="344996" y="533590"/>
                  </a:lnTo>
                  <a:lnTo>
                    <a:pt x="340138" y="537877"/>
                  </a:lnTo>
                  <a:lnTo>
                    <a:pt x="334232" y="535019"/>
                  </a:lnTo>
                  <a:lnTo>
                    <a:pt x="321469" y="534924"/>
                  </a:lnTo>
                  <a:lnTo>
                    <a:pt x="322231" y="554736"/>
                  </a:lnTo>
                  <a:lnTo>
                    <a:pt x="323755" y="552736"/>
                  </a:lnTo>
                  <a:lnTo>
                    <a:pt x="326327" y="55778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4" name="Volný tvar: obrazec 53">
              <a:extLst>
                <a:ext uri="{FF2B5EF4-FFF2-40B4-BE49-F238E27FC236}">
                  <a16:creationId xmlns:a16="http://schemas.microsoft.com/office/drawing/2014/main" id="{D7853E00-2F1F-D64F-6AB5-7821DD85105C}"/>
                </a:ext>
              </a:extLst>
            </p:cNvPr>
            <p:cNvSpPr/>
            <p:nvPr userDrawn="1"/>
          </p:nvSpPr>
          <p:spPr>
            <a:xfrm>
              <a:off x="6768131" y="3949255"/>
              <a:ext cx="566166" cy="585406"/>
            </a:xfrm>
            <a:custGeom>
              <a:avLst/>
              <a:gdLst>
                <a:gd name="connsiteX0" fmla="*/ 378809 w 566166"/>
                <a:gd name="connsiteY0" fmla="*/ 160877 h 585406"/>
                <a:gd name="connsiteX1" fmla="*/ 384715 w 566166"/>
                <a:gd name="connsiteY1" fmla="*/ 163735 h 585406"/>
                <a:gd name="connsiteX2" fmla="*/ 395478 w 566166"/>
                <a:gd name="connsiteY2" fmla="*/ 162306 h 585406"/>
                <a:gd name="connsiteX3" fmla="*/ 399955 w 566166"/>
                <a:gd name="connsiteY3" fmla="*/ 154496 h 585406"/>
                <a:gd name="connsiteX4" fmla="*/ 384810 w 566166"/>
                <a:gd name="connsiteY4" fmla="*/ 136493 h 585406"/>
                <a:gd name="connsiteX5" fmla="*/ 386810 w 566166"/>
                <a:gd name="connsiteY5" fmla="*/ 138017 h 585406"/>
                <a:gd name="connsiteX6" fmla="*/ 395097 w 566166"/>
                <a:gd name="connsiteY6" fmla="*/ 131445 h 585406"/>
                <a:gd name="connsiteX7" fmla="*/ 396240 w 566166"/>
                <a:gd name="connsiteY7" fmla="*/ 125921 h 585406"/>
                <a:gd name="connsiteX8" fmla="*/ 400050 w 566166"/>
                <a:gd name="connsiteY8" fmla="*/ 127254 h 585406"/>
                <a:gd name="connsiteX9" fmla="*/ 402526 w 566166"/>
                <a:gd name="connsiteY9" fmla="*/ 132397 h 585406"/>
                <a:gd name="connsiteX10" fmla="*/ 414909 w 566166"/>
                <a:gd name="connsiteY10" fmla="*/ 128968 h 585406"/>
                <a:gd name="connsiteX11" fmla="*/ 417385 w 566166"/>
                <a:gd name="connsiteY11" fmla="*/ 134112 h 585406"/>
                <a:gd name="connsiteX12" fmla="*/ 423196 w 566166"/>
                <a:gd name="connsiteY12" fmla="*/ 136969 h 585406"/>
                <a:gd name="connsiteX13" fmla="*/ 425672 w 566166"/>
                <a:gd name="connsiteY13" fmla="*/ 142113 h 585406"/>
                <a:gd name="connsiteX14" fmla="*/ 433768 w 566166"/>
                <a:gd name="connsiteY14" fmla="*/ 148304 h 585406"/>
                <a:gd name="connsiteX15" fmla="*/ 432435 w 566166"/>
                <a:gd name="connsiteY15" fmla="*/ 152114 h 585406"/>
                <a:gd name="connsiteX16" fmla="*/ 437197 w 566166"/>
                <a:gd name="connsiteY16" fmla="*/ 160496 h 585406"/>
                <a:gd name="connsiteX17" fmla="*/ 446246 w 566166"/>
                <a:gd name="connsiteY17" fmla="*/ 159353 h 585406"/>
                <a:gd name="connsiteX18" fmla="*/ 447199 w 566166"/>
                <a:gd name="connsiteY18" fmla="*/ 166497 h 585406"/>
                <a:gd name="connsiteX19" fmla="*/ 452628 w 566166"/>
                <a:gd name="connsiteY19" fmla="*/ 165830 h 585406"/>
                <a:gd name="connsiteX20" fmla="*/ 458724 w 566166"/>
                <a:gd name="connsiteY20" fmla="*/ 170402 h 585406"/>
                <a:gd name="connsiteX21" fmla="*/ 469392 w 566166"/>
                <a:gd name="connsiteY21" fmla="*/ 181737 h 585406"/>
                <a:gd name="connsiteX22" fmla="*/ 475012 w 566166"/>
                <a:gd name="connsiteY22" fmla="*/ 182785 h 585406"/>
                <a:gd name="connsiteX23" fmla="*/ 492633 w 566166"/>
                <a:gd name="connsiteY23" fmla="*/ 164116 h 585406"/>
                <a:gd name="connsiteX24" fmla="*/ 493966 w 566166"/>
                <a:gd name="connsiteY24" fmla="*/ 160306 h 585406"/>
                <a:gd name="connsiteX25" fmla="*/ 491490 w 566166"/>
                <a:gd name="connsiteY25" fmla="*/ 155162 h 585406"/>
                <a:gd name="connsiteX26" fmla="*/ 492823 w 566166"/>
                <a:gd name="connsiteY26" fmla="*/ 151352 h 585406"/>
                <a:gd name="connsiteX27" fmla="*/ 498443 w 566166"/>
                <a:gd name="connsiteY27" fmla="*/ 152400 h 585406"/>
                <a:gd name="connsiteX28" fmla="*/ 502539 w 566166"/>
                <a:gd name="connsiteY28" fmla="*/ 155543 h 585406"/>
                <a:gd name="connsiteX29" fmla="*/ 513302 w 566166"/>
                <a:gd name="connsiteY29" fmla="*/ 154114 h 585406"/>
                <a:gd name="connsiteX30" fmla="*/ 518065 w 566166"/>
                <a:gd name="connsiteY30" fmla="*/ 162592 h 585406"/>
                <a:gd name="connsiteX31" fmla="*/ 521684 w 566166"/>
                <a:gd name="connsiteY31" fmla="*/ 162115 h 585406"/>
                <a:gd name="connsiteX32" fmla="*/ 522732 w 566166"/>
                <a:gd name="connsiteY32" fmla="*/ 156496 h 585406"/>
                <a:gd name="connsiteX33" fmla="*/ 534638 w 566166"/>
                <a:gd name="connsiteY33" fmla="*/ 149447 h 585406"/>
                <a:gd name="connsiteX34" fmla="*/ 546068 w 566166"/>
                <a:gd name="connsiteY34" fmla="*/ 153352 h 585406"/>
                <a:gd name="connsiteX35" fmla="*/ 539020 w 566166"/>
                <a:gd name="connsiteY35" fmla="*/ 168783 h 585406"/>
                <a:gd name="connsiteX36" fmla="*/ 525304 w 566166"/>
                <a:gd name="connsiteY36" fmla="*/ 176022 h 585406"/>
                <a:gd name="connsiteX37" fmla="*/ 527685 w 566166"/>
                <a:gd name="connsiteY37" fmla="*/ 193834 h 585406"/>
                <a:gd name="connsiteX38" fmla="*/ 530162 w 566166"/>
                <a:gd name="connsiteY38" fmla="*/ 198977 h 585406"/>
                <a:gd name="connsiteX39" fmla="*/ 535305 w 566166"/>
                <a:gd name="connsiteY39" fmla="*/ 196501 h 585406"/>
                <a:gd name="connsiteX40" fmla="*/ 536257 w 566166"/>
                <a:gd name="connsiteY40" fmla="*/ 203645 h 585406"/>
                <a:gd name="connsiteX41" fmla="*/ 537210 w 566166"/>
                <a:gd name="connsiteY41" fmla="*/ 210788 h 585406"/>
                <a:gd name="connsiteX42" fmla="*/ 543497 w 566166"/>
                <a:gd name="connsiteY42" fmla="*/ 217265 h 585406"/>
                <a:gd name="connsiteX43" fmla="*/ 553403 w 566166"/>
                <a:gd name="connsiteY43" fmla="*/ 223171 h 585406"/>
                <a:gd name="connsiteX44" fmla="*/ 556546 w 566166"/>
                <a:gd name="connsiteY44" fmla="*/ 219170 h 585406"/>
                <a:gd name="connsiteX45" fmla="*/ 557022 w 566166"/>
                <a:gd name="connsiteY45" fmla="*/ 222695 h 585406"/>
                <a:gd name="connsiteX46" fmla="*/ 558165 w 566166"/>
                <a:gd name="connsiteY46" fmla="*/ 231648 h 585406"/>
                <a:gd name="connsiteX47" fmla="*/ 564547 w 566166"/>
                <a:gd name="connsiteY47" fmla="*/ 238030 h 585406"/>
                <a:gd name="connsiteX48" fmla="*/ 554260 w 566166"/>
                <a:gd name="connsiteY48" fmla="*/ 242983 h 585406"/>
                <a:gd name="connsiteX49" fmla="*/ 556736 w 566166"/>
                <a:gd name="connsiteY49" fmla="*/ 248126 h 585406"/>
                <a:gd name="connsiteX50" fmla="*/ 551116 w 566166"/>
                <a:gd name="connsiteY50" fmla="*/ 247079 h 585406"/>
                <a:gd name="connsiteX51" fmla="*/ 557213 w 566166"/>
                <a:gd name="connsiteY51" fmla="*/ 251746 h 585406"/>
                <a:gd name="connsiteX52" fmla="*/ 564737 w 566166"/>
                <a:gd name="connsiteY52" fmla="*/ 267081 h 585406"/>
                <a:gd name="connsiteX53" fmla="*/ 566166 w 566166"/>
                <a:gd name="connsiteY53" fmla="*/ 277749 h 585406"/>
                <a:gd name="connsiteX54" fmla="*/ 558927 w 566166"/>
                <a:gd name="connsiteY54" fmla="*/ 278701 h 585406"/>
                <a:gd name="connsiteX55" fmla="*/ 557593 w 566166"/>
                <a:gd name="connsiteY55" fmla="*/ 282512 h 585406"/>
                <a:gd name="connsiteX56" fmla="*/ 554260 w 566166"/>
                <a:gd name="connsiteY56" fmla="*/ 284797 h 585406"/>
                <a:gd name="connsiteX57" fmla="*/ 552736 w 566166"/>
                <a:gd name="connsiteY57" fmla="*/ 286798 h 585406"/>
                <a:gd name="connsiteX58" fmla="*/ 553403 w 566166"/>
                <a:gd name="connsiteY58" fmla="*/ 292132 h 585406"/>
                <a:gd name="connsiteX59" fmla="*/ 542830 w 566166"/>
                <a:gd name="connsiteY59" fmla="*/ 295370 h 585406"/>
                <a:gd name="connsiteX60" fmla="*/ 539210 w 566166"/>
                <a:gd name="connsiteY60" fmla="*/ 295846 h 585406"/>
                <a:gd name="connsiteX61" fmla="*/ 530257 w 566166"/>
                <a:gd name="connsiteY61" fmla="*/ 296989 h 585406"/>
                <a:gd name="connsiteX62" fmla="*/ 527304 w 566166"/>
                <a:gd name="connsiteY62" fmla="*/ 288322 h 585406"/>
                <a:gd name="connsiteX63" fmla="*/ 518541 w 566166"/>
                <a:gd name="connsiteY63" fmla="*/ 291274 h 585406"/>
                <a:gd name="connsiteX64" fmla="*/ 519208 w 566166"/>
                <a:gd name="connsiteY64" fmla="*/ 296608 h 585406"/>
                <a:gd name="connsiteX65" fmla="*/ 517398 w 566166"/>
                <a:gd name="connsiteY65" fmla="*/ 296894 h 585406"/>
                <a:gd name="connsiteX66" fmla="*/ 517684 w 566166"/>
                <a:gd name="connsiteY66" fmla="*/ 298704 h 585406"/>
                <a:gd name="connsiteX67" fmla="*/ 514064 w 566166"/>
                <a:gd name="connsiteY67" fmla="*/ 299180 h 585406"/>
                <a:gd name="connsiteX68" fmla="*/ 517017 w 566166"/>
                <a:gd name="connsiteY68" fmla="*/ 307848 h 585406"/>
                <a:gd name="connsiteX69" fmla="*/ 517684 w 566166"/>
                <a:gd name="connsiteY69" fmla="*/ 313182 h 585406"/>
                <a:gd name="connsiteX70" fmla="*/ 526256 w 566166"/>
                <a:gd name="connsiteY70" fmla="*/ 322897 h 585406"/>
                <a:gd name="connsiteX71" fmla="*/ 526732 w 566166"/>
                <a:gd name="connsiteY71" fmla="*/ 326422 h 585406"/>
                <a:gd name="connsiteX72" fmla="*/ 513112 w 566166"/>
                <a:gd name="connsiteY72" fmla="*/ 348139 h 585406"/>
                <a:gd name="connsiteX73" fmla="*/ 511588 w 566166"/>
                <a:gd name="connsiteY73" fmla="*/ 350139 h 585406"/>
                <a:gd name="connsiteX74" fmla="*/ 508730 w 566166"/>
                <a:gd name="connsiteY74" fmla="*/ 355949 h 585406"/>
                <a:gd name="connsiteX75" fmla="*/ 501205 w 566166"/>
                <a:gd name="connsiteY75" fmla="*/ 367855 h 585406"/>
                <a:gd name="connsiteX76" fmla="*/ 485108 w 566166"/>
                <a:gd name="connsiteY76" fmla="*/ 384429 h 585406"/>
                <a:gd name="connsiteX77" fmla="*/ 483489 w 566166"/>
                <a:gd name="connsiteY77" fmla="*/ 386429 h 585406"/>
                <a:gd name="connsiteX78" fmla="*/ 489395 w 566166"/>
                <a:gd name="connsiteY78" fmla="*/ 389287 h 585406"/>
                <a:gd name="connsiteX79" fmla="*/ 495776 w 566166"/>
                <a:gd name="connsiteY79" fmla="*/ 395669 h 585406"/>
                <a:gd name="connsiteX80" fmla="*/ 490633 w 566166"/>
                <a:gd name="connsiteY80" fmla="*/ 398145 h 585406"/>
                <a:gd name="connsiteX81" fmla="*/ 493205 w 566166"/>
                <a:gd name="connsiteY81" fmla="*/ 403288 h 585406"/>
                <a:gd name="connsiteX82" fmla="*/ 498824 w 566166"/>
                <a:gd name="connsiteY82" fmla="*/ 404336 h 585406"/>
                <a:gd name="connsiteX83" fmla="*/ 502444 w 566166"/>
                <a:gd name="connsiteY83" fmla="*/ 403860 h 585406"/>
                <a:gd name="connsiteX84" fmla="*/ 501967 w 566166"/>
                <a:gd name="connsiteY84" fmla="*/ 400336 h 585406"/>
                <a:gd name="connsiteX85" fmla="*/ 507968 w 566166"/>
                <a:gd name="connsiteY85" fmla="*/ 390430 h 585406"/>
                <a:gd name="connsiteX86" fmla="*/ 509968 w 566166"/>
                <a:gd name="connsiteY86" fmla="*/ 391954 h 585406"/>
                <a:gd name="connsiteX87" fmla="*/ 515398 w 566166"/>
                <a:gd name="connsiteY87" fmla="*/ 391192 h 585406"/>
                <a:gd name="connsiteX88" fmla="*/ 510730 w 566166"/>
                <a:gd name="connsiteY88" fmla="*/ 397288 h 585406"/>
                <a:gd name="connsiteX89" fmla="*/ 512540 w 566166"/>
                <a:gd name="connsiteY89" fmla="*/ 397097 h 585406"/>
                <a:gd name="connsiteX90" fmla="*/ 513016 w 566166"/>
                <a:gd name="connsiteY90" fmla="*/ 400621 h 585406"/>
                <a:gd name="connsiteX91" fmla="*/ 508063 w 566166"/>
                <a:gd name="connsiteY91" fmla="*/ 404908 h 585406"/>
                <a:gd name="connsiteX92" fmla="*/ 511683 w 566166"/>
                <a:gd name="connsiteY92" fmla="*/ 418909 h 585406"/>
                <a:gd name="connsiteX93" fmla="*/ 513683 w 566166"/>
                <a:gd name="connsiteY93" fmla="*/ 420433 h 585406"/>
                <a:gd name="connsiteX94" fmla="*/ 506825 w 566166"/>
                <a:gd name="connsiteY94" fmla="*/ 437674 h 585406"/>
                <a:gd name="connsiteX95" fmla="*/ 522160 w 566166"/>
                <a:gd name="connsiteY95" fmla="*/ 442913 h 585406"/>
                <a:gd name="connsiteX96" fmla="*/ 527590 w 566166"/>
                <a:gd name="connsiteY96" fmla="*/ 456724 h 585406"/>
                <a:gd name="connsiteX97" fmla="*/ 527209 w 566166"/>
                <a:gd name="connsiteY97" fmla="*/ 467678 h 585406"/>
                <a:gd name="connsiteX98" fmla="*/ 530447 w 566166"/>
                <a:gd name="connsiteY98" fmla="*/ 478155 h 585406"/>
                <a:gd name="connsiteX99" fmla="*/ 524828 w 566166"/>
                <a:gd name="connsiteY99" fmla="*/ 477107 h 585406"/>
                <a:gd name="connsiteX100" fmla="*/ 523113 w 566166"/>
                <a:gd name="connsiteY100" fmla="*/ 491871 h 585406"/>
                <a:gd name="connsiteX101" fmla="*/ 517970 w 566166"/>
                <a:gd name="connsiteY101" fmla="*/ 494347 h 585406"/>
                <a:gd name="connsiteX102" fmla="*/ 517112 w 566166"/>
                <a:gd name="connsiteY102" fmla="*/ 501682 h 585406"/>
                <a:gd name="connsiteX103" fmla="*/ 517398 w 566166"/>
                <a:gd name="connsiteY103" fmla="*/ 503491 h 585406"/>
                <a:gd name="connsiteX104" fmla="*/ 515588 w 566166"/>
                <a:gd name="connsiteY104" fmla="*/ 503777 h 585406"/>
                <a:gd name="connsiteX105" fmla="*/ 512445 w 566166"/>
                <a:gd name="connsiteY105" fmla="*/ 507778 h 585406"/>
                <a:gd name="connsiteX106" fmla="*/ 509111 w 566166"/>
                <a:gd name="connsiteY106" fmla="*/ 510064 h 585406"/>
                <a:gd name="connsiteX107" fmla="*/ 506825 w 566166"/>
                <a:gd name="connsiteY107" fmla="*/ 506730 h 585406"/>
                <a:gd name="connsiteX108" fmla="*/ 503206 w 566166"/>
                <a:gd name="connsiteY108" fmla="*/ 507206 h 585406"/>
                <a:gd name="connsiteX109" fmla="*/ 485965 w 566166"/>
                <a:gd name="connsiteY109" fmla="*/ 514921 h 585406"/>
                <a:gd name="connsiteX110" fmla="*/ 472154 w 566166"/>
                <a:gd name="connsiteY110" fmla="*/ 507682 h 585406"/>
                <a:gd name="connsiteX111" fmla="*/ 456152 w 566166"/>
                <a:gd name="connsiteY111" fmla="*/ 497110 h 585406"/>
                <a:gd name="connsiteX112" fmla="*/ 454628 w 566166"/>
                <a:gd name="connsiteY112" fmla="*/ 499110 h 585406"/>
                <a:gd name="connsiteX113" fmla="*/ 449866 w 566166"/>
                <a:gd name="connsiteY113" fmla="*/ 490728 h 585406"/>
                <a:gd name="connsiteX114" fmla="*/ 437102 w 566166"/>
                <a:gd name="connsiteY114" fmla="*/ 505111 h 585406"/>
                <a:gd name="connsiteX115" fmla="*/ 433006 w 566166"/>
                <a:gd name="connsiteY115" fmla="*/ 502063 h 585406"/>
                <a:gd name="connsiteX116" fmla="*/ 427863 w 566166"/>
                <a:gd name="connsiteY116" fmla="*/ 504539 h 585406"/>
                <a:gd name="connsiteX117" fmla="*/ 428054 w 566166"/>
                <a:gd name="connsiteY117" fmla="*/ 506349 h 585406"/>
                <a:gd name="connsiteX118" fmla="*/ 432340 w 566166"/>
                <a:gd name="connsiteY118" fmla="*/ 511207 h 585406"/>
                <a:gd name="connsiteX119" fmla="*/ 429482 w 566166"/>
                <a:gd name="connsiteY119" fmla="*/ 517017 h 585406"/>
                <a:gd name="connsiteX120" fmla="*/ 419195 w 566166"/>
                <a:gd name="connsiteY120" fmla="*/ 521970 h 585406"/>
                <a:gd name="connsiteX121" fmla="*/ 418338 w 566166"/>
                <a:gd name="connsiteY121" fmla="*/ 529399 h 585406"/>
                <a:gd name="connsiteX122" fmla="*/ 408527 w 566166"/>
                <a:gd name="connsiteY122" fmla="*/ 537972 h 585406"/>
                <a:gd name="connsiteX123" fmla="*/ 409194 w 566166"/>
                <a:gd name="connsiteY123" fmla="*/ 543306 h 585406"/>
                <a:gd name="connsiteX124" fmla="*/ 405860 w 566166"/>
                <a:gd name="connsiteY124" fmla="*/ 545592 h 585406"/>
                <a:gd name="connsiteX125" fmla="*/ 403574 w 566166"/>
                <a:gd name="connsiteY125" fmla="*/ 542258 h 585406"/>
                <a:gd name="connsiteX126" fmla="*/ 400145 w 566166"/>
                <a:gd name="connsiteY126" fmla="*/ 544544 h 585406"/>
                <a:gd name="connsiteX127" fmla="*/ 398335 w 566166"/>
                <a:gd name="connsiteY127" fmla="*/ 544830 h 585406"/>
                <a:gd name="connsiteX128" fmla="*/ 398812 w 566166"/>
                <a:gd name="connsiteY128" fmla="*/ 548354 h 585406"/>
                <a:gd name="connsiteX129" fmla="*/ 395478 w 566166"/>
                <a:gd name="connsiteY129" fmla="*/ 550640 h 585406"/>
                <a:gd name="connsiteX130" fmla="*/ 394621 w 566166"/>
                <a:gd name="connsiteY130" fmla="*/ 557974 h 585406"/>
                <a:gd name="connsiteX131" fmla="*/ 392621 w 566166"/>
                <a:gd name="connsiteY131" fmla="*/ 556450 h 585406"/>
                <a:gd name="connsiteX132" fmla="*/ 391287 w 566166"/>
                <a:gd name="connsiteY132" fmla="*/ 560261 h 585406"/>
                <a:gd name="connsiteX133" fmla="*/ 396526 w 566166"/>
                <a:gd name="connsiteY133" fmla="*/ 572262 h 585406"/>
                <a:gd name="connsiteX134" fmla="*/ 393192 w 566166"/>
                <a:gd name="connsiteY134" fmla="*/ 574548 h 585406"/>
                <a:gd name="connsiteX135" fmla="*/ 389858 w 566166"/>
                <a:gd name="connsiteY135" fmla="*/ 576834 h 585406"/>
                <a:gd name="connsiteX136" fmla="*/ 384238 w 566166"/>
                <a:gd name="connsiteY136" fmla="*/ 575786 h 585406"/>
                <a:gd name="connsiteX137" fmla="*/ 382905 w 566166"/>
                <a:gd name="connsiteY137" fmla="*/ 579596 h 585406"/>
                <a:gd name="connsiteX138" fmla="*/ 381381 w 566166"/>
                <a:gd name="connsiteY138" fmla="*/ 581597 h 585406"/>
                <a:gd name="connsiteX139" fmla="*/ 380047 w 566166"/>
                <a:gd name="connsiteY139" fmla="*/ 585406 h 585406"/>
                <a:gd name="connsiteX140" fmla="*/ 366236 w 566166"/>
                <a:gd name="connsiteY140" fmla="*/ 578167 h 585406"/>
                <a:gd name="connsiteX141" fmla="*/ 353187 w 566166"/>
                <a:gd name="connsiteY141" fmla="*/ 576263 h 585406"/>
                <a:gd name="connsiteX142" fmla="*/ 352520 w 566166"/>
                <a:gd name="connsiteY142" fmla="*/ 570929 h 585406"/>
                <a:gd name="connsiteX143" fmla="*/ 348901 w 566166"/>
                <a:gd name="connsiteY143" fmla="*/ 571405 h 585406"/>
                <a:gd name="connsiteX144" fmla="*/ 338518 w 566166"/>
                <a:gd name="connsiteY144" fmla="*/ 561880 h 585406"/>
                <a:gd name="connsiteX145" fmla="*/ 331375 w 566166"/>
                <a:gd name="connsiteY145" fmla="*/ 562832 h 585406"/>
                <a:gd name="connsiteX146" fmla="*/ 311848 w 566166"/>
                <a:gd name="connsiteY146" fmla="*/ 567214 h 585406"/>
                <a:gd name="connsiteX147" fmla="*/ 309086 w 566166"/>
                <a:gd name="connsiteY147" fmla="*/ 560356 h 585406"/>
                <a:gd name="connsiteX148" fmla="*/ 314230 w 566166"/>
                <a:gd name="connsiteY148" fmla="*/ 557879 h 585406"/>
                <a:gd name="connsiteX149" fmla="*/ 308991 w 566166"/>
                <a:gd name="connsiteY149" fmla="*/ 545878 h 585406"/>
                <a:gd name="connsiteX150" fmla="*/ 310039 w 566166"/>
                <a:gd name="connsiteY150" fmla="*/ 540258 h 585406"/>
                <a:gd name="connsiteX151" fmla="*/ 312896 w 566166"/>
                <a:gd name="connsiteY151" fmla="*/ 534448 h 585406"/>
                <a:gd name="connsiteX152" fmla="*/ 310896 w 566166"/>
                <a:gd name="connsiteY152" fmla="*/ 532924 h 585406"/>
                <a:gd name="connsiteX153" fmla="*/ 311944 w 566166"/>
                <a:gd name="connsiteY153" fmla="*/ 527304 h 585406"/>
                <a:gd name="connsiteX154" fmla="*/ 304324 w 566166"/>
                <a:gd name="connsiteY154" fmla="*/ 524637 h 585406"/>
                <a:gd name="connsiteX155" fmla="*/ 303276 w 566166"/>
                <a:gd name="connsiteY155" fmla="*/ 530257 h 585406"/>
                <a:gd name="connsiteX156" fmla="*/ 299180 w 566166"/>
                <a:gd name="connsiteY156" fmla="*/ 527209 h 585406"/>
                <a:gd name="connsiteX157" fmla="*/ 286036 w 566166"/>
                <a:gd name="connsiteY157" fmla="*/ 537972 h 585406"/>
                <a:gd name="connsiteX158" fmla="*/ 273748 w 566166"/>
                <a:gd name="connsiteY158" fmla="*/ 541401 h 585406"/>
                <a:gd name="connsiteX159" fmla="*/ 275749 w 566166"/>
                <a:gd name="connsiteY159" fmla="*/ 542925 h 585406"/>
                <a:gd name="connsiteX160" fmla="*/ 265938 w 566166"/>
                <a:gd name="connsiteY160" fmla="*/ 551497 h 585406"/>
                <a:gd name="connsiteX161" fmla="*/ 240982 w 566166"/>
                <a:gd name="connsiteY161" fmla="*/ 556641 h 585406"/>
                <a:gd name="connsiteX162" fmla="*/ 226409 w 566166"/>
                <a:gd name="connsiteY162" fmla="*/ 556641 h 585406"/>
                <a:gd name="connsiteX163" fmla="*/ 227743 w 566166"/>
                <a:gd name="connsiteY163" fmla="*/ 552926 h 585406"/>
                <a:gd name="connsiteX164" fmla="*/ 234220 w 566166"/>
                <a:gd name="connsiteY164" fmla="*/ 546640 h 585406"/>
                <a:gd name="connsiteX165" fmla="*/ 228124 w 566166"/>
                <a:gd name="connsiteY165" fmla="*/ 542068 h 585406"/>
                <a:gd name="connsiteX166" fmla="*/ 231267 w 566166"/>
                <a:gd name="connsiteY166" fmla="*/ 537972 h 585406"/>
                <a:gd name="connsiteX167" fmla="*/ 220218 w 566166"/>
                <a:gd name="connsiteY167" fmla="*/ 523113 h 585406"/>
                <a:gd name="connsiteX168" fmla="*/ 218694 w 566166"/>
                <a:gd name="connsiteY168" fmla="*/ 525113 h 585406"/>
                <a:gd name="connsiteX169" fmla="*/ 210312 w 566166"/>
                <a:gd name="connsiteY169" fmla="*/ 517112 h 585406"/>
                <a:gd name="connsiteX170" fmla="*/ 215265 w 566166"/>
                <a:gd name="connsiteY170" fmla="*/ 512826 h 585406"/>
                <a:gd name="connsiteX171" fmla="*/ 212979 w 566166"/>
                <a:gd name="connsiteY171" fmla="*/ 509492 h 585406"/>
                <a:gd name="connsiteX172" fmla="*/ 214313 w 566166"/>
                <a:gd name="connsiteY172" fmla="*/ 505682 h 585406"/>
                <a:gd name="connsiteX173" fmla="*/ 195739 w 566166"/>
                <a:gd name="connsiteY173" fmla="*/ 489966 h 585406"/>
                <a:gd name="connsiteX174" fmla="*/ 186023 w 566166"/>
                <a:gd name="connsiteY174" fmla="*/ 485775 h 585406"/>
                <a:gd name="connsiteX175" fmla="*/ 181928 w 566166"/>
                <a:gd name="connsiteY175" fmla="*/ 482727 h 585406"/>
                <a:gd name="connsiteX176" fmla="*/ 183451 w 566166"/>
                <a:gd name="connsiteY176" fmla="*/ 480727 h 585406"/>
                <a:gd name="connsiteX177" fmla="*/ 177832 w 566166"/>
                <a:gd name="connsiteY177" fmla="*/ 479679 h 585406"/>
                <a:gd name="connsiteX178" fmla="*/ 175831 w 566166"/>
                <a:gd name="connsiteY178" fmla="*/ 478155 h 585406"/>
                <a:gd name="connsiteX179" fmla="*/ 178975 w 566166"/>
                <a:gd name="connsiteY179" fmla="*/ 474155 h 585406"/>
                <a:gd name="connsiteX180" fmla="*/ 164116 w 566166"/>
                <a:gd name="connsiteY180" fmla="*/ 472440 h 585406"/>
                <a:gd name="connsiteX181" fmla="*/ 163925 w 566166"/>
                <a:gd name="connsiteY181" fmla="*/ 470630 h 585406"/>
                <a:gd name="connsiteX182" fmla="*/ 160115 w 566166"/>
                <a:gd name="connsiteY182" fmla="*/ 469297 h 585406"/>
                <a:gd name="connsiteX183" fmla="*/ 153162 w 566166"/>
                <a:gd name="connsiteY183" fmla="*/ 472059 h 585406"/>
                <a:gd name="connsiteX184" fmla="*/ 141256 w 566166"/>
                <a:gd name="connsiteY184" fmla="*/ 479107 h 585406"/>
                <a:gd name="connsiteX185" fmla="*/ 130588 w 566166"/>
                <a:gd name="connsiteY185" fmla="*/ 495014 h 585406"/>
                <a:gd name="connsiteX186" fmla="*/ 128111 w 566166"/>
                <a:gd name="connsiteY186" fmla="*/ 489966 h 585406"/>
                <a:gd name="connsiteX187" fmla="*/ 121825 w 566166"/>
                <a:gd name="connsiteY187" fmla="*/ 483584 h 585406"/>
                <a:gd name="connsiteX188" fmla="*/ 121158 w 566166"/>
                <a:gd name="connsiteY188" fmla="*/ 478250 h 585406"/>
                <a:gd name="connsiteX189" fmla="*/ 114395 w 566166"/>
                <a:gd name="connsiteY189" fmla="*/ 468249 h 585406"/>
                <a:gd name="connsiteX190" fmla="*/ 109442 w 566166"/>
                <a:gd name="connsiteY190" fmla="*/ 472535 h 585406"/>
                <a:gd name="connsiteX191" fmla="*/ 97726 w 566166"/>
                <a:gd name="connsiteY191" fmla="*/ 466820 h 585406"/>
                <a:gd name="connsiteX192" fmla="*/ 94488 w 566166"/>
                <a:gd name="connsiteY192" fmla="*/ 456343 h 585406"/>
                <a:gd name="connsiteX193" fmla="*/ 92964 w 566166"/>
                <a:gd name="connsiteY193" fmla="*/ 458343 h 585406"/>
                <a:gd name="connsiteX194" fmla="*/ 86392 w 566166"/>
                <a:gd name="connsiteY194" fmla="*/ 450151 h 585406"/>
                <a:gd name="connsiteX195" fmla="*/ 68580 w 566166"/>
                <a:gd name="connsiteY195" fmla="*/ 454342 h 585406"/>
                <a:gd name="connsiteX196" fmla="*/ 63437 w 566166"/>
                <a:gd name="connsiteY196" fmla="*/ 456819 h 585406"/>
                <a:gd name="connsiteX197" fmla="*/ 57817 w 566166"/>
                <a:gd name="connsiteY197" fmla="*/ 455771 h 585406"/>
                <a:gd name="connsiteX198" fmla="*/ 52864 w 566166"/>
                <a:gd name="connsiteY198" fmla="*/ 460057 h 585406"/>
                <a:gd name="connsiteX199" fmla="*/ 51054 w 566166"/>
                <a:gd name="connsiteY199" fmla="*/ 460343 h 585406"/>
                <a:gd name="connsiteX200" fmla="*/ 53721 w 566166"/>
                <a:gd name="connsiteY200" fmla="*/ 452723 h 585406"/>
                <a:gd name="connsiteX201" fmla="*/ 44291 w 566166"/>
                <a:gd name="connsiteY201" fmla="*/ 450342 h 585406"/>
                <a:gd name="connsiteX202" fmla="*/ 43339 w 566166"/>
                <a:gd name="connsiteY202" fmla="*/ 443198 h 585406"/>
                <a:gd name="connsiteX203" fmla="*/ 45339 w 566166"/>
                <a:gd name="connsiteY203" fmla="*/ 430244 h 585406"/>
                <a:gd name="connsiteX204" fmla="*/ 33814 w 566166"/>
                <a:gd name="connsiteY204" fmla="*/ 426339 h 585406"/>
                <a:gd name="connsiteX205" fmla="*/ 20383 w 566166"/>
                <a:gd name="connsiteY205" fmla="*/ 435388 h 585406"/>
                <a:gd name="connsiteX206" fmla="*/ 19907 w 566166"/>
                <a:gd name="connsiteY206" fmla="*/ 431863 h 585406"/>
                <a:gd name="connsiteX207" fmla="*/ 22574 w 566166"/>
                <a:gd name="connsiteY207" fmla="*/ 424244 h 585406"/>
                <a:gd name="connsiteX208" fmla="*/ 23717 w 566166"/>
                <a:gd name="connsiteY208" fmla="*/ 418624 h 585406"/>
                <a:gd name="connsiteX209" fmla="*/ 28861 w 566166"/>
                <a:gd name="connsiteY209" fmla="*/ 416147 h 585406"/>
                <a:gd name="connsiteX210" fmla="*/ 30194 w 566166"/>
                <a:gd name="connsiteY210" fmla="*/ 412337 h 585406"/>
                <a:gd name="connsiteX211" fmla="*/ 35147 w 566166"/>
                <a:gd name="connsiteY211" fmla="*/ 408051 h 585406"/>
                <a:gd name="connsiteX212" fmla="*/ 36290 w 566166"/>
                <a:gd name="connsiteY212" fmla="*/ 402431 h 585406"/>
                <a:gd name="connsiteX213" fmla="*/ 40100 w 566166"/>
                <a:gd name="connsiteY213" fmla="*/ 403765 h 585406"/>
                <a:gd name="connsiteX214" fmla="*/ 39814 w 566166"/>
                <a:gd name="connsiteY214" fmla="*/ 401955 h 585406"/>
                <a:gd name="connsiteX215" fmla="*/ 42577 w 566166"/>
                <a:gd name="connsiteY215" fmla="*/ 381667 h 585406"/>
                <a:gd name="connsiteX216" fmla="*/ 38957 w 566166"/>
                <a:gd name="connsiteY216" fmla="*/ 382143 h 585406"/>
                <a:gd name="connsiteX217" fmla="*/ 38290 w 566166"/>
                <a:gd name="connsiteY217" fmla="*/ 376809 h 585406"/>
                <a:gd name="connsiteX218" fmla="*/ 27241 w 566166"/>
                <a:gd name="connsiteY218" fmla="*/ 376428 h 585406"/>
                <a:gd name="connsiteX219" fmla="*/ 33052 w 566166"/>
                <a:gd name="connsiteY219" fmla="*/ 364807 h 585406"/>
                <a:gd name="connsiteX220" fmla="*/ 32575 w 566166"/>
                <a:gd name="connsiteY220" fmla="*/ 361188 h 585406"/>
                <a:gd name="connsiteX221" fmla="*/ 28765 w 566166"/>
                <a:gd name="connsiteY221" fmla="*/ 359950 h 585406"/>
                <a:gd name="connsiteX222" fmla="*/ 27622 w 566166"/>
                <a:gd name="connsiteY222" fmla="*/ 365570 h 585406"/>
                <a:gd name="connsiteX223" fmla="*/ 21146 w 566166"/>
                <a:gd name="connsiteY223" fmla="*/ 371856 h 585406"/>
                <a:gd name="connsiteX224" fmla="*/ 8572 w 566166"/>
                <a:gd name="connsiteY224" fmla="*/ 373475 h 585406"/>
                <a:gd name="connsiteX225" fmla="*/ 11716 w 566166"/>
                <a:gd name="connsiteY225" fmla="*/ 369475 h 585406"/>
                <a:gd name="connsiteX226" fmla="*/ 12763 w 566166"/>
                <a:gd name="connsiteY226" fmla="*/ 363855 h 585406"/>
                <a:gd name="connsiteX227" fmla="*/ 16573 w 566166"/>
                <a:gd name="connsiteY227" fmla="*/ 365188 h 585406"/>
                <a:gd name="connsiteX228" fmla="*/ 19717 w 566166"/>
                <a:gd name="connsiteY228" fmla="*/ 361093 h 585406"/>
                <a:gd name="connsiteX229" fmla="*/ 13145 w 566166"/>
                <a:gd name="connsiteY229" fmla="*/ 352901 h 585406"/>
                <a:gd name="connsiteX230" fmla="*/ 12478 w 566166"/>
                <a:gd name="connsiteY230" fmla="*/ 347567 h 585406"/>
                <a:gd name="connsiteX231" fmla="*/ 10001 w 566166"/>
                <a:gd name="connsiteY231" fmla="*/ 342424 h 585406"/>
                <a:gd name="connsiteX232" fmla="*/ 3048 w 566166"/>
                <a:gd name="connsiteY232" fmla="*/ 345186 h 585406"/>
                <a:gd name="connsiteX233" fmla="*/ 5905 w 566166"/>
                <a:gd name="connsiteY233" fmla="*/ 339376 h 585406"/>
                <a:gd name="connsiteX234" fmla="*/ 0 w 566166"/>
                <a:gd name="connsiteY234" fmla="*/ 336518 h 585406"/>
                <a:gd name="connsiteX235" fmla="*/ 3143 w 566166"/>
                <a:gd name="connsiteY235" fmla="*/ 332518 h 585406"/>
                <a:gd name="connsiteX236" fmla="*/ 7334 w 566166"/>
                <a:gd name="connsiteY236" fmla="*/ 322897 h 585406"/>
                <a:gd name="connsiteX237" fmla="*/ 16097 w 566166"/>
                <a:gd name="connsiteY237" fmla="*/ 319945 h 585406"/>
                <a:gd name="connsiteX238" fmla="*/ 29146 w 566166"/>
                <a:gd name="connsiteY238" fmla="*/ 321850 h 585406"/>
                <a:gd name="connsiteX239" fmla="*/ 32290 w 566166"/>
                <a:gd name="connsiteY239" fmla="*/ 317849 h 585406"/>
                <a:gd name="connsiteX240" fmla="*/ 33814 w 566166"/>
                <a:gd name="connsiteY240" fmla="*/ 315849 h 585406"/>
                <a:gd name="connsiteX241" fmla="*/ 41529 w 566166"/>
                <a:gd name="connsiteY241" fmla="*/ 318516 h 585406"/>
                <a:gd name="connsiteX242" fmla="*/ 45720 w 566166"/>
                <a:gd name="connsiteY242" fmla="*/ 308896 h 585406"/>
                <a:gd name="connsiteX243" fmla="*/ 40100 w 566166"/>
                <a:gd name="connsiteY243" fmla="*/ 307848 h 585406"/>
                <a:gd name="connsiteX244" fmla="*/ 38195 w 566166"/>
                <a:gd name="connsiteY244" fmla="*/ 293561 h 585406"/>
                <a:gd name="connsiteX245" fmla="*/ 38005 w 566166"/>
                <a:gd name="connsiteY245" fmla="*/ 291751 h 585406"/>
                <a:gd name="connsiteX246" fmla="*/ 41815 w 566166"/>
                <a:gd name="connsiteY246" fmla="*/ 293084 h 585406"/>
                <a:gd name="connsiteX247" fmla="*/ 42672 w 566166"/>
                <a:gd name="connsiteY247" fmla="*/ 285750 h 585406"/>
                <a:gd name="connsiteX248" fmla="*/ 36576 w 566166"/>
                <a:gd name="connsiteY248" fmla="*/ 281083 h 585406"/>
                <a:gd name="connsiteX249" fmla="*/ 30194 w 566166"/>
                <a:gd name="connsiteY249" fmla="*/ 274701 h 585406"/>
                <a:gd name="connsiteX250" fmla="*/ 23050 w 566166"/>
                <a:gd name="connsiteY250" fmla="*/ 275654 h 585406"/>
                <a:gd name="connsiteX251" fmla="*/ 15145 w 566166"/>
                <a:gd name="connsiteY251" fmla="*/ 271272 h 585406"/>
                <a:gd name="connsiteX252" fmla="*/ 8001 w 566166"/>
                <a:gd name="connsiteY252" fmla="*/ 272224 h 585406"/>
                <a:gd name="connsiteX253" fmla="*/ 7715 w 566166"/>
                <a:gd name="connsiteY253" fmla="*/ 270415 h 585406"/>
                <a:gd name="connsiteX254" fmla="*/ 9906 w 566166"/>
                <a:gd name="connsiteY254" fmla="*/ 259271 h 585406"/>
                <a:gd name="connsiteX255" fmla="*/ 7144 w 566166"/>
                <a:gd name="connsiteY255" fmla="*/ 252413 h 585406"/>
                <a:gd name="connsiteX256" fmla="*/ 10287 w 566166"/>
                <a:gd name="connsiteY256" fmla="*/ 248412 h 585406"/>
                <a:gd name="connsiteX257" fmla="*/ 17145 w 566166"/>
                <a:gd name="connsiteY257" fmla="*/ 231172 h 585406"/>
                <a:gd name="connsiteX258" fmla="*/ 21622 w 566166"/>
                <a:gd name="connsiteY258" fmla="*/ 223361 h 585406"/>
                <a:gd name="connsiteX259" fmla="*/ 22765 w 566166"/>
                <a:gd name="connsiteY259" fmla="*/ 217741 h 585406"/>
                <a:gd name="connsiteX260" fmla="*/ 25908 w 566166"/>
                <a:gd name="connsiteY260" fmla="*/ 213741 h 585406"/>
                <a:gd name="connsiteX261" fmla="*/ 27908 w 566166"/>
                <a:gd name="connsiteY261" fmla="*/ 215265 h 585406"/>
                <a:gd name="connsiteX262" fmla="*/ 34862 w 566166"/>
                <a:gd name="connsiteY262" fmla="*/ 212503 h 585406"/>
                <a:gd name="connsiteX263" fmla="*/ 38957 w 566166"/>
                <a:gd name="connsiteY263" fmla="*/ 215646 h 585406"/>
                <a:gd name="connsiteX264" fmla="*/ 40957 w 566166"/>
                <a:gd name="connsiteY264" fmla="*/ 217170 h 585406"/>
                <a:gd name="connsiteX265" fmla="*/ 42291 w 566166"/>
                <a:gd name="connsiteY265" fmla="*/ 213360 h 585406"/>
                <a:gd name="connsiteX266" fmla="*/ 49435 w 566166"/>
                <a:gd name="connsiteY266" fmla="*/ 212407 h 585406"/>
                <a:gd name="connsiteX267" fmla="*/ 50959 w 566166"/>
                <a:gd name="connsiteY267" fmla="*/ 210407 h 585406"/>
                <a:gd name="connsiteX268" fmla="*/ 56388 w 566166"/>
                <a:gd name="connsiteY268" fmla="*/ 209740 h 585406"/>
                <a:gd name="connsiteX269" fmla="*/ 54959 w 566166"/>
                <a:gd name="connsiteY269" fmla="*/ 199072 h 585406"/>
                <a:gd name="connsiteX270" fmla="*/ 45244 w 566166"/>
                <a:gd name="connsiteY270" fmla="*/ 194881 h 585406"/>
                <a:gd name="connsiteX271" fmla="*/ 44577 w 566166"/>
                <a:gd name="connsiteY271" fmla="*/ 189547 h 585406"/>
                <a:gd name="connsiteX272" fmla="*/ 40767 w 566166"/>
                <a:gd name="connsiteY272" fmla="*/ 188214 h 585406"/>
                <a:gd name="connsiteX273" fmla="*/ 40481 w 566166"/>
                <a:gd name="connsiteY273" fmla="*/ 186404 h 585406"/>
                <a:gd name="connsiteX274" fmla="*/ 29432 w 566166"/>
                <a:gd name="connsiteY274" fmla="*/ 186023 h 585406"/>
                <a:gd name="connsiteX275" fmla="*/ 25337 w 566166"/>
                <a:gd name="connsiteY275" fmla="*/ 182975 h 585406"/>
                <a:gd name="connsiteX276" fmla="*/ 25717 w 566166"/>
                <a:gd name="connsiteY276" fmla="*/ 172021 h 585406"/>
                <a:gd name="connsiteX277" fmla="*/ 28099 w 566166"/>
                <a:gd name="connsiteY277" fmla="*/ 162592 h 585406"/>
                <a:gd name="connsiteX278" fmla="*/ 31528 w 566166"/>
                <a:gd name="connsiteY278" fmla="*/ 160306 h 585406"/>
                <a:gd name="connsiteX279" fmla="*/ 33528 w 566166"/>
                <a:gd name="connsiteY279" fmla="*/ 161830 h 585406"/>
                <a:gd name="connsiteX280" fmla="*/ 42291 w 566166"/>
                <a:gd name="connsiteY280" fmla="*/ 158877 h 585406"/>
                <a:gd name="connsiteX281" fmla="*/ 41624 w 566166"/>
                <a:gd name="connsiteY281" fmla="*/ 153543 h 585406"/>
                <a:gd name="connsiteX282" fmla="*/ 47244 w 566166"/>
                <a:gd name="connsiteY282" fmla="*/ 154591 h 585406"/>
                <a:gd name="connsiteX283" fmla="*/ 46958 w 566166"/>
                <a:gd name="connsiteY283" fmla="*/ 152781 h 585406"/>
                <a:gd name="connsiteX284" fmla="*/ 43148 w 566166"/>
                <a:gd name="connsiteY284" fmla="*/ 151447 h 585406"/>
                <a:gd name="connsiteX285" fmla="*/ 48101 w 566166"/>
                <a:gd name="connsiteY285" fmla="*/ 147161 h 585406"/>
                <a:gd name="connsiteX286" fmla="*/ 51721 w 566166"/>
                <a:gd name="connsiteY286" fmla="*/ 146685 h 585406"/>
                <a:gd name="connsiteX287" fmla="*/ 54578 w 566166"/>
                <a:gd name="connsiteY287" fmla="*/ 140875 h 585406"/>
                <a:gd name="connsiteX288" fmla="*/ 55721 w 566166"/>
                <a:gd name="connsiteY288" fmla="*/ 135350 h 585406"/>
                <a:gd name="connsiteX289" fmla="*/ 59055 w 566166"/>
                <a:gd name="connsiteY289" fmla="*/ 133064 h 585406"/>
                <a:gd name="connsiteX290" fmla="*/ 54483 w 566166"/>
                <a:gd name="connsiteY290" fmla="*/ 126397 h 585406"/>
                <a:gd name="connsiteX291" fmla="*/ 57817 w 566166"/>
                <a:gd name="connsiteY291" fmla="*/ 124111 h 585406"/>
                <a:gd name="connsiteX292" fmla="*/ 55816 w 566166"/>
                <a:gd name="connsiteY292" fmla="*/ 122587 h 585406"/>
                <a:gd name="connsiteX293" fmla="*/ 55150 w 566166"/>
                <a:gd name="connsiteY293" fmla="*/ 117253 h 585406"/>
                <a:gd name="connsiteX294" fmla="*/ 56959 w 566166"/>
                <a:gd name="connsiteY294" fmla="*/ 117062 h 585406"/>
                <a:gd name="connsiteX295" fmla="*/ 67723 w 566166"/>
                <a:gd name="connsiteY295" fmla="*/ 115633 h 585406"/>
                <a:gd name="connsiteX296" fmla="*/ 72676 w 566166"/>
                <a:gd name="connsiteY296" fmla="*/ 111347 h 585406"/>
                <a:gd name="connsiteX297" fmla="*/ 76295 w 566166"/>
                <a:gd name="connsiteY297" fmla="*/ 110871 h 585406"/>
                <a:gd name="connsiteX298" fmla="*/ 91249 w 566166"/>
                <a:gd name="connsiteY298" fmla="*/ 99822 h 585406"/>
                <a:gd name="connsiteX299" fmla="*/ 94393 w 566166"/>
                <a:gd name="connsiteY299" fmla="*/ 95821 h 585406"/>
                <a:gd name="connsiteX300" fmla="*/ 95536 w 566166"/>
                <a:gd name="connsiteY300" fmla="*/ 90202 h 585406"/>
                <a:gd name="connsiteX301" fmla="*/ 97060 w 566166"/>
                <a:gd name="connsiteY301" fmla="*/ 88201 h 585406"/>
                <a:gd name="connsiteX302" fmla="*/ 106013 w 566166"/>
                <a:gd name="connsiteY302" fmla="*/ 87058 h 585406"/>
                <a:gd name="connsiteX303" fmla="*/ 106966 w 566166"/>
                <a:gd name="connsiteY303" fmla="*/ 94202 h 585406"/>
                <a:gd name="connsiteX304" fmla="*/ 109252 w 566166"/>
                <a:gd name="connsiteY304" fmla="*/ 97536 h 585406"/>
                <a:gd name="connsiteX305" fmla="*/ 108775 w 566166"/>
                <a:gd name="connsiteY305" fmla="*/ 93917 h 585406"/>
                <a:gd name="connsiteX306" fmla="*/ 113729 w 566166"/>
                <a:gd name="connsiteY306" fmla="*/ 89630 h 585406"/>
                <a:gd name="connsiteX307" fmla="*/ 113252 w 566166"/>
                <a:gd name="connsiteY307" fmla="*/ 86106 h 585406"/>
                <a:gd name="connsiteX308" fmla="*/ 120205 w 566166"/>
                <a:gd name="connsiteY308" fmla="*/ 83344 h 585406"/>
                <a:gd name="connsiteX309" fmla="*/ 128683 w 566166"/>
                <a:gd name="connsiteY309" fmla="*/ 78581 h 585406"/>
                <a:gd name="connsiteX310" fmla="*/ 131826 w 566166"/>
                <a:gd name="connsiteY310" fmla="*/ 74581 h 585406"/>
                <a:gd name="connsiteX311" fmla="*/ 140589 w 566166"/>
                <a:gd name="connsiteY311" fmla="*/ 71628 h 585406"/>
                <a:gd name="connsiteX312" fmla="*/ 140113 w 566166"/>
                <a:gd name="connsiteY312" fmla="*/ 68104 h 585406"/>
                <a:gd name="connsiteX313" fmla="*/ 138113 w 566166"/>
                <a:gd name="connsiteY313" fmla="*/ 66580 h 585406"/>
                <a:gd name="connsiteX314" fmla="*/ 141732 w 566166"/>
                <a:gd name="connsiteY314" fmla="*/ 66103 h 585406"/>
                <a:gd name="connsiteX315" fmla="*/ 135826 w 566166"/>
                <a:gd name="connsiteY315" fmla="*/ 63246 h 585406"/>
                <a:gd name="connsiteX316" fmla="*/ 137350 w 566166"/>
                <a:gd name="connsiteY316" fmla="*/ 61246 h 585406"/>
                <a:gd name="connsiteX317" fmla="*/ 128778 w 566166"/>
                <a:gd name="connsiteY317" fmla="*/ 51530 h 585406"/>
                <a:gd name="connsiteX318" fmla="*/ 136779 w 566166"/>
                <a:gd name="connsiteY318" fmla="*/ 43243 h 585406"/>
                <a:gd name="connsiteX319" fmla="*/ 131350 w 566166"/>
                <a:gd name="connsiteY319" fmla="*/ 43910 h 585406"/>
                <a:gd name="connsiteX320" fmla="*/ 127921 w 566166"/>
                <a:gd name="connsiteY320" fmla="*/ 31718 h 585406"/>
                <a:gd name="connsiteX321" fmla="*/ 127445 w 566166"/>
                <a:gd name="connsiteY321" fmla="*/ 28194 h 585406"/>
                <a:gd name="connsiteX322" fmla="*/ 131254 w 566166"/>
                <a:gd name="connsiteY322" fmla="*/ 29527 h 585406"/>
                <a:gd name="connsiteX323" fmla="*/ 132302 w 566166"/>
                <a:gd name="connsiteY323" fmla="*/ 23908 h 585406"/>
                <a:gd name="connsiteX324" fmla="*/ 137922 w 566166"/>
                <a:gd name="connsiteY324" fmla="*/ 24955 h 585406"/>
                <a:gd name="connsiteX325" fmla="*/ 140684 w 566166"/>
                <a:gd name="connsiteY325" fmla="*/ 31813 h 585406"/>
                <a:gd name="connsiteX326" fmla="*/ 150114 w 566166"/>
                <a:gd name="connsiteY326" fmla="*/ 34195 h 585406"/>
                <a:gd name="connsiteX327" fmla="*/ 164592 w 566166"/>
                <a:gd name="connsiteY327" fmla="*/ 46768 h 585406"/>
                <a:gd name="connsiteX328" fmla="*/ 170021 w 566166"/>
                <a:gd name="connsiteY328" fmla="*/ 46101 h 585406"/>
                <a:gd name="connsiteX329" fmla="*/ 168878 w 566166"/>
                <a:gd name="connsiteY329" fmla="*/ 37243 h 585406"/>
                <a:gd name="connsiteX330" fmla="*/ 176022 w 566166"/>
                <a:gd name="connsiteY330" fmla="*/ 36290 h 585406"/>
                <a:gd name="connsiteX331" fmla="*/ 175736 w 566166"/>
                <a:gd name="connsiteY331" fmla="*/ 34480 h 585406"/>
                <a:gd name="connsiteX332" fmla="*/ 175260 w 566166"/>
                <a:gd name="connsiteY332" fmla="*/ 30956 h 585406"/>
                <a:gd name="connsiteX333" fmla="*/ 167640 w 566166"/>
                <a:gd name="connsiteY333" fmla="*/ 28384 h 585406"/>
                <a:gd name="connsiteX334" fmla="*/ 174117 w 566166"/>
                <a:gd name="connsiteY334" fmla="*/ 22098 h 585406"/>
                <a:gd name="connsiteX335" fmla="*/ 178403 w 566166"/>
                <a:gd name="connsiteY335" fmla="*/ 26956 h 585406"/>
                <a:gd name="connsiteX336" fmla="*/ 178213 w 566166"/>
                <a:gd name="connsiteY336" fmla="*/ 25146 h 585406"/>
                <a:gd name="connsiteX337" fmla="*/ 179260 w 566166"/>
                <a:gd name="connsiteY337" fmla="*/ 19526 h 585406"/>
                <a:gd name="connsiteX338" fmla="*/ 172879 w 566166"/>
                <a:gd name="connsiteY338" fmla="*/ 13144 h 585406"/>
                <a:gd name="connsiteX339" fmla="*/ 176308 w 566166"/>
                <a:gd name="connsiteY339" fmla="*/ 10858 h 585406"/>
                <a:gd name="connsiteX340" fmla="*/ 176784 w 566166"/>
                <a:gd name="connsiteY340" fmla="*/ 14383 h 585406"/>
                <a:gd name="connsiteX341" fmla="*/ 180594 w 566166"/>
                <a:gd name="connsiteY341" fmla="*/ 15716 h 585406"/>
                <a:gd name="connsiteX342" fmla="*/ 180975 w 566166"/>
                <a:gd name="connsiteY342" fmla="*/ 4763 h 585406"/>
                <a:gd name="connsiteX343" fmla="*/ 184595 w 566166"/>
                <a:gd name="connsiteY343" fmla="*/ 4286 h 585406"/>
                <a:gd name="connsiteX344" fmla="*/ 188404 w 566166"/>
                <a:gd name="connsiteY344" fmla="*/ 5620 h 585406"/>
                <a:gd name="connsiteX345" fmla="*/ 189071 w 566166"/>
                <a:gd name="connsiteY345" fmla="*/ 10954 h 585406"/>
                <a:gd name="connsiteX346" fmla="*/ 187928 w 566166"/>
                <a:gd name="connsiteY346" fmla="*/ 16573 h 585406"/>
                <a:gd name="connsiteX347" fmla="*/ 188404 w 566166"/>
                <a:gd name="connsiteY347" fmla="*/ 20193 h 585406"/>
                <a:gd name="connsiteX348" fmla="*/ 190214 w 566166"/>
                <a:gd name="connsiteY348" fmla="*/ 19907 h 585406"/>
                <a:gd name="connsiteX349" fmla="*/ 191071 w 566166"/>
                <a:gd name="connsiteY349" fmla="*/ 12573 h 585406"/>
                <a:gd name="connsiteX350" fmla="*/ 194405 w 566166"/>
                <a:gd name="connsiteY350" fmla="*/ 10287 h 585406"/>
                <a:gd name="connsiteX351" fmla="*/ 195072 w 566166"/>
                <a:gd name="connsiteY351" fmla="*/ 15621 h 585406"/>
                <a:gd name="connsiteX352" fmla="*/ 198691 w 566166"/>
                <a:gd name="connsiteY352" fmla="*/ 15145 h 585406"/>
                <a:gd name="connsiteX353" fmla="*/ 199834 w 566166"/>
                <a:gd name="connsiteY353" fmla="*/ 9620 h 585406"/>
                <a:gd name="connsiteX354" fmla="*/ 204788 w 566166"/>
                <a:gd name="connsiteY354" fmla="*/ 5334 h 585406"/>
                <a:gd name="connsiteX355" fmla="*/ 200692 w 566166"/>
                <a:gd name="connsiteY355" fmla="*/ 2286 h 585406"/>
                <a:gd name="connsiteX356" fmla="*/ 204025 w 566166"/>
                <a:gd name="connsiteY356" fmla="*/ 0 h 585406"/>
                <a:gd name="connsiteX357" fmla="*/ 206312 w 566166"/>
                <a:gd name="connsiteY357" fmla="*/ 3334 h 585406"/>
                <a:gd name="connsiteX358" fmla="*/ 206312 w 566166"/>
                <a:gd name="connsiteY358" fmla="*/ 17812 h 585406"/>
                <a:gd name="connsiteX359" fmla="*/ 219646 w 566166"/>
                <a:gd name="connsiteY359" fmla="*/ 21431 h 585406"/>
                <a:gd name="connsiteX360" fmla="*/ 220123 w 566166"/>
                <a:gd name="connsiteY360" fmla="*/ 24955 h 585406"/>
                <a:gd name="connsiteX361" fmla="*/ 213646 w 566166"/>
                <a:gd name="connsiteY361" fmla="*/ 31242 h 585406"/>
                <a:gd name="connsiteX362" fmla="*/ 210788 w 566166"/>
                <a:gd name="connsiteY362" fmla="*/ 37052 h 585406"/>
                <a:gd name="connsiteX363" fmla="*/ 215360 w 566166"/>
                <a:gd name="connsiteY363" fmla="*/ 43720 h 585406"/>
                <a:gd name="connsiteX364" fmla="*/ 222028 w 566166"/>
                <a:gd name="connsiteY364" fmla="*/ 39148 h 585406"/>
                <a:gd name="connsiteX365" fmla="*/ 228124 w 566166"/>
                <a:gd name="connsiteY365" fmla="*/ 43815 h 585406"/>
                <a:gd name="connsiteX366" fmla="*/ 231934 w 566166"/>
                <a:gd name="connsiteY366" fmla="*/ 45148 h 585406"/>
                <a:gd name="connsiteX367" fmla="*/ 240697 w 566166"/>
                <a:gd name="connsiteY367" fmla="*/ 42196 h 585406"/>
                <a:gd name="connsiteX368" fmla="*/ 245269 w 566166"/>
                <a:gd name="connsiteY368" fmla="*/ 48863 h 585406"/>
                <a:gd name="connsiteX369" fmla="*/ 249364 w 566166"/>
                <a:gd name="connsiteY369" fmla="*/ 51911 h 585406"/>
                <a:gd name="connsiteX370" fmla="*/ 252127 w 566166"/>
                <a:gd name="connsiteY370" fmla="*/ 58769 h 585406"/>
                <a:gd name="connsiteX371" fmla="*/ 259651 w 566166"/>
                <a:gd name="connsiteY371" fmla="*/ 46863 h 585406"/>
                <a:gd name="connsiteX372" fmla="*/ 267081 w 566166"/>
                <a:gd name="connsiteY372" fmla="*/ 47625 h 585406"/>
                <a:gd name="connsiteX373" fmla="*/ 267271 w 566166"/>
                <a:gd name="connsiteY373" fmla="*/ 49435 h 585406"/>
                <a:gd name="connsiteX374" fmla="*/ 266224 w 566166"/>
                <a:gd name="connsiteY374" fmla="*/ 55054 h 585406"/>
                <a:gd name="connsiteX375" fmla="*/ 266700 w 566166"/>
                <a:gd name="connsiteY375" fmla="*/ 58579 h 585406"/>
                <a:gd name="connsiteX376" fmla="*/ 262033 w 566166"/>
                <a:gd name="connsiteY376" fmla="*/ 64579 h 585406"/>
                <a:gd name="connsiteX377" fmla="*/ 264033 w 566166"/>
                <a:gd name="connsiteY377" fmla="*/ 66103 h 585406"/>
                <a:gd name="connsiteX378" fmla="*/ 277273 w 566166"/>
                <a:gd name="connsiteY378" fmla="*/ 69818 h 585406"/>
                <a:gd name="connsiteX379" fmla="*/ 280035 w 566166"/>
                <a:gd name="connsiteY379" fmla="*/ 76676 h 585406"/>
                <a:gd name="connsiteX380" fmla="*/ 276701 w 566166"/>
                <a:gd name="connsiteY380" fmla="*/ 78867 h 585406"/>
                <a:gd name="connsiteX381" fmla="*/ 276320 w 566166"/>
                <a:gd name="connsiteY381" fmla="*/ 89821 h 585406"/>
                <a:gd name="connsiteX382" fmla="*/ 271177 w 566166"/>
                <a:gd name="connsiteY382" fmla="*/ 92297 h 585406"/>
                <a:gd name="connsiteX383" fmla="*/ 269843 w 566166"/>
                <a:gd name="connsiteY383" fmla="*/ 96107 h 585406"/>
                <a:gd name="connsiteX384" fmla="*/ 275939 w 566166"/>
                <a:gd name="connsiteY384" fmla="*/ 100679 h 585406"/>
                <a:gd name="connsiteX385" fmla="*/ 281559 w 566166"/>
                <a:gd name="connsiteY385" fmla="*/ 101727 h 585406"/>
                <a:gd name="connsiteX386" fmla="*/ 284035 w 566166"/>
                <a:gd name="connsiteY386" fmla="*/ 106871 h 585406"/>
                <a:gd name="connsiteX387" fmla="*/ 287655 w 566166"/>
                <a:gd name="connsiteY387" fmla="*/ 106394 h 585406"/>
                <a:gd name="connsiteX388" fmla="*/ 289941 w 566166"/>
                <a:gd name="connsiteY388" fmla="*/ 109728 h 585406"/>
                <a:gd name="connsiteX389" fmla="*/ 293560 w 566166"/>
                <a:gd name="connsiteY389" fmla="*/ 109252 h 585406"/>
                <a:gd name="connsiteX390" fmla="*/ 290036 w 566166"/>
                <a:gd name="connsiteY390" fmla="*/ 124206 h 585406"/>
                <a:gd name="connsiteX391" fmla="*/ 295370 w 566166"/>
                <a:gd name="connsiteY391" fmla="*/ 123444 h 585406"/>
                <a:gd name="connsiteX392" fmla="*/ 297180 w 566166"/>
                <a:gd name="connsiteY392" fmla="*/ 123253 h 585406"/>
                <a:gd name="connsiteX393" fmla="*/ 294322 w 566166"/>
                <a:gd name="connsiteY393" fmla="*/ 129064 h 585406"/>
                <a:gd name="connsiteX394" fmla="*/ 300133 w 566166"/>
                <a:gd name="connsiteY394" fmla="*/ 131921 h 585406"/>
                <a:gd name="connsiteX395" fmla="*/ 301657 w 566166"/>
                <a:gd name="connsiteY395" fmla="*/ 129921 h 585406"/>
                <a:gd name="connsiteX396" fmla="*/ 303657 w 566166"/>
                <a:gd name="connsiteY396" fmla="*/ 131445 h 585406"/>
                <a:gd name="connsiteX397" fmla="*/ 323374 w 566166"/>
                <a:gd name="connsiteY397" fmla="*/ 128778 h 585406"/>
                <a:gd name="connsiteX398" fmla="*/ 324898 w 566166"/>
                <a:gd name="connsiteY398" fmla="*/ 126778 h 585406"/>
                <a:gd name="connsiteX399" fmla="*/ 326422 w 566166"/>
                <a:gd name="connsiteY399" fmla="*/ 124777 h 585406"/>
                <a:gd name="connsiteX400" fmla="*/ 331851 w 566166"/>
                <a:gd name="connsiteY400" fmla="*/ 124015 h 585406"/>
                <a:gd name="connsiteX401" fmla="*/ 335185 w 566166"/>
                <a:gd name="connsiteY401" fmla="*/ 121729 h 585406"/>
                <a:gd name="connsiteX402" fmla="*/ 338614 w 566166"/>
                <a:gd name="connsiteY402" fmla="*/ 119443 h 585406"/>
                <a:gd name="connsiteX403" fmla="*/ 346043 w 566166"/>
                <a:gd name="connsiteY403" fmla="*/ 120301 h 585406"/>
                <a:gd name="connsiteX404" fmla="*/ 345567 w 566166"/>
                <a:gd name="connsiteY404" fmla="*/ 116776 h 585406"/>
                <a:gd name="connsiteX405" fmla="*/ 357473 w 566166"/>
                <a:gd name="connsiteY405" fmla="*/ 109728 h 585406"/>
                <a:gd name="connsiteX406" fmla="*/ 360807 w 566166"/>
                <a:gd name="connsiteY406" fmla="*/ 107442 h 585406"/>
                <a:gd name="connsiteX407" fmla="*/ 364903 w 566166"/>
                <a:gd name="connsiteY407" fmla="*/ 110490 h 585406"/>
                <a:gd name="connsiteX408" fmla="*/ 363569 w 566166"/>
                <a:gd name="connsiteY408" fmla="*/ 114300 h 585406"/>
                <a:gd name="connsiteX409" fmla="*/ 368998 w 566166"/>
                <a:gd name="connsiteY409" fmla="*/ 113538 h 585406"/>
                <a:gd name="connsiteX410" fmla="*/ 372237 w 566166"/>
                <a:gd name="connsiteY410" fmla="*/ 124015 h 585406"/>
                <a:gd name="connsiteX411" fmla="*/ 370046 w 566166"/>
                <a:gd name="connsiteY411" fmla="*/ 135160 h 585406"/>
                <a:gd name="connsiteX412" fmla="*/ 380143 w 566166"/>
                <a:gd name="connsiteY412" fmla="*/ 142875 h 585406"/>
                <a:gd name="connsiteX413" fmla="*/ 376142 w 566166"/>
                <a:gd name="connsiteY413" fmla="*/ 154305 h 585406"/>
                <a:gd name="connsiteX414" fmla="*/ 378905 w 566166"/>
                <a:gd name="connsiteY414" fmla="*/ 161163 h 585406"/>
                <a:gd name="connsiteX415" fmla="*/ 372999 w 566166"/>
                <a:gd name="connsiteY415" fmla="*/ 158305 h 585406"/>
                <a:gd name="connsiteX416" fmla="*/ 360997 w 566166"/>
                <a:gd name="connsiteY416" fmla="*/ 150781 h 585406"/>
                <a:gd name="connsiteX417" fmla="*/ 361474 w 566166"/>
                <a:gd name="connsiteY417" fmla="*/ 154305 h 585406"/>
                <a:gd name="connsiteX418" fmla="*/ 359664 w 566166"/>
                <a:gd name="connsiteY418" fmla="*/ 154496 h 585406"/>
                <a:gd name="connsiteX419" fmla="*/ 358330 w 566166"/>
                <a:gd name="connsiteY419" fmla="*/ 158305 h 585406"/>
                <a:gd name="connsiteX420" fmla="*/ 360616 w 566166"/>
                <a:gd name="connsiteY420" fmla="*/ 161639 h 585406"/>
                <a:gd name="connsiteX421" fmla="*/ 358807 w 566166"/>
                <a:gd name="connsiteY421" fmla="*/ 161830 h 585406"/>
                <a:gd name="connsiteX422" fmla="*/ 353378 w 566166"/>
                <a:gd name="connsiteY422" fmla="*/ 162496 h 585406"/>
                <a:gd name="connsiteX423" fmla="*/ 350615 w 566166"/>
                <a:gd name="connsiteY423" fmla="*/ 155638 h 585406"/>
                <a:gd name="connsiteX424" fmla="*/ 338042 w 566166"/>
                <a:gd name="connsiteY424" fmla="*/ 157258 h 585406"/>
                <a:gd name="connsiteX425" fmla="*/ 333756 w 566166"/>
                <a:gd name="connsiteY425" fmla="*/ 152400 h 585406"/>
                <a:gd name="connsiteX426" fmla="*/ 329755 w 566166"/>
                <a:gd name="connsiteY426" fmla="*/ 163830 h 585406"/>
                <a:gd name="connsiteX427" fmla="*/ 325946 w 566166"/>
                <a:gd name="connsiteY427" fmla="*/ 162496 h 585406"/>
                <a:gd name="connsiteX428" fmla="*/ 320992 w 566166"/>
                <a:gd name="connsiteY428" fmla="*/ 166783 h 585406"/>
                <a:gd name="connsiteX429" fmla="*/ 317373 w 566166"/>
                <a:gd name="connsiteY429" fmla="*/ 167259 h 585406"/>
                <a:gd name="connsiteX430" fmla="*/ 316325 w 566166"/>
                <a:gd name="connsiteY430" fmla="*/ 172784 h 585406"/>
                <a:gd name="connsiteX431" fmla="*/ 316516 w 566166"/>
                <a:gd name="connsiteY431" fmla="*/ 174593 h 585406"/>
                <a:gd name="connsiteX432" fmla="*/ 312896 w 566166"/>
                <a:gd name="connsiteY432" fmla="*/ 175069 h 585406"/>
                <a:gd name="connsiteX433" fmla="*/ 313372 w 566166"/>
                <a:gd name="connsiteY433" fmla="*/ 178689 h 585406"/>
                <a:gd name="connsiteX434" fmla="*/ 315373 w 566166"/>
                <a:gd name="connsiteY434" fmla="*/ 180213 h 585406"/>
                <a:gd name="connsiteX435" fmla="*/ 312230 w 566166"/>
                <a:gd name="connsiteY435" fmla="*/ 184213 h 585406"/>
                <a:gd name="connsiteX436" fmla="*/ 302800 w 566166"/>
                <a:gd name="connsiteY436" fmla="*/ 181832 h 585406"/>
                <a:gd name="connsiteX437" fmla="*/ 299942 w 566166"/>
                <a:gd name="connsiteY437" fmla="*/ 187642 h 585406"/>
                <a:gd name="connsiteX438" fmla="*/ 302228 w 566166"/>
                <a:gd name="connsiteY438" fmla="*/ 190976 h 585406"/>
                <a:gd name="connsiteX439" fmla="*/ 295084 w 566166"/>
                <a:gd name="connsiteY439" fmla="*/ 191929 h 585406"/>
                <a:gd name="connsiteX440" fmla="*/ 293275 w 566166"/>
                <a:gd name="connsiteY440" fmla="*/ 192214 h 585406"/>
                <a:gd name="connsiteX441" fmla="*/ 301180 w 566166"/>
                <a:gd name="connsiteY441" fmla="*/ 196596 h 585406"/>
                <a:gd name="connsiteX442" fmla="*/ 297847 w 566166"/>
                <a:gd name="connsiteY442" fmla="*/ 198882 h 585406"/>
                <a:gd name="connsiteX443" fmla="*/ 299847 w 566166"/>
                <a:gd name="connsiteY443" fmla="*/ 200406 h 585406"/>
                <a:gd name="connsiteX444" fmla="*/ 298323 w 566166"/>
                <a:gd name="connsiteY444" fmla="*/ 202406 h 585406"/>
                <a:gd name="connsiteX445" fmla="*/ 301085 w 566166"/>
                <a:gd name="connsiteY445" fmla="*/ 209264 h 585406"/>
                <a:gd name="connsiteX446" fmla="*/ 293846 w 566166"/>
                <a:gd name="connsiteY446" fmla="*/ 210217 h 585406"/>
                <a:gd name="connsiteX447" fmla="*/ 292703 w 566166"/>
                <a:gd name="connsiteY447" fmla="*/ 201359 h 585406"/>
                <a:gd name="connsiteX448" fmla="*/ 290703 w 566166"/>
                <a:gd name="connsiteY448" fmla="*/ 199834 h 585406"/>
                <a:gd name="connsiteX449" fmla="*/ 284226 w 566166"/>
                <a:gd name="connsiteY449" fmla="*/ 206121 h 585406"/>
                <a:gd name="connsiteX450" fmla="*/ 283083 w 566166"/>
                <a:gd name="connsiteY450" fmla="*/ 211741 h 585406"/>
                <a:gd name="connsiteX451" fmla="*/ 278511 w 566166"/>
                <a:gd name="connsiteY451" fmla="*/ 205073 h 585406"/>
                <a:gd name="connsiteX452" fmla="*/ 275177 w 566166"/>
                <a:gd name="connsiteY452" fmla="*/ 207359 h 585406"/>
                <a:gd name="connsiteX453" fmla="*/ 272034 w 566166"/>
                <a:gd name="connsiteY453" fmla="*/ 211360 h 585406"/>
                <a:gd name="connsiteX454" fmla="*/ 272224 w 566166"/>
                <a:gd name="connsiteY454" fmla="*/ 213170 h 585406"/>
                <a:gd name="connsiteX455" fmla="*/ 277273 w 566166"/>
                <a:gd name="connsiteY455" fmla="*/ 223361 h 585406"/>
                <a:gd name="connsiteX456" fmla="*/ 271939 w 566166"/>
                <a:gd name="connsiteY456" fmla="*/ 224123 h 585406"/>
                <a:gd name="connsiteX457" fmla="*/ 260699 w 566166"/>
                <a:gd name="connsiteY457" fmla="*/ 221932 h 585406"/>
                <a:gd name="connsiteX458" fmla="*/ 261938 w 566166"/>
                <a:gd name="connsiteY458" fmla="*/ 218122 h 585406"/>
                <a:gd name="connsiteX459" fmla="*/ 254032 w 566166"/>
                <a:gd name="connsiteY459" fmla="*/ 213741 h 585406"/>
                <a:gd name="connsiteX460" fmla="*/ 247269 w 566166"/>
                <a:gd name="connsiteY460" fmla="*/ 203740 h 585406"/>
                <a:gd name="connsiteX461" fmla="*/ 253460 w 566166"/>
                <a:gd name="connsiteY461" fmla="*/ 195643 h 585406"/>
                <a:gd name="connsiteX462" fmla="*/ 238792 w 566166"/>
                <a:gd name="connsiteY462" fmla="*/ 181261 h 585406"/>
                <a:gd name="connsiteX463" fmla="*/ 237458 w 566166"/>
                <a:gd name="connsiteY463" fmla="*/ 185071 h 585406"/>
                <a:gd name="connsiteX464" fmla="*/ 235458 w 566166"/>
                <a:gd name="connsiteY464" fmla="*/ 183547 h 585406"/>
                <a:gd name="connsiteX465" fmla="*/ 232696 w 566166"/>
                <a:gd name="connsiteY465" fmla="*/ 176689 h 585406"/>
                <a:gd name="connsiteX466" fmla="*/ 225266 w 566166"/>
                <a:gd name="connsiteY466" fmla="*/ 175831 h 585406"/>
                <a:gd name="connsiteX467" fmla="*/ 227266 w 566166"/>
                <a:gd name="connsiteY467" fmla="*/ 177355 h 585406"/>
                <a:gd name="connsiteX468" fmla="*/ 221837 w 566166"/>
                <a:gd name="connsiteY468" fmla="*/ 178022 h 585406"/>
                <a:gd name="connsiteX469" fmla="*/ 211646 w 566166"/>
                <a:gd name="connsiteY469" fmla="*/ 170307 h 585406"/>
                <a:gd name="connsiteX470" fmla="*/ 206978 w 566166"/>
                <a:gd name="connsiteY470" fmla="*/ 176403 h 585406"/>
                <a:gd name="connsiteX471" fmla="*/ 200978 w 566166"/>
                <a:gd name="connsiteY471" fmla="*/ 186309 h 585406"/>
                <a:gd name="connsiteX472" fmla="*/ 201644 w 566166"/>
                <a:gd name="connsiteY472" fmla="*/ 191643 h 585406"/>
                <a:gd name="connsiteX473" fmla="*/ 198310 w 566166"/>
                <a:gd name="connsiteY473" fmla="*/ 193929 h 585406"/>
                <a:gd name="connsiteX474" fmla="*/ 198787 w 566166"/>
                <a:gd name="connsiteY474" fmla="*/ 197453 h 585406"/>
                <a:gd name="connsiteX475" fmla="*/ 197263 w 566166"/>
                <a:gd name="connsiteY475" fmla="*/ 199453 h 585406"/>
                <a:gd name="connsiteX476" fmla="*/ 204025 w 566166"/>
                <a:gd name="connsiteY476" fmla="*/ 209455 h 585406"/>
                <a:gd name="connsiteX477" fmla="*/ 198882 w 566166"/>
                <a:gd name="connsiteY477" fmla="*/ 211931 h 585406"/>
                <a:gd name="connsiteX478" fmla="*/ 199168 w 566166"/>
                <a:gd name="connsiteY478" fmla="*/ 213741 h 585406"/>
                <a:gd name="connsiteX479" fmla="*/ 204597 w 566166"/>
                <a:gd name="connsiteY479" fmla="*/ 212979 h 585406"/>
                <a:gd name="connsiteX480" fmla="*/ 198596 w 566166"/>
                <a:gd name="connsiteY480" fmla="*/ 222885 h 585406"/>
                <a:gd name="connsiteX481" fmla="*/ 194596 w 566166"/>
                <a:gd name="connsiteY481" fmla="*/ 234315 h 585406"/>
                <a:gd name="connsiteX482" fmla="*/ 189166 w 566166"/>
                <a:gd name="connsiteY482" fmla="*/ 234982 h 585406"/>
                <a:gd name="connsiteX483" fmla="*/ 187357 w 566166"/>
                <a:gd name="connsiteY483" fmla="*/ 235267 h 585406"/>
                <a:gd name="connsiteX484" fmla="*/ 193262 w 566166"/>
                <a:gd name="connsiteY484" fmla="*/ 238125 h 585406"/>
                <a:gd name="connsiteX485" fmla="*/ 188119 w 566166"/>
                <a:gd name="connsiteY485" fmla="*/ 240601 h 585406"/>
                <a:gd name="connsiteX486" fmla="*/ 190595 w 566166"/>
                <a:gd name="connsiteY486" fmla="*/ 245650 h 585406"/>
                <a:gd name="connsiteX487" fmla="*/ 188976 w 566166"/>
                <a:gd name="connsiteY487" fmla="*/ 247650 h 585406"/>
                <a:gd name="connsiteX488" fmla="*/ 183261 w 566166"/>
                <a:gd name="connsiteY488" fmla="*/ 259271 h 585406"/>
                <a:gd name="connsiteX489" fmla="*/ 181737 w 566166"/>
                <a:gd name="connsiteY489" fmla="*/ 261271 h 585406"/>
                <a:gd name="connsiteX490" fmla="*/ 187357 w 566166"/>
                <a:gd name="connsiteY490" fmla="*/ 262319 h 585406"/>
                <a:gd name="connsiteX491" fmla="*/ 189833 w 566166"/>
                <a:gd name="connsiteY491" fmla="*/ 267462 h 585406"/>
                <a:gd name="connsiteX492" fmla="*/ 193357 w 566166"/>
                <a:gd name="connsiteY492" fmla="*/ 266986 h 585406"/>
                <a:gd name="connsiteX493" fmla="*/ 199263 w 566166"/>
                <a:gd name="connsiteY493" fmla="*/ 269843 h 585406"/>
                <a:gd name="connsiteX494" fmla="*/ 198406 w 566166"/>
                <a:gd name="connsiteY494" fmla="*/ 277178 h 585406"/>
                <a:gd name="connsiteX495" fmla="*/ 204502 w 566166"/>
                <a:gd name="connsiteY495" fmla="*/ 281845 h 585406"/>
                <a:gd name="connsiteX496" fmla="*/ 207740 w 566166"/>
                <a:gd name="connsiteY496" fmla="*/ 292322 h 585406"/>
                <a:gd name="connsiteX497" fmla="*/ 213360 w 566166"/>
                <a:gd name="connsiteY497" fmla="*/ 293370 h 585406"/>
                <a:gd name="connsiteX498" fmla="*/ 220504 w 566166"/>
                <a:gd name="connsiteY498" fmla="*/ 292417 h 585406"/>
                <a:gd name="connsiteX499" fmla="*/ 224314 w 566166"/>
                <a:gd name="connsiteY499" fmla="*/ 293751 h 585406"/>
                <a:gd name="connsiteX500" fmla="*/ 225171 w 566166"/>
                <a:gd name="connsiteY500" fmla="*/ 286417 h 585406"/>
                <a:gd name="connsiteX501" fmla="*/ 230314 w 566166"/>
                <a:gd name="connsiteY501" fmla="*/ 283940 h 585406"/>
                <a:gd name="connsiteX502" fmla="*/ 236410 w 566166"/>
                <a:gd name="connsiteY502" fmla="*/ 288607 h 585406"/>
                <a:gd name="connsiteX503" fmla="*/ 240030 w 566166"/>
                <a:gd name="connsiteY503" fmla="*/ 288131 h 585406"/>
                <a:gd name="connsiteX504" fmla="*/ 243649 w 566166"/>
                <a:gd name="connsiteY504" fmla="*/ 302133 h 585406"/>
                <a:gd name="connsiteX505" fmla="*/ 244126 w 566166"/>
                <a:gd name="connsiteY505" fmla="*/ 305657 h 585406"/>
                <a:gd name="connsiteX506" fmla="*/ 265271 w 566166"/>
                <a:gd name="connsiteY506" fmla="*/ 313658 h 585406"/>
                <a:gd name="connsiteX507" fmla="*/ 264414 w 566166"/>
                <a:gd name="connsiteY507" fmla="*/ 321088 h 585406"/>
                <a:gd name="connsiteX508" fmla="*/ 276130 w 566166"/>
                <a:gd name="connsiteY508" fmla="*/ 326803 h 585406"/>
                <a:gd name="connsiteX509" fmla="*/ 282892 w 566166"/>
                <a:gd name="connsiteY509" fmla="*/ 322326 h 585406"/>
                <a:gd name="connsiteX510" fmla="*/ 292322 w 566166"/>
                <a:gd name="connsiteY510" fmla="*/ 324707 h 585406"/>
                <a:gd name="connsiteX511" fmla="*/ 290703 w 566166"/>
                <a:gd name="connsiteY511" fmla="*/ 326707 h 585406"/>
                <a:gd name="connsiteX512" fmla="*/ 296608 w 566166"/>
                <a:gd name="connsiteY512" fmla="*/ 329565 h 585406"/>
                <a:gd name="connsiteX513" fmla="*/ 298513 w 566166"/>
                <a:gd name="connsiteY513" fmla="*/ 343853 h 585406"/>
                <a:gd name="connsiteX514" fmla="*/ 300514 w 566166"/>
                <a:gd name="connsiteY514" fmla="*/ 345376 h 585406"/>
                <a:gd name="connsiteX515" fmla="*/ 316421 w 566166"/>
                <a:gd name="connsiteY515" fmla="*/ 341471 h 585406"/>
                <a:gd name="connsiteX516" fmla="*/ 319088 w 566166"/>
                <a:gd name="connsiteY516" fmla="*/ 333851 h 585406"/>
                <a:gd name="connsiteX517" fmla="*/ 321088 w 566166"/>
                <a:gd name="connsiteY517" fmla="*/ 335375 h 585406"/>
                <a:gd name="connsiteX518" fmla="*/ 332137 w 566166"/>
                <a:gd name="connsiteY518" fmla="*/ 335756 h 585406"/>
                <a:gd name="connsiteX519" fmla="*/ 334137 w 566166"/>
                <a:gd name="connsiteY519" fmla="*/ 337280 h 585406"/>
                <a:gd name="connsiteX520" fmla="*/ 329184 w 566166"/>
                <a:gd name="connsiteY520" fmla="*/ 341566 h 585406"/>
                <a:gd name="connsiteX521" fmla="*/ 331184 w 566166"/>
                <a:gd name="connsiteY521" fmla="*/ 343090 h 585406"/>
                <a:gd name="connsiteX522" fmla="*/ 331470 w 566166"/>
                <a:gd name="connsiteY522" fmla="*/ 344900 h 585406"/>
                <a:gd name="connsiteX523" fmla="*/ 335280 w 566166"/>
                <a:gd name="connsiteY523" fmla="*/ 346234 h 585406"/>
                <a:gd name="connsiteX524" fmla="*/ 331946 w 566166"/>
                <a:gd name="connsiteY524" fmla="*/ 362998 h 585406"/>
                <a:gd name="connsiteX525" fmla="*/ 331089 w 566166"/>
                <a:gd name="connsiteY525" fmla="*/ 370332 h 585406"/>
                <a:gd name="connsiteX526" fmla="*/ 338328 w 566166"/>
                <a:gd name="connsiteY526" fmla="*/ 369380 h 585406"/>
                <a:gd name="connsiteX527" fmla="*/ 338042 w 566166"/>
                <a:gd name="connsiteY527" fmla="*/ 367570 h 585406"/>
                <a:gd name="connsiteX528" fmla="*/ 339566 w 566166"/>
                <a:gd name="connsiteY528" fmla="*/ 365570 h 585406"/>
                <a:gd name="connsiteX529" fmla="*/ 344710 w 566166"/>
                <a:gd name="connsiteY529" fmla="*/ 363093 h 585406"/>
                <a:gd name="connsiteX530" fmla="*/ 350615 w 566166"/>
                <a:gd name="connsiteY530" fmla="*/ 365855 h 585406"/>
                <a:gd name="connsiteX531" fmla="*/ 366998 w 566166"/>
                <a:gd name="connsiteY531" fmla="*/ 365474 h 585406"/>
                <a:gd name="connsiteX532" fmla="*/ 369189 w 566166"/>
                <a:gd name="connsiteY532" fmla="*/ 354330 h 585406"/>
                <a:gd name="connsiteX533" fmla="*/ 374523 w 566166"/>
                <a:gd name="connsiteY533" fmla="*/ 353568 h 585406"/>
                <a:gd name="connsiteX534" fmla="*/ 373951 w 566166"/>
                <a:gd name="connsiteY534" fmla="*/ 362712 h 585406"/>
                <a:gd name="connsiteX535" fmla="*/ 376904 w 566166"/>
                <a:gd name="connsiteY535" fmla="*/ 371380 h 585406"/>
                <a:gd name="connsiteX536" fmla="*/ 369760 w 566166"/>
                <a:gd name="connsiteY536" fmla="*/ 372332 h 585406"/>
                <a:gd name="connsiteX537" fmla="*/ 370713 w 566166"/>
                <a:gd name="connsiteY537" fmla="*/ 379476 h 585406"/>
                <a:gd name="connsiteX538" fmla="*/ 363474 w 566166"/>
                <a:gd name="connsiteY538" fmla="*/ 380429 h 585406"/>
                <a:gd name="connsiteX539" fmla="*/ 362045 w 566166"/>
                <a:gd name="connsiteY539" fmla="*/ 396907 h 585406"/>
                <a:gd name="connsiteX540" fmla="*/ 364522 w 566166"/>
                <a:gd name="connsiteY540" fmla="*/ 402050 h 585406"/>
                <a:gd name="connsiteX541" fmla="*/ 368332 w 566166"/>
                <a:gd name="connsiteY541" fmla="*/ 403384 h 585406"/>
                <a:gd name="connsiteX542" fmla="*/ 367379 w 566166"/>
                <a:gd name="connsiteY542" fmla="*/ 396240 h 585406"/>
                <a:gd name="connsiteX543" fmla="*/ 370522 w 566166"/>
                <a:gd name="connsiteY543" fmla="*/ 392239 h 585406"/>
                <a:gd name="connsiteX544" fmla="*/ 373856 w 566166"/>
                <a:gd name="connsiteY544" fmla="*/ 389954 h 585406"/>
                <a:gd name="connsiteX545" fmla="*/ 390525 w 566166"/>
                <a:gd name="connsiteY545" fmla="*/ 391382 h 585406"/>
                <a:gd name="connsiteX546" fmla="*/ 394621 w 566166"/>
                <a:gd name="connsiteY546" fmla="*/ 394430 h 585406"/>
                <a:gd name="connsiteX547" fmla="*/ 400050 w 566166"/>
                <a:gd name="connsiteY547" fmla="*/ 393668 h 585406"/>
                <a:gd name="connsiteX548" fmla="*/ 407480 w 566166"/>
                <a:gd name="connsiteY548" fmla="*/ 394525 h 585406"/>
                <a:gd name="connsiteX549" fmla="*/ 407194 w 566166"/>
                <a:gd name="connsiteY549" fmla="*/ 392716 h 585406"/>
                <a:gd name="connsiteX550" fmla="*/ 410718 w 566166"/>
                <a:gd name="connsiteY550" fmla="*/ 392239 h 585406"/>
                <a:gd name="connsiteX551" fmla="*/ 410242 w 566166"/>
                <a:gd name="connsiteY551" fmla="*/ 388715 h 585406"/>
                <a:gd name="connsiteX552" fmla="*/ 413861 w 566166"/>
                <a:gd name="connsiteY552" fmla="*/ 388239 h 585406"/>
                <a:gd name="connsiteX553" fmla="*/ 416338 w 566166"/>
                <a:gd name="connsiteY553" fmla="*/ 378809 h 585406"/>
                <a:gd name="connsiteX554" fmla="*/ 420148 w 566166"/>
                <a:gd name="connsiteY554" fmla="*/ 380143 h 585406"/>
                <a:gd name="connsiteX555" fmla="*/ 426910 w 566166"/>
                <a:gd name="connsiteY555" fmla="*/ 375666 h 585406"/>
                <a:gd name="connsiteX556" fmla="*/ 428911 w 566166"/>
                <a:gd name="connsiteY556" fmla="*/ 377190 h 585406"/>
                <a:gd name="connsiteX557" fmla="*/ 437674 w 566166"/>
                <a:gd name="connsiteY557" fmla="*/ 374237 h 585406"/>
                <a:gd name="connsiteX558" fmla="*/ 436531 w 566166"/>
                <a:gd name="connsiteY558" fmla="*/ 365284 h 585406"/>
                <a:gd name="connsiteX559" fmla="*/ 436912 w 566166"/>
                <a:gd name="connsiteY559" fmla="*/ 354330 h 585406"/>
                <a:gd name="connsiteX560" fmla="*/ 440531 w 566166"/>
                <a:gd name="connsiteY560" fmla="*/ 353854 h 585406"/>
                <a:gd name="connsiteX561" fmla="*/ 440246 w 566166"/>
                <a:gd name="connsiteY561" fmla="*/ 352044 h 585406"/>
                <a:gd name="connsiteX562" fmla="*/ 432816 w 566166"/>
                <a:gd name="connsiteY562" fmla="*/ 351187 h 585406"/>
                <a:gd name="connsiteX563" fmla="*/ 428244 w 566166"/>
                <a:gd name="connsiteY563" fmla="*/ 344519 h 585406"/>
                <a:gd name="connsiteX564" fmla="*/ 426339 w 566166"/>
                <a:gd name="connsiteY564" fmla="*/ 330232 h 585406"/>
                <a:gd name="connsiteX565" fmla="*/ 428149 w 566166"/>
                <a:gd name="connsiteY565" fmla="*/ 329946 h 585406"/>
                <a:gd name="connsiteX566" fmla="*/ 425672 w 566166"/>
                <a:gd name="connsiteY566" fmla="*/ 324803 h 585406"/>
                <a:gd name="connsiteX567" fmla="*/ 431863 w 566166"/>
                <a:gd name="connsiteY567" fmla="*/ 316706 h 585406"/>
                <a:gd name="connsiteX568" fmla="*/ 421957 w 566166"/>
                <a:gd name="connsiteY568" fmla="*/ 310801 h 585406"/>
                <a:gd name="connsiteX569" fmla="*/ 423100 w 566166"/>
                <a:gd name="connsiteY569" fmla="*/ 305181 h 585406"/>
                <a:gd name="connsiteX570" fmla="*/ 422148 w 566166"/>
                <a:gd name="connsiteY570" fmla="*/ 298037 h 585406"/>
                <a:gd name="connsiteX571" fmla="*/ 436245 w 566166"/>
                <a:gd name="connsiteY571" fmla="*/ 294322 h 585406"/>
                <a:gd name="connsiteX572" fmla="*/ 433959 w 566166"/>
                <a:gd name="connsiteY572" fmla="*/ 290989 h 585406"/>
                <a:gd name="connsiteX573" fmla="*/ 439103 w 566166"/>
                <a:gd name="connsiteY573" fmla="*/ 288512 h 585406"/>
                <a:gd name="connsiteX574" fmla="*/ 442722 w 566166"/>
                <a:gd name="connsiteY574" fmla="*/ 288036 h 585406"/>
                <a:gd name="connsiteX575" fmla="*/ 444246 w 566166"/>
                <a:gd name="connsiteY575" fmla="*/ 286036 h 585406"/>
                <a:gd name="connsiteX576" fmla="*/ 443770 w 566166"/>
                <a:gd name="connsiteY576" fmla="*/ 282512 h 585406"/>
                <a:gd name="connsiteX577" fmla="*/ 442341 w 566166"/>
                <a:gd name="connsiteY577" fmla="*/ 271844 h 585406"/>
                <a:gd name="connsiteX578" fmla="*/ 443389 w 566166"/>
                <a:gd name="connsiteY578" fmla="*/ 266224 h 585406"/>
                <a:gd name="connsiteX579" fmla="*/ 437483 w 566166"/>
                <a:gd name="connsiteY579" fmla="*/ 263366 h 585406"/>
                <a:gd name="connsiteX580" fmla="*/ 437197 w 566166"/>
                <a:gd name="connsiteY580" fmla="*/ 261556 h 585406"/>
                <a:gd name="connsiteX581" fmla="*/ 443960 w 566166"/>
                <a:gd name="connsiteY581" fmla="*/ 257080 h 585406"/>
                <a:gd name="connsiteX582" fmla="*/ 443484 w 566166"/>
                <a:gd name="connsiteY582" fmla="*/ 253555 h 585406"/>
                <a:gd name="connsiteX583" fmla="*/ 439388 w 566166"/>
                <a:gd name="connsiteY583" fmla="*/ 250507 h 585406"/>
                <a:gd name="connsiteX584" fmla="*/ 443008 w 566166"/>
                <a:gd name="connsiteY584" fmla="*/ 250031 h 585406"/>
                <a:gd name="connsiteX585" fmla="*/ 440055 w 566166"/>
                <a:gd name="connsiteY585" fmla="*/ 241363 h 585406"/>
                <a:gd name="connsiteX586" fmla="*/ 444532 w 566166"/>
                <a:gd name="connsiteY586" fmla="*/ 233553 h 585406"/>
                <a:gd name="connsiteX587" fmla="*/ 451009 w 566166"/>
                <a:gd name="connsiteY587" fmla="*/ 227266 h 585406"/>
                <a:gd name="connsiteX588" fmla="*/ 447770 w 566166"/>
                <a:gd name="connsiteY588" fmla="*/ 216789 h 585406"/>
                <a:gd name="connsiteX589" fmla="*/ 438817 w 566166"/>
                <a:gd name="connsiteY589" fmla="*/ 217932 h 585406"/>
                <a:gd name="connsiteX590" fmla="*/ 437483 w 566166"/>
                <a:gd name="connsiteY590" fmla="*/ 221742 h 585406"/>
                <a:gd name="connsiteX591" fmla="*/ 433864 w 566166"/>
                <a:gd name="connsiteY591" fmla="*/ 222218 h 585406"/>
                <a:gd name="connsiteX592" fmla="*/ 431482 w 566166"/>
                <a:gd name="connsiteY592" fmla="*/ 231648 h 585406"/>
                <a:gd name="connsiteX593" fmla="*/ 414909 w 566166"/>
                <a:gd name="connsiteY593" fmla="*/ 244697 h 585406"/>
                <a:gd name="connsiteX594" fmla="*/ 410718 w 566166"/>
                <a:gd name="connsiteY594" fmla="*/ 254317 h 585406"/>
                <a:gd name="connsiteX595" fmla="*/ 399002 w 566166"/>
                <a:gd name="connsiteY595" fmla="*/ 248603 h 585406"/>
                <a:gd name="connsiteX596" fmla="*/ 394716 w 566166"/>
                <a:gd name="connsiteY596" fmla="*/ 243745 h 585406"/>
                <a:gd name="connsiteX597" fmla="*/ 402241 w 566166"/>
                <a:gd name="connsiteY597" fmla="*/ 231838 h 585406"/>
                <a:gd name="connsiteX598" fmla="*/ 400240 w 566166"/>
                <a:gd name="connsiteY598" fmla="*/ 230314 h 585406"/>
                <a:gd name="connsiteX599" fmla="*/ 396621 w 566166"/>
                <a:gd name="connsiteY599" fmla="*/ 230791 h 585406"/>
                <a:gd name="connsiteX600" fmla="*/ 395954 w 566166"/>
                <a:gd name="connsiteY600" fmla="*/ 225457 h 585406"/>
                <a:gd name="connsiteX601" fmla="*/ 388239 w 566166"/>
                <a:gd name="connsiteY601" fmla="*/ 222885 h 585406"/>
                <a:gd name="connsiteX602" fmla="*/ 372428 w 566166"/>
                <a:gd name="connsiteY602" fmla="*/ 214122 h 585406"/>
                <a:gd name="connsiteX603" fmla="*/ 373761 w 566166"/>
                <a:gd name="connsiteY603" fmla="*/ 210312 h 585406"/>
                <a:gd name="connsiteX604" fmla="*/ 378905 w 566166"/>
                <a:gd name="connsiteY604" fmla="*/ 207836 h 585406"/>
                <a:gd name="connsiteX605" fmla="*/ 373380 w 566166"/>
                <a:gd name="connsiteY605" fmla="*/ 194024 h 585406"/>
                <a:gd name="connsiteX606" fmla="*/ 366808 w 566166"/>
                <a:gd name="connsiteY606" fmla="*/ 185833 h 585406"/>
                <a:gd name="connsiteX607" fmla="*/ 359664 w 566166"/>
                <a:gd name="connsiteY607" fmla="*/ 186785 h 585406"/>
                <a:gd name="connsiteX608" fmla="*/ 354901 w 566166"/>
                <a:gd name="connsiteY608" fmla="*/ 178403 h 585406"/>
                <a:gd name="connsiteX609" fmla="*/ 351282 w 566166"/>
                <a:gd name="connsiteY609" fmla="*/ 178879 h 585406"/>
                <a:gd name="connsiteX610" fmla="*/ 348996 w 566166"/>
                <a:gd name="connsiteY610" fmla="*/ 175546 h 585406"/>
                <a:gd name="connsiteX611" fmla="*/ 355759 w 566166"/>
                <a:gd name="connsiteY611" fmla="*/ 171069 h 585406"/>
                <a:gd name="connsiteX612" fmla="*/ 355282 w 566166"/>
                <a:gd name="connsiteY612" fmla="*/ 167449 h 585406"/>
                <a:gd name="connsiteX613" fmla="*/ 366522 w 566166"/>
                <a:gd name="connsiteY613" fmla="*/ 169640 h 585406"/>
                <a:gd name="connsiteX614" fmla="*/ 378142 w 566166"/>
                <a:gd name="connsiteY614" fmla="*/ 160877 h 585406"/>
                <a:gd name="connsiteX615" fmla="*/ 372237 w 566166"/>
                <a:gd name="connsiteY615" fmla="*/ 158020 h 585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</a:cxnLst>
              <a:rect l="l" t="t" r="r" b="b"/>
              <a:pathLst>
                <a:path w="566166" h="585406">
                  <a:moveTo>
                    <a:pt x="378809" y="160877"/>
                  </a:moveTo>
                  <a:lnTo>
                    <a:pt x="384715" y="163735"/>
                  </a:lnTo>
                  <a:lnTo>
                    <a:pt x="395478" y="162306"/>
                  </a:lnTo>
                  <a:lnTo>
                    <a:pt x="399955" y="154496"/>
                  </a:lnTo>
                  <a:lnTo>
                    <a:pt x="384810" y="136493"/>
                  </a:lnTo>
                  <a:lnTo>
                    <a:pt x="386810" y="138017"/>
                  </a:lnTo>
                  <a:lnTo>
                    <a:pt x="395097" y="131445"/>
                  </a:lnTo>
                  <a:lnTo>
                    <a:pt x="396240" y="125921"/>
                  </a:lnTo>
                  <a:lnTo>
                    <a:pt x="400050" y="127254"/>
                  </a:lnTo>
                  <a:lnTo>
                    <a:pt x="402526" y="132397"/>
                  </a:lnTo>
                  <a:lnTo>
                    <a:pt x="414909" y="128968"/>
                  </a:lnTo>
                  <a:lnTo>
                    <a:pt x="417385" y="134112"/>
                  </a:lnTo>
                  <a:lnTo>
                    <a:pt x="423196" y="136969"/>
                  </a:lnTo>
                  <a:lnTo>
                    <a:pt x="425672" y="142113"/>
                  </a:lnTo>
                  <a:lnTo>
                    <a:pt x="433768" y="148304"/>
                  </a:lnTo>
                  <a:lnTo>
                    <a:pt x="432435" y="152114"/>
                  </a:lnTo>
                  <a:lnTo>
                    <a:pt x="437197" y="160496"/>
                  </a:lnTo>
                  <a:lnTo>
                    <a:pt x="446246" y="159353"/>
                  </a:lnTo>
                  <a:lnTo>
                    <a:pt x="447199" y="166497"/>
                  </a:lnTo>
                  <a:lnTo>
                    <a:pt x="452628" y="165830"/>
                  </a:lnTo>
                  <a:lnTo>
                    <a:pt x="458724" y="170402"/>
                  </a:lnTo>
                  <a:lnTo>
                    <a:pt x="469392" y="181737"/>
                  </a:lnTo>
                  <a:lnTo>
                    <a:pt x="475012" y="182785"/>
                  </a:lnTo>
                  <a:lnTo>
                    <a:pt x="492633" y="164116"/>
                  </a:lnTo>
                  <a:lnTo>
                    <a:pt x="493966" y="160306"/>
                  </a:lnTo>
                  <a:lnTo>
                    <a:pt x="491490" y="155162"/>
                  </a:lnTo>
                  <a:lnTo>
                    <a:pt x="492823" y="151352"/>
                  </a:lnTo>
                  <a:lnTo>
                    <a:pt x="498443" y="152400"/>
                  </a:lnTo>
                  <a:lnTo>
                    <a:pt x="502539" y="155543"/>
                  </a:lnTo>
                  <a:lnTo>
                    <a:pt x="513302" y="154114"/>
                  </a:lnTo>
                  <a:lnTo>
                    <a:pt x="518065" y="162592"/>
                  </a:lnTo>
                  <a:lnTo>
                    <a:pt x="521684" y="162115"/>
                  </a:lnTo>
                  <a:lnTo>
                    <a:pt x="522732" y="156496"/>
                  </a:lnTo>
                  <a:lnTo>
                    <a:pt x="534638" y="149447"/>
                  </a:lnTo>
                  <a:lnTo>
                    <a:pt x="546068" y="153352"/>
                  </a:lnTo>
                  <a:lnTo>
                    <a:pt x="539020" y="168783"/>
                  </a:lnTo>
                  <a:lnTo>
                    <a:pt x="525304" y="176022"/>
                  </a:lnTo>
                  <a:lnTo>
                    <a:pt x="527685" y="193834"/>
                  </a:lnTo>
                  <a:lnTo>
                    <a:pt x="530162" y="198977"/>
                  </a:lnTo>
                  <a:lnTo>
                    <a:pt x="535305" y="196501"/>
                  </a:lnTo>
                  <a:lnTo>
                    <a:pt x="536257" y="203645"/>
                  </a:lnTo>
                  <a:lnTo>
                    <a:pt x="537210" y="210788"/>
                  </a:lnTo>
                  <a:lnTo>
                    <a:pt x="543497" y="217265"/>
                  </a:lnTo>
                  <a:lnTo>
                    <a:pt x="553403" y="223171"/>
                  </a:lnTo>
                  <a:lnTo>
                    <a:pt x="556546" y="219170"/>
                  </a:lnTo>
                  <a:lnTo>
                    <a:pt x="557022" y="222695"/>
                  </a:lnTo>
                  <a:lnTo>
                    <a:pt x="558165" y="231648"/>
                  </a:lnTo>
                  <a:lnTo>
                    <a:pt x="564547" y="238030"/>
                  </a:lnTo>
                  <a:lnTo>
                    <a:pt x="554260" y="242983"/>
                  </a:lnTo>
                  <a:lnTo>
                    <a:pt x="556736" y="248126"/>
                  </a:lnTo>
                  <a:lnTo>
                    <a:pt x="551116" y="247079"/>
                  </a:lnTo>
                  <a:lnTo>
                    <a:pt x="557213" y="251746"/>
                  </a:lnTo>
                  <a:lnTo>
                    <a:pt x="564737" y="267081"/>
                  </a:lnTo>
                  <a:lnTo>
                    <a:pt x="566166" y="277749"/>
                  </a:lnTo>
                  <a:lnTo>
                    <a:pt x="558927" y="278701"/>
                  </a:lnTo>
                  <a:lnTo>
                    <a:pt x="557593" y="282512"/>
                  </a:lnTo>
                  <a:lnTo>
                    <a:pt x="554260" y="284797"/>
                  </a:lnTo>
                  <a:lnTo>
                    <a:pt x="552736" y="286798"/>
                  </a:lnTo>
                  <a:lnTo>
                    <a:pt x="553403" y="292132"/>
                  </a:lnTo>
                  <a:lnTo>
                    <a:pt x="542830" y="295370"/>
                  </a:lnTo>
                  <a:lnTo>
                    <a:pt x="539210" y="295846"/>
                  </a:lnTo>
                  <a:lnTo>
                    <a:pt x="530257" y="296989"/>
                  </a:lnTo>
                  <a:lnTo>
                    <a:pt x="527304" y="288322"/>
                  </a:lnTo>
                  <a:lnTo>
                    <a:pt x="518541" y="291274"/>
                  </a:lnTo>
                  <a:lnTo>
                    <a:pt x="519208" y="296608"/>
                  </a:lnTo>
                  <a:lnTo>
                    <a:pt x="517398" y="296894"/>
                  </a:lnTo>
                  <a:lnTo>
                    <a:pt x="517684" y="298704"/>
                  </a:lnTo>
                  <a:lnTo>
                    <a:pt x="514064" y="299180"/>
                  </a:lnTo>
                  <a:lnTo>
                    <a:pt x="517017" y="307848"/>
                  </a:lnTo>
                  <a:lnTo>
                    <a:pt x="517684" y="313182"/>
                  </a:lnTo>
                  <a:lnTo>
                    <a:pt x="526256" y="322897"/>
                  </a:lnTo>
                  <a:lnTo>
                    <a:pt x="526732" y="326422"/>
                  </a:lnTo>
                  <a:lnTo>
                    <a:pt x="513112" y="348139"/>
                  </a:lnTo>
                  <a:lnTo>
                    <a:pt x="511588" y="350139"/>
                  </a:lnTo>
                  <a:lnTo>
                    <a:pt x="508730" y="355949"/>
                  </a:lnTo>
                  <a:lnTo>
                    <a:pt x="501205" y="367855"/>
                  </a:lnTo>
                  <a:lnTo>
                    <a:pt x="485108" y="384429"/>
                  </a:lnTo>
                  <a:lnTo>
                    <a:pt x="483489" y="386429"/>
                  </a:lnTo>
                  <a:lnTo>
                    <a:pt x="489395" y="389287"/>
                  </a:lnTo>
                  <a:lnTo>
                    <a:pt x="495776" y="395669"/>
                  </a:lnTo>
                  <a:lnTo>
                    <a:pt x="490633" y="398145"/>
                  </a:lnTo>
                  <a:lnTo>
                    <a:pt x="493205" y="403288"/>
                  </a:lnTo>
                  <a:lnTo>
                    <a:pt x="498824" y="404336"/>
                  </a:lnTo>
                  <a:lnTo>
                    <a:pt x="502444" y="403860"/>
                  </a:lnTo>
                  <a:lnTo>
                    <a:pt x="501967" y="400336"/>
                  </a:lnTo>
                  <a:lnTo>
                    <a:pt x="507968" y="390430"/>
                  </a:lnTo>
                  <a:lnTo>
                    <a:pt x="509968" y="391954"/>
                  </a:lnTo>
                  <a:lnTo>
                    <a:pt x="515398" y="391192"/>
                  </a:lnTo>
                  <a:lnTo>
                    <a:pt x="510730" y="397288"/>
                  </a:lnTo>
                  <a:lnTo>
                    <a:pt x="512540" y="397097"/>
                  </a:lnTo>
                  <a:lnTo>
                    <a:pt x="513016" y="400621"/>
                  </a:lnTo>
                  <a:lnTo>
                    <a:pt x="508063" y="404908"/>
                  </a:lnTo>
                  <a:lnTo>
                    <a:pt x="511683" y="418909"/>
                  </a:lnTo>
                  <a:lnTo>
                    <a:pt x="513683" y="420433"/>
                  </a:lnTo>
                  <a:lnTo>
                    <a:pt x="506825" y="437674"/>
                  </a:lnTo>
                  <a:lnTo>
                    <a:pt x="522160" y="442913"/>
                  </a:lnTo>
                  <a:lnTo>
                    <a:pt x="527590" y="456724"/>
                  </a:lnTo>
                  <a:lnTo>
                    <a:pt x="527209" y="467678"/>
                  </a:lnTo>
                  <a:lnTo>
                    <a:pt x="530447" y="478155"/>
                  </a:lnTo>
                  <a:lnTo>
                    <a:pt x="524828" y="477107"/>
                  </a:lnTo>
                  <a:lnTo>
                    <a:pt x="523113" y="491871"/>
                  </a:lnTo>
                  <a:lnTo>
                    <a:pt x="517970" y="494347"/>
                  </a:lnTo>
                  <a:lnTo>
                    <a:pt x="517112" y="501682"/>
                  </a:lnTo>
                  <a:lnTo>
                    <a:pt x="517398" y="503491"/>
                  </a:lnTo>
                  <a:lnTo>
                    <a:pt x="515588" y="503777"/>
                  </a:lnTo>
                  <a:lnTo>
                    <a:pt x="512445" y="507778"/>
                  </a:lnTo>
                  <a:lnTo>
                    <a:pt x="509111" y="510064"/>
                  </a:lnTo>
                  <a:lnTo>
                    <a:pt x="506825" y="506730"/>
                  </a:lnTo>
                  <a:lnTo>
                    <a:pt x="503206" y="507206"/>
                  </a:lnTo>
                  <a:lnTo>
                    <a:pt x="485965" y="514921"/>
                  </a:lnTo>
                  <a:lnTo>
                    <a:pt x="472154" y="507682"/>
                  </a:lnTo>
                  <a:lnTo>
                    <a:pt x="456152" y="497110"/>
                  </a:lnTo>
                  <a:lnTo>
                    <a:pt x="454628" y="499110"/>
                  </a:lnTo>
                  <a:lnTo>
                    <a:pt x="449866" y="490728"/>
                  </a:lnTo>
                  <a:lnTo>
                    <a:pt x="437102" y="505111"/>
                  </a:lnTo>
                  <a:lnTo>
                    <a:pt x="433006" y="502063"/>
                  </a:lnTo>
                  <a:lnTo>
                    <a:pt x="427863" y="504539"/>
                  </a:lnTo>
                  <a:lnTo>
                    <a:pt x="428054" y="506349"/>
                  </a:lnTo>
                  <a:lnTo>
                    <a:pt x="432340" y="511207"/>
                  </a:lnTo>
                  <a:lnTo>
                    <a:pt x="429482" y="517017"/>
                  </a:lnTo>
                  <a:lnTo>
                    <a:pt x="419195" y="521970"/>
                  </a:lnTo>
                  <a:lnTo>
                    <a:pt x="418338" y="529399"/>
                  </a:lnTo>
                  <a:lnTo>
                    <a:pt x="408527" y="537972"/>
                  </a:lnTo>
                  <a:lnTo>
                    <a:pt x="409194" y="543306"/>
                  </a:lnTo>
                  <a:lnTo>
                    <a:pt x="405860" y="545592"/>
                  </a:lnTo>
                  <a:lnTo>
                    <a:pt x="403574" y="542258"/>
                  </a:lnTo>
                  <a:lnTo>
                    <a:pt x="400145" y="544544"/>
                  </a:lnTo>
                  <a:lnTo>
                    <a:pt x="398335" y="544830"/>
                  </a:lnTo>
                  <a:lnTo>
                    <a:pt x="398812" y="548354"/>
                  </a:lnTo>
                  <a:lnTo>
                    <a:pt x="395478" y="550640"/>
                  </a:lnTo>
                  <a:lnTo>
                    <a:pt x="394621" y="557974"/>
                  </a:lnTo>
                  <a:lnTo>
                    <a:pt x="392621" y="556450"/>
                  </a:lnTo>
                  <a:lnTo>
                    <a:pt x="391287" y="560261"/>
                  </a:lnTo>
                  <a:lnTo>
                    <a:pt x="396526" y="572262"/>
                  </a:lnTo>
                  <a:lnTo>
                    <a:pt x="393192" y="574548"/>
                  </a:lnTo>
                  <a:lnTo>
                    <a:pt x="389858" y="576834"/>
                  </a:lnTo>
                  <a:lnTo>
                    <a:pt x="384238" y="575786"/>
                  </a:lnTo>
                  <a:lnTo>
                    <a:pt x="382905" y="579596"/>
                  </a:lnTo>
                  <a:lnTo>
                    <a:pt x="381381" y="581597"/>
                  </a:lnTo>
                  <a:lnTo>
                    <a:pt x="380047" y="585406"/>
                  </a:lnTo>
                  <a:lnTo>
                    <a:pt x="366236" y="578167"/>
                  </a:lnTo>
                  <a:lnTo>
                    <a:pt x="353187" y="576263"/>
                  </a:lnTo>
                  <a:lnTo>
                    <a:pt x="352520" y="570929"/>
                  </a:lnTo>
                  <a:lnTo>
                    <a:pt x="348901" y="571405"/>
                  </a:lnTo>
                  <a:lnTo>
                    <a:pt x="338518" y="561880"/>
                  </a:lnTo>
                  <a:lnTo>
                    <a:pt x="331375" y="562832"/>
                  </a:lnTo>
                  <a:lnTo>
                    <a:pt x="311848" y="567214"/>
                  </a:lnTo>
                  <a:lnTo>
                    <a:pt x="309086" y="560356"/>
                  </a:lnTo>
                  <a:lnTo>
                    <a:pt x="314230" y="557879"/>
                  </a:lnTo>
                  <a:lnTo>
                    <a:pt x="308991" y="545878"/>
                  </a:lnTo>
                  <a:lnTo>
                    <a:pt x="310039" y="540258"/>
                  </a:lnTo>
                  <a:lnTo>
                    <a:pt x="312896" y="534448"/>
                  </a:lnTo>
                  <a:lnTo>
                    <a:pt x="310896" y="532924"/>
                  </a:lnTo>
                  <a:lnTo>
                    <a:pt x="311944" y="527304"/>
                  </a:lnTo>
                  <a:lnTo>
                    <a:pt x="304324" y="524637"/>
                  </a:lnTo>
                  <a:lnTo>
                    <a:pt x="303276" y="530257"/>
                  </a:lnTo>
                  <a:lnTo>
                    <a:pt x="299180" y="527209"/>
                  </a:lnTo>
                  <a:lnTo>
                    <a:pt x="286036" y="537972"/>
                  </a:lnTo>
                  <a:lnTo>
                    <a:pt x="273748" y="541401"/>
                  </a:lnTo>
                  <a:lnTo>
                    <a:pt x="275749" y="542925"/>
                  </a:lnTo>
                  <a:lnTo>
                    <a:pt x="265938" y="551497"/>
                  </a:lnTo>
                  <a:lnTo>
                    <a:pt x="240982" y="556641"/>
                  </a:lnTo>
                  <a:lnTo>
                    <a:pt x="226409" y="556641"/>
                  </a:lnTo>
                  <a:cubicBezTo>
                    <a:pt x="226409" y="556641"/>
                    <a:pt x="227743" y="552926"/>
                    <a:pt x="227743" y="552926"/>
                  </a:cubicBezTo>
                  <a:lnTo>
                    <a:pt x="234220" y="546640"/>
                  </a:lnTo>
                  <a:lnTo>
                    <a:pt x="228124" y="542068"/>
                  </a:lnTo>
                  <a:lnTo>
                    <a:pt x="231267" y="537972"/>
                  </a:lnTo>
                  <a:lnTo>
                    <a:pt x="220218" y="523113"/>
                  </a:lnTo>
                  <a:lnTo>
                    <a:pt x="218694" y="525113"/>
                  </a:lnTo>
                  <a:lnTo>
                    <a:pt x="210312" y="517112"/>
                  </a:lnTo>
                  <a:lnTo>
                    <a:pt x="215265" y="512826"/>
                  </a:lnTo>
                  <a:lnTo>
                    <a:pt x="212979" y="509492"/>
                  </a:lnTo>
                  <a:lnTo>
                    <a:pt x="214313" y="505682"/>
                  </a:lnTo>
                  <a:lnTo>
                    <a:pt x="195739" y="489966"/>
                  </a:lnTo>
                  <a:lnTo>
                    <a:pt x="186023" y="485775"/>
                  </a:lnTo>
                  <a:lnTo>
                    <a:pt x="181928" y="482727"/>
                  </a:lnTo>
                  <a:lnTo>
                    <a:pt x="183451" y="480727"/>
                  </a:lnTo>
                  <a:lnTo>
                    <a:pt x="177832" y="479679"/>
                  </a:lnTo>
                  <a:lnTo>
                    <a:pt x="175831" y="478155"/>
                  </a:lnTo>
                  <a:lnTo>
                    <a:pt x="178975" y="474155"/>
                  </a:lnTo>
                  <a:lnTo>
                    <a:pt x="164116" y="472440"/>
                  </a:lnTo>
                  <a:lnTo>
                    <a:pt x="163925" y="470630"/>
                  </a:lnTo>
                  <a:lnTo>
                    <a:pt x="160115" y="469297"/>
                  </a:lnTo>
                  <a:lnTo>
                    <a:pt x="153162" y="472059"/>
                  </a:lnTo>
                  <a:lnTo>
                    <a:pt x="141256" y="479107"/>
                  </a:lnTo>
                  <a:lnTo>
                    <a:pt x="130588" y="495014"/>
                  </a:lnTo>
                  <a:lnTo>
                    <a:pt x="128111" y="489966"/>
                  </a:lnTo>
                  <a:lnTo>
                    <a:pt x="121825" y="483584"/>
                  </a:lnTo>
                  <a:lnTo>
                    <a:pt x="121158" y="478250"/>
                  </a:lnTo>
                  <a:lnTo>
                    <a:pt x="114395" y="468249"/>
                  </a:lnTo>
                  <a:lnTo>
                    <a:pt x="109442" y="472535"/>
                  </a:lnTo>
                  <a:lnTo>
                    <a:pt x="97726" y="466820"/>
                  </a:lnTo>
                  <a:lnTo>
                    <a:pt x="94488" y="456343"/>
                  </a:lnTo>
                  <a:lnTo>
                    <a:pt x="92964" y="458343"/>
                  </a:lnTo>
                  <a:lnTo>
                    <a:pt x="86392" y="450151"/>
                  </a:lnTo>
                  <a:lnTo>
                    <a:pt x="68580" y="454342"/>
                  </a:lnTo>
                  <a:lnTo>
                    <a:pt x="63437" y="456819"/>
                  </a:lnTo>
                  <a:lnTo>
                    <a:pt x="57817" y="455771"/>
                  </a:lnTo>
                  <a:lnTo>
                    <a:pt x="52864" y="460057"/>
                  </a:lnTo>
                  <a:lnTo>
                    <a:pt x="51054" y="460343"/>
                  </a:lnTo>
                  <a:lnTo>
                    <a:pt x="53721" y="452723"/>
                  </a:lnTo>
                  <a:lnTo>
                    <a:pt x="44291" y="450342"/>
                  </a:lnTo>
                  <a:lnTo>
                    <a:pt x="43339" y="443198"/>
                  </a:lnTo>
                  <a:lnTo>
                    <a:pt x="45339" y="430244"/>
                  </a:lnTo>
                  <a:lnTo>
                    <a:pt x="33814" y="426339"/>
                  </a:lnTo>
                  <a:lnTo>
                    <a:pt x="20383" y="435388"/>
                  </a:lnTo>
                  <a:lnTo>
                    <a:pt x="19907" y="431863"/>
                  </a:lnTo>
                  <a:lnTo>
                    <a:pt x="22574" y="424244"/>
                  </a:lnTo>
                  <a:lnTo>
                    <a:pt x="23717" y="418624"/>
                  </a:lnTo>
                  <a:lnTo>
                    <a:pt x="28861" y="416147"/>
                  </a:lnTo>
                  <a:lnTo>
                    <a:pt x="30194" y="412337"/>
                  </a:lnTo>
                  <a:lnTo>
                    <a:pt x="35147" y="408051"/>
                  </a:lnTo>
                  <a:lnTo>
                    <a:pt x="36290" y="402431"/>
                  </a:lnTo>
                  <a:lnTo>
                    <a:pt x="40100" y="403765"/>
                  </a:lnTo>
                  <a:lnTo>
                    <a:pt x="39814" y="401955"/>
                  </a:lnTo>
                  <a:lnTo>
                    <a:pt x="42577" y="381667"/>
                  </a:lnTo>
                  <a:lnTo>
                    <a:pt x="38957" y="382143"/>
                  </a:lnTo>
                  <a:lnTo>
                    <a:pt x="38290" y="376809"/>
                  </a:lnTo>
                  <a:lnTo>
                    <a:pt x="27241" y="376428"/>
                  </a:lnTo>
                  <a:lnTo>
                    <a:pt x="33052" y="364807"/>
                  </a:lnTo>
                  <a:lnTo>
                    <a:pt x="32575" y="361188"/>
                  </a:lnTo>
                  <a:lnTo>
                    <a:pt x="28765" y="359950"/>
                  </a:lnTo>
                  <a:lnTo>
                    <a:pt x="27622" y="365570"/>
                  </a:lnTo>
                  <a:lnTo>
                    <a:pt x="21146" y="371856"/>
                  </a:lnTo>
                  <a:lnTo>
                    <a:pt x="8572" y="373475"/>
                  </a:lnTo>
                  <a:lnTo>
                    <a:pt x="11716" y="369475"/>
                  </a:lnTo>
                  <a:lnTo>
                    <a:pt x="12763" y="363855"/>
                  </a:lnTo>
                  <a:lnTo>
                    <a:pt x="16573" y="365188"/>
                  </a:lnTo>
                  <a:lnTo>
                    <a:pt x="19717" y="361093"/>
                  </a:lnTo>
                  <a:lnTo>
                    <a:pt x="13145" y="352901"/>
                  </a:lnTo>
                  <a:lnTo>
                    <a:pt x="12478" y="347567"/>
                  </a:lnTo>
                  <a:lnTo>
                    <a:pt x="10001" y="342424"/>
                  </a:lnTo>
                  <a:lnTo>
                    <a:pt x="3048" y="345186"/>
                  </a:lnTo>
                  <a:lnTo>
                    <a:pt x="5905" y="339376"/>
                  </a:lnTo>
                  <a:lnTo>
                    <a:pt x="0" y="336518"/>
                  </a:lnTo>
                  <a:lnTo>
                    <a:pt x="3143" y="332518"/>
                  </a:lnTo>
                  <a:lnTo>
                    <a:pt x="7334" y="322897"/>
                  </a:lnTo>
                  <a:lnTo>
                    <a:pt x="16097" y="319945"/>
                  </a:lnTo>
                  <a:lnTo>
                    <a:pt x="29146" y="321850"/>
                  </a:lnTo>
                  <a:lnTo>
                    <a:pt x="32290" y="317849"/>
                  </a:lnTo>
                  <a:lnTo>
                    <a:pt x="33814" y="315849"/>
                  </a:lnTo>
                  <a:lnTo>
                    <a:pt x="41529" y="318516"/>
                  </a:lnTo>
                  <a:lnTo>
                    <a:pt x="45720" y="308896"/>
                  </a:lnTo>
                  <a:lnTo>
                    <a:pt x="40100" y="307848"/>
                  </a:lnTo>
                  <a:lnTo>
                    <a:pt x="38195" y="293561"/>
                  </a:lnTo>
                  <a:lnTo>
                    <a:pt x="38005" y="291751"/>
                  </a:lnTo>
                  <a:lnTo>
                    <a:pt x="41815" y="293084"/>
                  </a:lnTo>
                  <a:lnTo>
                    <a:pt x="42672" y="285750"/>
                  </a:lnTo>
                  <a:lnTo>
                    <a:pt x="36576" y="281083"/>
                  </a:lnTo>
                  <a:lnTo>
                    <a:pt x="30194" y="274701"/>
                  </a:lnTo>
                  <a:lnTo>
                    <a:pt x="23050" y="275654"/>
                  </a:lnTo>
                  <a:lnTo>
                    <a:pt x="15145" y="271272"/>
                  </a:lnTo>
                  <a:lnTo>
                    <a:pt x="8001" y="272224"/>
                  </a:lnTo>
                  <a:lnTo>
                    <a:pt x="7715" y="270415"/>
                  </a:lnTo>
                  <a:lnTo>
                    <a:pt x="9906" y="259271"/>
                  </a:lnTo>
                  <a:lnTo>
                    <a:pt x="7144" y="252413"/>
                  </a:lnTo>
                  <a:lnTo>
                    <a:pt x="10287" y="248412"/>
                  </a:lnTo>
                  <a:lnTo>
                    <a:pt x="17145" y="231172"/>
                  </a:lnTo>
                  <a:lnTo>
                    <a:pt x="21622" y="223361"/>
                  </a:lnTo>
                  <a:lnTo>
                    <a:pt x="22765" y="217741"/>
                  </a:lnTo>
                  <a:lnTo>
                    <a:pt x="25908" y="213741"/>
                  </a:lnTo>
                  <a:lnTo>
                    <a:pt x="27908" y="215265"/>
                  </a:lnTo>
                  <a:lnTo>
                    <a:pt x="34862" y="212503"/>
                  </a:lnTo>
                  <a:lnTo>
                    <a:pt x="38957" y="215646"/>
                  </a:lnTo>
                  <a:lnTo>
                    <a:pt x="40957" y="217170"/>
                  </a:lnTo>
                  <a:lnTo>
                    <a:pt x="42291" y="213360"/>
                  </a:lnTo>
                  <a:lnTo>
                    <a:pt x="49435" y="212407"/>
                  </a:lnTo>
                  <a:lnTo>
                    <a:pt x="50959" y="210407"/>
                  </a:lnTo>
                  <a:lnTo>
                    <a:pt x="56388" y="209740"/>
                  </a:lnTo>
                  <a:lnTo>
                    <a:pt x="54959" y="199072"/>
                  </a:lnTo>
                  <a:lnTo>
                    <a:pt x="45244" y="194881"/>
                  </a:lnTo>
                  <a:lnTo>
                    <a:pt x="44577" y="189547"/>
                  </a:lnTo>
                  <a:lnTo>
                    <a:pt x="40767" y="188214"/>
                  </a:lnTo>
                  <a:lnTo>
                    <a:pt x="40481" y="186404"/>
                  </a:lnTo>
                  <a:lnTo>
                    <a:pt x="29432" y="186023"/>
                  </a:lnTo>
                  <a:lnTo>
                    <a:pt x="25337" y="182975"/>
                  </a:lnTo>
                  <a:lnTo>
                    <a:pt x="25717" y="172021"/>
                  </a:lnTo>
                  <a:lnTo>
                    <a:pt x="28099" y="162592"/>
                  </a:lnTo>
                  <a:lnTo>
                    <a:pt x="31528" y="160306"/>
                  </a:lnTo>
                  <a:lnTo>
                    <a:pt x="33528" y="161830"/>
                  </a:lnTo>
                  <a:lnTo>
                    <a:pt x="42291" y="158877"/>
                  </a:lnTo>
                  <a:lnTo>
                    <a:pt x="41624" y="153543"/>
                  </a:lnTo>
                  <a:lnTo>
                    <a:pt x="47244" y="154591"/>
                  </a:lnTo>
                  <a:lnTo>
                    <a:pt x="46958" y="152781"/>
                  </a:lnTo>
                  <a:lnTo>
                    <a:pt x="43148" y="151447"/>
                  </a:lnTo>
                  <a:lnTo>
                    <a:pt x="48101" y="147161"/>
                  </a:lnTo>
                  <a:lnTo>
                    <a:pt x="51721" y="146685"/>
                  </a:lnTo>
                  <a:lnTo>
                    <a:pt x="54578" y="140875"/>
                  </a:lnTo>
                  <a:lnTo>
                    <a:pt x="55721" y="135350"/>
                  </a:lnTo>
                  <a:lnTo>
                    <a:pt x="59055" y="133064"/>
                  </a:lnTo>
                  <a:lnTo>
                    <a:pt x="54483" y="126397"/>
                  </a:lnTo>
                  <a:lnTo>
                    <a:pt x="57817" y="124111"/>
                  </a:lnTo>
                  <a:lnTo>
                    <a:pt x="55816" y="122587"/>
                  </a:lnTo>
                  <a:lnTo>
                    <a:pt x="55150" y="117253"/>
                  </a:lnTo>
                  <a:lnTo>
                    <a:pt x="56959" y="117062"/>
                  </a:lnTo>
                  <a:lnTo>
                    <a:pt x="67723" y="115633"/>
                  </a:lnTo>
                  <a:lnTo>
                    <a:pt x="72676" y="111347"/>
                  </a:lnTo>
                  <a:lnTo>
                    <a:pt x="76295" y="110871"/>
                  </a:lnTo>
                  <a:lnTo>
                    <a:pt x="91249" y="99822"/>
                  </a:lnTo>
                  <a:lnTo>
                    <a:pt x="94393" y="95821"/>
                  </a:lnTo>
                  <a:lnTo>
                    <a:pt x="95536" y="90202"/>
                  </a:lnTo>
                  <a:lnTo>
                    <a:pt x="97060" y="88201"/>
                  </a:lnTo>
                  <a:lnTo>
                    <a:pt x="106013" y="87058"/>
                  </a:lnTo>
                  <a:lnTo>
                    <a:pt x="106966" y="94202"/>
                  </a:lnTo>
                  <a:lnTo>
                    <a:pt x="109252" y="97536"/>
                  </a:lnTo>
                  <a:lnTo>
                    <a:pt x="108775" y="93917"/>
                  </a:lnTo>
                  <a:lnTo>
                    <a:pt x="113729" y="89630"/>
                  </a:lnTo>
                  <a:lnTo>
                    <a:pt x="113252" y="86106"/>
                  </a:lnTo>
                  <a:lnTo>
                    <a:pt x="120205" y="83344"/>
                  </a:lnTo>
                  <a:lnTo>
                    <a:pt x="128683" y="78581"/>
                  </a:lnTo>
                  <a:lnTo>
                    <a:pt x="131826" y="74581"/>
                  </a:lnTo>
                  <a:lnTo>
                    <a:pt x="140589" y="71628"/>
                  </a:lnTo>
                  <a:lnTo>
                    <a:pt x="140113" y="68104"/>
                  </a:lnTo>
                  <a:lnTo>
                    <a:pt x="138113" y="66580"/>
                  </a:lnTo>
                  <a:lnTo>
                    <a:pt x="141732" y="66103"/>
                  </a:lnTo>
                  <a:lnTo>
                    <a:pt x="135826" y="63246"/>
                  </a:lnTo>
                  <a:lnTo>
                    <a:pt x="137350" y="61246"/>
                  </a:lnTo>
                  <a:lnTo>
                    <a:pt x="128778" y="51530"/>
                  </a:lnTo>
                  <a:lnTo>
                    <a:pt x="136779" y="43243"/>
                  </a:lnTo>
                  <a:lnTo>
                    <a:pt x="131350" y="43910"/>
                  </a:lnTo>
                  <a:lnTo>
                    <a:pt x="127921" y="31718"/>
                  </a:lnTo>
                  <a:lnTo>
                    <a:pt x="127445" y="28194"/>
                  </a:lnTo>
                  <a:lnTo>
                    <a:pt x="131254" y="29527"/>
                  </a:lnTo>
                  <a:lnTo>
                    <a:pt x="132302" y="23908"/>
                  </a:lnTo>
                  <a:lnTo>
                    <a:pt x="137922" y="24955"/>
                  </a:lnTo>
                  <a:lnTo>
                    <a:pt x="140684" y="31813"/>
                  </a:lnTo>
                  <a:lnTo>
                    <a:pt x="150114" y="34195"/>
                  </a:lnTo>
                  <a:lnTo>
                    <a:pt x="164592" y="46768"/>
                  </a:lnTo>
                  <a:lnTo>
                    <a:pt x="170021" y="46101"/>
                  </a:lnTo>
                  <a:lnTo>
                    <a:pt x="168878" y="37243"/>
                  </a:lnTo>
                  <a:lnTo>
                    <a:pt x="176022" y="36290"/>
                  </a:lnTo>
                  <a:lnTo>
                    <a:pt x="175736" y="34480"/>
                  </a:lnTo>
                  <a:lnTo>
                    <a:pt x="175260" y="30956"/>
                  </a:lnTo>
                  <a:lnTo>
                    <a:pt x="167640" y="28384"/>
                  </a:lnTo>
                  <a:lnTo>
                    <a:pt x="174117" y="22098"/>
                  </a:lnTo>
                  <a:lnTo>
                    <a:pt x="178403" y="26956"/>
                  </a:lnTo>
                  <a:lnTo>
                    <a:pt x="178213" y="25146"/>
                  </a:lnTo>
                  <a:lnTo>
                    <a:pt x="179260" y="19526"/>
                  </a:lnTo>
                  <a:lnTo>
                    <a:pt x="172879" y="13144"/>
                  </a:lnTo>
                  <a:lnTo>
                    <a:pt x="176308" y="10858"/>
                  </a:lnTo>
                  <a:lnTo>
                    <a:pt x="176784" y="14383"/>
                  </a:lnTo>
                  <a:lnTo>
                    <a:pt x="180594" y="15716"/>
                  </a:lnTo>
                  <a:lnTo>
                    <a:pt x="180975" y="4763"/>
                  </a:lnTo>
                  <a:lnTo>
                    <a:pt x="184595" y="4286"/>
                  </a:lnTo>
                  <a:lnTo>
                    <a:pt x="188404" y="5620"/>
                  </a:lnTo>
                  <a:lnTo>
                    <a:pt x="189071" y="10954"/>
                  </a:lnTo>
                  <a:lnTo>
                    <a:pt x="187928" y="16573"/>
                  </a:lnTo>
                  <a:lnTo>
                    <a:pt x="188404" y="20193"/>
                  </a:lnTo>
                  <a:lnTo>
                    <a:pt x="190214" y="19907"/>
                  </a:lnTo>
                  <a:lnTo>
                    <a:pt x="191071" y="12573"/>
                  </a:lnTo>
                  <a:lnTo>
                    <a:pt x="194405" y="10287"/>
                  </a:lnTo>
                  <a:lnTo>
                    <a:pt x="195072" y="15621"/>
                  </a:lnTo>
                  <a:lnTo>
                    <a:pt x="198691" y="15145"/>
                  </a:lnTo>
                  <a:lnTo>
                    <a:pt x="199834" y="9620"/>
                  </a:lnTo>
                  <a:lnTo>
                    <a:pt x="204788" y="5334"/>
                  </a:lnTo>
                  <a:lnTo>
                    <a:pt x="200692" y="2286"/>
                  </a:lnTo>
                  <a:lnTo>
                    <a:pt x="204025" y="0"/>
                  </a:lnTo>
                  <a:lnTo>
                    <a:pt x="206312" y="3334"/>
                  </a:lnTo>
                  <a:lnTo>
                    <a:pt x="206312" y="17812"/>
                  </a:lnTo>
                  <a:cubicBezTo>
                    <a:pt x="206312" y="17812"/>
                    <a:pt x="219646" y="21431"/>
                    <a:pt x="219646" y="21431"/>
                  </a:cubicBezTo>
                  <a:lnTo>
                    <a:pt x="220123" y="24955"/>
                  </a:lnTo>
                  <a:lnTo>
                    <a:pt x="213646" y="31242"/>
                  </a:lnTo>
                  <a:lnTo>
                    <a:pt x="210788" y="37052"/>
                  </a:lnTo>
                  <a:lnTo>
                    <a:pt x="215360" y="43720"/>
                  </a:lnTo>
                  <a:lnTo>
                    <a:pt x="222028" y="39148"/>
                  </a:lnTo>
                  <a:lnTo>
                    <a:pt x="228124" y="43815"/>
                  </a:lnTo>
                  <a:lnTo>
                    <a:pt x="231934" y="45148"/>
                  </a:lnTo>
                  <a:lnTo>
                    <a:pt x="240697" y="42196"/>
                  </a:lnTo>
                  <a:lnTo>
                    <a:pt x="245269" y="48863"/>
                  </a:lnTo>
                  <a:lnTo>
                    <a:pt x="249364" y="51911"/>
                  </a:lnTo>
                  <a:lnTo>
                    <a:pt x="252127" y="58769"/>
                  </a:lnTo>
                  <a:lnTo>
                    <a:pt x="259651" y="46863"/>
                  </a:lnTo>
                  <a:lnTo>
                    <a:pt x="267081" y="47625"/>
                  </a:lnTo>
                  <a:lnTo>
                    <a:pt x="267271" y="49435"/>
                  </a:lnTo>
                  <a:lnTo>
                    <a:pt x="266224" y="55054"/>
                  </a:lnTo>
                  <a:lnTo>
                    <a:pt x="266700" y="58579"/>
                  </a:lnTo>
                  <a:lnTo>
                    <a:pt x="262033" y="64579"/>
                  </a:lnTo>
                  <a:lnTo>
                    <a:pt x="264033" y="66103"/>
                  </a:lnTo>
                  <a:lnTo>
                    <a:pt x="277273" y="69818"/>
                  </a:lnTo>
                  <a:lnTo>
                    <a:pt x="280035" y="76676"/>
                  </a:lnTo>
                  <a:lnTo>
                    <a:pt x="276701" y="78867"/>
                  </a:lnTo>
                  <a:lnTo>
                    <a:pt x="276320" y="89821"/>
                  </a:lnTo>
                  <a:lnTo>
                    <a:pt x="271177" y="92297"/>
                  </a:lnTo>
                  <a:lnTo>
                    <a:pt x="269843" y="96107"/>
                  </a:lnTo>
                  <a:lnTo>
                    <a:pt x="275939" y="100679"/>
                  </a:lnTo>
                  <a:lnTo>
                    <a:pt x="281559" y="101727"/>
                  </a:lnTo>
                  <a:lnTo>
                    <a:pt x="284035" y="106871"/>
                  </a:lnTo>
                  <a:lnTo>
                    <a:pt x="287655" y="106394"/>
                  </a:lnTo>
                  <a:lnTo>
                    <a:pt x="289941" y="109728"/>
                  </a:lnTo>
                  <a:lnTo>
                    <a:pt x="293560" y="109252"/>
                  </a:lnTo>
                  <a:lnTo>
                    <a:pt x="290036" y="124206"/>
                  </a:lnTo>
                  <a:lnTo>
                    <a:pt x="295370" y="123444"/>
                  </a:lnTo>
                  <a:lnTo>
                    <a:pt x="297180" y="123253"/>
                  </a:lnTo>
                  <a:lnTo>
                    <a:pt x="294322" y="129064"/>
                  </a:lnTo>
                  <a:lnTo>
                    <a:pt x="300133" y="131921"/>
                  </a:lnTo>
                  <a:lnTo>
                    <a:pt x="301657" y="129921"/>
                  </a:lnTo>
                  <a:lnTo>
                    <a:pt x="303657" y="131445"/>
                  </a:lnTo>
                  <a:lnTo>
                    <a:pt x="323374" y="128778"/>
                  </a:lnTo>
                  <a:lnTo>
                    <a:pt x="324898" y="126778"/>
                  </a:lnTo>
                  <a:lnTo>
                    <a:pt x="326422" y="124777"/>
                  </a:lnTo>
                  <a:lnTo>
                    <a:pt x="331851" y="124015"/>
                  </a:lnTo>
                  <a:lnTo>
                    <a:pt x="335185" y="121729"/>
                  </a:lnTo>
                  <a:lnTo>
                    <a:pt x="338614" y="119443"/>
                  </a:lnTo>
                  <a:lnTo>
                    <a:pt x="346043" y="120301"/>
                  </a:lnTo>
                  <a:lnTo>
                    <a:pt x="345567" y="116776"/>
                  </a:lnTo>
                  <a:lnTo>
                    <a:pt x="357473" y="109728"/>
                  </a:lnTo>
                  <a:lnTo>
                    <a:pt x="360807" y="107442"/>
                  </a:lnTo>
                  <a:lnTo>
                    <a:pt x="364903" y="110490"/>
                  </a:lnTo>
                  <a:lnTo>
                    <a:pt x="363569" y="114300"/>
                  </a:lnTo>
                  <a:lnTo>
                    <a:pt x="368998" y="113538"/>
                  </a:lnTo>
                  <a:lnTo>
                    <a:pt x="372237" y="124015"/>
                  </a:lnTo>
                  <a:lnTo>
                    <a:pt x="370046" y="135160"/>
                  </a:lnTo>
                  <a:lnTo>
                    <a:pt x="380143" y="142875"/>
                  </a:lnTo>
                  <a:lnTo>
                    <a:pt x="376142" y="154305"/>
                  </a:lnTo>
                  <a:lnTo>
                    <a:pt x="378905" y="161163"/>
                  </a:lnTo>
                  <a:moveTo>
                    <a:pt x="372999" y="158305"/>
                  </a:moveTo>
                  <a:lnTo>
                    <a:pt x="360997" y="150781"/>
                  </a:lnTo>
                  <a:lnTo>
                    <a:pt x="361474" y="154305"/>
                  </a:lnTo>
                  <a:lnTo>
                    <a:pt x="359664" y="154496"/>
                  </a:lnTo>
                  <a:lnTo>
                    <a:pt x="358330" y="158305"/>
                  </a:lnTo>
                  <a:lnTo>
                    <a:pt x="360616" y="161639"/>
                  </a:lnTo>
                  <a:lnTo>
                    <a:pt x="358807" y="161830"/>
                  </a:lnTo>
                  <a:lnTo>
                    <a:pt x="353378" y="162496"/>
                  </a:lnTo>
                  <a:lnTo>
                    <a:pt x="350615" y="155638"/>
                  </a:lnTo>
                  <a:lnTo>
                    <a:pt x="338042" y="157258"/>
                  </a:lnTo>
                  <a:lnTo>
                    <a:pt x="333756" y="152400"/>
                  </a:lnTo>
                  <a:lnTo>
                    <a:pt x="329755" y="163830"/>
                  </a:lnTo>
                  <a:lnTo>
                    <a:pt x="325946" y="162496"/>
                  </a:lnTo>
                  <a:lnTo>
                    <a:pt x="320992" y="166783"/>
                  </a:lnTo>
                  <a:lnTo>
                    <a:pt x="317373" y="167259"/>
                  </a:lnTo>
                  <a:lnTo>
                    <a:pt x="316325" y="172784"/>
                  </a:lnTo>
                  <a:lnTo>
                    <a:pt x="316516" y="174593"/>
                  </a:lnTo>
                  <a:lnTo>
                    <a:pt x="312896" y="175069"/>
                  </a:lnTo>
                  <a:lnTo>
                    <a:pt x="313372" y="178689"/>
                  </a:lnTo>
                  <a:lnTo>
                    <a:pt x="315373" y="180213"/>
                  </a:lnTo>
                  <a:lnTo>
                    <a:pt x="312230" y="184213"/>
                  </a:lnTo>
                  <a:lnTo>
                    <a:pt x="302800" y="181832"/>
                  </a:lnTo>
                  <a:lnTo>
                    <a:pt x="299942" y="187642"/>
                  </a:lnTo>
                  <a:lnTo>
                    <a:pt x="302228" y="190976"/>
                  </a:lnTo>
                  <a:lnTo>
                    <a:pt x="295084" y="191929"/>
                  </a:lnTo>
                  <a:lnTo>
                    <a:pt x="293275" y="192214"/>
                  </a:lnTo>
                  <a:lnTo>
                    <a:pt x="301180" y="196596"/>
                  </a:lnTo>
                  <a:lnTo>
                    <a:pt x="297847" y="198882"/>
                  </a:lnTo>
                  <a:lnTo>
                    <a:pt x="299847" y="200406"/>
                  </a:lnTo>
                  <a:lnTo>
                    <a:pt x="298323" y="202406"/>
                  </a:lnTo>
                  <a:lnTo>
                    <a:pt x="301085" y="209264"/>
                  </a:lnTo>
                  <a:lnTo>
                    <a:pt x="293846" y="210217"/>
                  </a:lnTo>
                  <a:lnTo>
                    <a:pt x="292703" y="201359"/>
                  </a:lnTo>
                  <a:lnTo>
                    <a:pt x="290703" y="199834"/>
                  </a:lnTo>
                  <a:lnTo>
                    <a:pt x="284226" y="206121"/>
                  </a:lnTo>
                  <a:lnTo>
                    <a:pt x="283083" y="211741"/>
                  </a:lnTo>
                  <a:lnTo>
                    <a:pt x="278511" y="205073"/>
                  </a:lnTo>
                  <a:lnTo>
                    <a:pt x="275177" y="207359"/>
                  </a:lnTo>
                  <a:lnTo>
                    <a:pt x="272034" y="211360"/>
                  </a:lnTo>
                  <a:lnTo>
                    <a:pt x="272224" y="213170"/>
                  </a:lnTo>
                  <a:lnTo>
                    <a:pt x="277273" y="223361"/>
                  </a:lnTo>
                  <a:lnTo>
                    <a:pt x="271939" y="224123"/>
                  </a:lnTo>
                  <a:lnTo>
                    <a:pt x="260699" y="221932"/>
                  </a:lnTo>
                  <a:lnTo>
                    <a:pt x="261938" y="218122"/>
                  </a:lnTo>
                  <a:lnTo>
                    <a:pt x="254032" y="213741"/>
                  </a:lnTo>
                  <a:lnTo>
                    <a:pt x="247269" y="203740"/>
                  </a:lnTo>
                  <a:lnTo>
                    <a:pt x="253460" y="195643"/>
                  </a:lnTo>
                  <a:lnTo>
                    <a:pt x="238792" y="181261"/>
                  </a:lnTo>
                  <a:lnTo>
                    <a:pt x="237458" y="185071"/>
                  </a:lnTo>
                  <a:lnTo>
                    <a:pt x="235458" y="183547"/>
                  </a:lnTo>
                  <a:lnTo>
                    <a:pt x="232696" y="176689"/>
                  </a:lnTo>
                  <a:lnTo>
                    <a:pt x="225266" y="175831"/>
                  </a:lnTo>
                  <a:lnTo>
                    <a:pt x="227266" y="177355"/>
                  </a:lnTo>
                  <a:lnTo>
                    <a:pt x="221837" y="178022"/>
                  </a:lnTo>
                  <a:lnTo>
                    <a:pt x="211646" y="170307"/>
                  </a:lnTo>
                  <a:lnTo>
                    <a:pt x="206978" y="176403"/>
                  </a:lnTo>
                  <a:lnTo>
                    <a:pt x="200978" y="186309"/>
                  </a:lnTo>
                  <a:lnTo>
                    <a:pt x="201644" y="191643"/>
                  </a:lnTo>
                  <a:lnTo>
                    <a:pt x="198310" y="193929"/>
                  </a:lnTo>
                  <a:lnTo>
                    <a:pt x="198787" y="197453"/>
                  </a:lnTo>
                  <a:lnTo>
                    <a:pt x="197263" y="199453"/>
                  </a:lnTo>
                  <a:lnTo>
                    <a:pt x="204025" y="209455"/>
                  </a:lnTo>
                  <a:lnTo>
                    <a:pt x="198882" y="211931"/>
                  </a:lnTo>
                  <a:lnTo>
                    <a:pt x="199168" y="213741"/>
                  </a:lnTo>
                  <a:lnTo>
                    <a:pt x="204597" y="212979"/>
                  </a:lnTo>
                  <a:lnTo>
                    <a:pt x="198596" y="222885"/>
                  </a:lnTo>
                  <a:lnTo>
                    <a:pt x="194596" y="234315"/>
                  </a:lnTo>
                  <a:lnTo>
                    <a:pt x="189166" y="234982"/>
                  </a:lnTo>
                  <a:lnTo>
                    <a:pt x="187357" y="235267"/>
                  </a:lnTo>
                  <a:lnTo>
                    <a:pt x="193262" y="238125"/>
                  </a:lnTo>
                  <a:lnTo>
                    <a:pt x="188119" y="240601"/>
                  </a:lnTo>
                  <a:lnTo>
                    <a:pt x="190595" y="245650"/>
                  </a:lnTo>
                  <a:lnTo>
                    <a:pt x="188976" y="247650"/>
                  </a:lnTo>
                  <a:lnTo>
                    <a:pt x="183261" y="259271"/>
                  </a:lnTo>
                  <a:lnTo>
                    <a:pt x="181737" y="261271"/>
                  </a:lnTo>
                  <a:lnTo>
                    <a:pt x="187357" y="262319"/>
                  </a:lnTo>
                  <a:lnTo>
                    <a:pt x="189833" y="267462"/>
                  </a:lnTo>
                  <a:lnTo>
                    <a:pt x="193357" y="266986"/>
                  </a:lnTo>
                  <a:lnTo>
                    <a:pt x="199263" y="269843"/>
                  </a:lnTo>
                  <a:lnTo>
                    <a:pt x="198406" y="277178"/>
                  </a:lnTo>
                  <a:lnTo>
                    <a:pt x="204502" y="281845"/>
                  </a:lnTo>
                  <a:lnTo>
                    <a:pt x="207740" y="292322"/>
                  </a:lnTo>
                  <a:lnTo>
                    <a:pt x="213360" y="293370"/>
                  </a:lnTo>
                  <a:lnTo>
                    <a:pt x="220504" y="292417"/>
                  </a:lnTo>
                  <a:lnTo>
                    <a:pt x="224314" y="293751"/>
                  </a:lnTo>
                  <a:lnTo>
                    <a:pt x="225171" y="286417"/>
                  </a:lnTo>
                  <a:lnTo>
                    <a:pt x="230314" y="283940"/>
                  </a:lnTo>
                  <a:lnTo>
                    <a:pt x="236410" y="288607"/>
                  </a:lnTo>
                  <a:lnTo>
                    <a:pt x="240030" y="288131"/>
                  </a:lnTo>
                  <a:lnTo>
                    <a:pt x="243649" y="302133"/>
                  </a:lnTo>
                  <a:lnTo>
                    <a:pt x="244126" y="305657"/>
                  </a:lnTo>
                  <a:lnTo>
                    <a:pt x="265271" y="313658"/>
                  </a:lnTo>
                  <a:lnTo>
                    <a:pt x="264414" y="321088"/>
                  </a:lnTo>
                  <a:lnTo>
                    <a:pt x="276130" y="326803"/>
                  </a:lnTo>
                  <a:lnTo>
                    <a:pt x="282892" y="322326"/>
                  </a:lnTo>
                  <a:lnTo>
                    <a:pt x="292322" y="324707"/>
                  </a:lnTo>
                  <a:lnTo>
                    <a:pt x="290703" y="326707"/>
                  </a:lnTo>
                  <a:lnTo>
                    <a:pt x="296608" y="329565"/>
                  </a:lnTo>
                  <a:lnTo>
                    <a:pt x="298513" y="343853"/>
                  </a:lnTo>
                  <a:lnTo>
                    <a:pt x="300514" y="345376"/>
                  </a:lnTo>
                  <a:lnTo>
                    <a:pt x="316421" y="341471"/>
                  </a:lnTo>
                  <a:lnTo>
                    <a:pt x="319088" y="333851"/>
                  </a:lnTo>
                  <a:lnTo>
                    <a:pt x="321088" y="335375"/>
                  </a:lnTo>
                  <a:lnTo>
                    <a:pt x="332137" y="335756"/>
                  </a:lnTo>
                  <a:lnTo>
                    <a:pt x="334137" y="337280"/>
                  </a:lnTo>
                  <a:lnTo>
                    <a:pt x="329184" y="341566"/>
                  </a:lnTo>
                  <a:lnTo>
                    <a:pt x="331184" y="343090"/>
                  </a:lnTo>
                  <a:lnTo>
                    <a:pt x="331470" y="344900"/>
                  </a:lnTo>
                  <a:lnTo>
                    <a:pt x="335280" y="346234"/>
                  </a:lnTo>
                  <a:lnTo>
                    <a:pt x="331946" y="362998"/>
                  </a:lnTo>
                  <a:lnTo>
                    <a:pt x="331089" y="370332"/>
                  </a:lnTo>
                  <a:lnTo>
                    <a:pt x="338328" y="369380"/>
                  </a:lnTo>
                  <a:lnTo>
                    <a:pt x="338042" y="367570"/>
                  </a:lnTo>
                  <a:lnTo>
                    <a:pt x="339566" y="365570"/>
                  </a:lnTo>
                  <a:lnTo>
                    <a:pt x="344710" y="363093"/>
                  </a:lnTo>
                  <a:lnTo>
                    <a:pt x="350615" y="365855"/>
                  </a:lnTo>
                  <a:lnTo>
                    <a:pt x="366998" y="365474"/>
                  </a:lnTo>
                  <a:lnTo>
                    <a:pt x="369189" y="354330"/>
                  </a:lnTo>
                  <a:lnTo>
                    <a:pt x="374523" y="353568"/>
                  </a:lnTo>
                  <a:lnTo>
                    <a:pt x="373951" y="362712"/>
                  </a:lnTo>
                  <a:lnTo>
                    <a:pt x="376904" y="371380"/>
                  </a:lnTo>
                  <a:lnTo>
                    <a:pt x="369760" y="372332"/>
                  </a:lnTo>
                  <a:lnTo>
                    <a:pt x="370713" y="379476"/>
                  </a:lnTo>
                  <a:lnTo>
                    <a:pt x="363474" y="380429"/>
                  </a:lnTo>
                  <a:lnTo>
                    <a:pt x="362045" y="396907"/>
                  </a:lnTo>
                  <a:lnTo>
                    <a:pt x="364522" y="402050"/>
                  </a:lnTo>
                  <a:lnTo>
                    <a:pt x="368332" y="403384"/>
                  </a:lnTo>
                  <a:lnTo>
                    <a:pt x="367379" y="396240"/>
                  </a:lnTo>
                  <a:lnTo>
                    <a:pt x="370522" y="392239"/>
                  </a:lnTo>
                  <a:lnTo>
                    <a:pt x="373856" y="389954"/>
                  </a:lnTo>
                  <a:lnTo>
                    <a:pt x="390525" y="391382"/>
                  </a:lnTo>
                  <a:lnTo>
                    <a:pt x="394621" y="394430"/>
                  </a:lnTo>
                  <a:lnTo>
                    <a:pt x="400050" y="393668"/>
                  </a:lnTo>
                  <a:lnTo>
                    <a:pt x="407480" y="394525"/>
                  </a:lnTo>
                  <a:lnTo>
                    <a:pt x="407194" y="392716"/>
                  </a:lnTo>
                  <a:lnTo>
                    <a:pt x="410718" y="392239"/>
                  </a:lnTo>
                  <a:lnTo>
                    <a:pt x="410242" y="388715"/>
                  </a:lnTo>
                  <a:lnTo>
                    <a:pt x="413861" y="388239"/>
                  </a:lnTo>
                  <a:lnTo>
                    <a:pt x="416338" y="378809"/>
                  </a:lnTo>
                  <a:lnTo>
                    <a:pt x="420148" y="380143"/>
                  </a:lnTo>
                  <a:lnTo>
                    <a:pt x="426910" y="375666"/>
                  </a:lnTo>
                  <a:lnTo>
                    <a:pt x="428911" y="377190"/>
                  </a:lnTo>
                  <a:lnTo>
                    <a:pt x="437674" y="374237"/>
                  </a:lnTo>
                  <a:lnTo>
                    <a:pt x="436531" y="365284"/>
                  </a:lnTo>
                  <a:lnTo>
                    <a:pt x="436912" y="354330"/>
                  </a:lnTo>
                  <a:lnTo>
                    <a:pt x="440531" y="353854"/>
                  </a:lnTo>
                  <a:lnTo>
                    <a:pt x="440246" y="352044"/>
                  </a:lnTo>
                  <a:lnTo>
                    <a:pt x="432816" y="351187"/>
                  </a:lnTo>
                  <a:lnTo>
                    <a:pt x="428244" y="344519"/>
                  </a:lnTo>
                  <a:lnTo>
                    <a:pt x="426339" y="330232"/>
                  </a:lnTo>
                  <a:lnTo>
                    <a:pt x="428149" y="329946"/>
                  </a:lnTo>
                  <a:lnTo>
                    <a:pt x="425672" y="324803"/>
                  </a:lnTo>
                  <a:lnTo>
                    <a:pt x="431863" y="316706"/>
                  </a:lnTo>
                  <a:lnTo>
                    <a:pt x="421957" y="310801"/>
                  </a:lnTo>
                  <a:lnTo>
                    <a:pt x="423100" y="305181"/>
                  </a:lnTo>
                  <a:lnTo>
                    <a:pt x="422148" y="298037"/>
                  </a:lnTo>
                  <a:lnTo>
                    <a:pt x="436245" y="294322"/>
                  </a:lnTo>
                  <a:lnTo>
                    <a:pt x="433959" y="290989"/>
                  </a:lnTo>
                  <a:lnTo>
                    <a:pt x="439103" y="288512"/>
                  </a:lnTo>
                  <a:lnTo>
                    <a:pt x="442722" y="288036"/>
                  </a:lnTo>
                  <a:lnTo>
                    <a:pt x="444246" y="286036"/>
                  </a:lnTo>
                  <a:lnTo>
                    <a:pt x="443770" y="282512"/>
                  </a:lnTo>
                  <a:lnTo>
                    <a:pt x="442341" y="271844"/>
                  </a:lnTo>
                  <a:lnTo>
                    <a:pt x="443389" y="266224"/>
                  </a:lnTo>
                  <a:lnTo>
                    <a:pt x="437483" y="263366"/>
                  </a:lnTo>
                  <a:lnTo>
                    <a:pt x="437197" y="261556"/>
                  </a:lnTo>
                  <a:lnTo>
                    <a:pt x="443960" y="257080"/>
                  </a:lnTo>
                  <a:lnTo>
                    <a:pt x="443484" y="253555"/>
                  </a:lnTo>
                  <a:lnTo>
                    <a:pt x="439388" y="250507"/>
                  </a:lnTo>
                  <a:lnTo>
                    <a:pt x="443008" y="250031"/>
                  </a:lnTo>
                  <a:lnTo>
                    <a:pt x="440055" y="241363"/>
                  </a:lnTo>
                  <a:lnTo>
                    <a:pt x="444532" y="233553"/>
                  </a:lnTo>
                  <a:lnTo>
                    <a:pt x="451009" y="227266"/>
                  </a:lnTo>
                  <a:lnTo>
                    <a:pt x="447770" y="216789"/>
                  </a:lnTo>
                  <a:lnTo>
                    <a:pt x="438817" y="217932"/>
                  </a:lnTo>
                  <a:lnTo>
                    <a:pt x="437483" y="221742"/>
                  </a:lnTo>
                  <a:lnTo>
                    <a:pt x="433864" y="222218"/>
                  </a:lnTo>
                  <a:lnTo>
                    <a:pt x="431482" y="231648"/>
                  </a:lnTo>
                  <a:lnTo>
                    <a:pt x="414909" y="244697"/>
                  </a:lnTo>
                  <a:lnTo>
                    <a:pt x="410718" y="254317"/>
                  </a:lnTo>
                  <a:lnTo>
                    <a:pt x="399002" y="248603"/>
                  </a:lnTo>
                  <a:lnTo>
                    <a:pt x="394716" y="243745"/>
                  </a:lnTo>
                  <a:lnTo>
                    <a:pt x="402241" y="231838"/>
                  </a:lnTo>
                  <a:lnTo>
                    <a:pt x="400240" y="230314"/>
                  </a:lnTo>
                  <a:lnTo>
                    <a:pt x="396621" y="230791"/>
                  </a:lnTo>
                  <a:lnTo>
                    <a:pt x="395954" y="225457"/>
                  </a:lnTo>
                  <a:lnTo>
                    <a:pt x="388239" y="222885"/>
                  </a:lnTo>
                  <a:lnTo>
                    <a:pt x="372428" y="214122"/>
                  </a:lnTo>
                  <a:lnTo>
                    <a:pt x="373761" y="210312"/>
                  </a:lnTo>
                  <a:lnTo>
                    <a:pt x="378905" y="207836"/>
                  </a:lnTo>
                  <a:lnTo>
                    <a:pt x="373380" y="194024"/>
                  </a:lnTo>
                  <a:lnTo>
                    <a:pt x="366808" y="185833"/>
                  </a:lnTo>
                  <a:lnTo>
                    <a:pt x="359664" y="186785"/>
                  </a:lnTo>
                  <a:lnTo>
                    <a:pt x="354901" y="178403"/>
                  </a:lnTo>
                  <a:lnTo>
                    <a:pt x="351282" y="178879"/>
                  </a:lnTo>
                  <a:lnTo>
                    <a:pt x="348996" y="175546"/>
                  </a:lnTo>
                  <a:lnTo>
                    <a:pt x="355759" y="171069"/>
                  </a:lnTo>
                  <a:lnTo>
                    <a:pt x="355282" y="167449"/>
                  </a:lnTo>
                  <a:lnTo>
                    <a:pt x="366522" y="169640"/>
                  </a:lnTo>
                  <a:lnTo>
                    <a:pt x="378142" y="160877"/>
                  </a:lnTo>
                  <a:lnTo>
                    <a:pt x="372237" y="15802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5" name="Volný tvar: obrazec 54">
              <a:extLst>
                <a:ext uri="{FF2B5EF4-FFF2-40B4-BE49-F238E27FC236}">
                  <a16:creationId xmlns:a16="http://schemas.microsoft.com/office/drawing/2014/main" id="{8468BDF3-E6A8-2525-2447-942AA67FE3FC}"/>
                </a:ext>
              </a:extLst>
            </p:cNvPr>
            <p:cNvSpPr/>
            <p:nvPr userDrawn="1"/>
          </p:nvSpPr>
          <p:spPr>
            <a:xfrm>
              <a:off x="6950058" y="4099845"/>
              <a:ext cx="269747" cy="252698"/>
            </a:xfrm>
            <a:custGeom>
              <a:avLst/>
              <a:gdLst>
                <a:gd name="connsiteX0" fmla="*/ 196882 w 269747"/>
                <a:gd name="connsiteY0" fmla="*/ 10287 h 252698"/>
                <a:gd name="connsiteX1" fmla="*/ 185261 w 269747"/>
                <a:gd name="connsiteY1" fmla="*/ 19050 h 252698"/>
                <a:gd name="connsiteX2" fmla="*/ 174022 w 269747"/>
                <a:gd name="connsiteY2" fmla="*/ 16954 h 252698"/>
                <a:gd name="connsiteX3" fmla="*/ 174498 w 269747"/>
                <a:gd name="connsiteY3" fmla="*/ 20479 h 252698"/>
                <a:gd name="connsiteX4" fmla="*/ 167830 w 269747"/>
                <a:gd name="connsiteY4" fmla="*/ 25051 h 252698"/>
                <a:gd name="connsiteX5" fmla="*/ 170116 w 269747"/>
                <a:gd name="connsiteY5" fmla="*/ 28384 h 252698"/>
                <a:gd name="connsiteX6" fmla="*/ 173641 w 269747"/>
                <a:gd name="connsiteY6" fmla="*/ 27908 h 252698"/>
                <a:gd name="connsiteX7" fmla="*/ 178498 w 269747"/>
                <a:gd name="connsiteY7" fmla="*/ 36290 h 252698"/>
                <a:gd name="connsiteX8" fmla="*/ 185642 w 269747"/>
                <a:gd name="connsiteY8" fmla="*/ 35338 h 252698"/>
                <a:gd name="connsiteX9" fmla="*/ 192214 w 269747"/>
                <a:gd name="connsiteY9" fmla="*/ 43529 h 252698"/>
                <a:gd name="connsiteX10" fmla="*/ 197644 w 269747"/>
                <a:gd name="connsiteY10" fmla="*/ 57340 h 252698"/>
                <a:gd name="connsiteX11" fmla="*/ 192500 w 269747"/>
                <a:gd name="connsiteY11" fmla="*/ 59817 h 252698"/>
                <a:gd name="connsiteX12" fmla="*/ 191167 w 269747"/>
                <a:gd name="connsiteY12" fmla="*/ 63627 h 252698"/>
                <a:gd name="connsiteX13" fmla="*/ 206978 w 269747"/>
                <a:gd name="connsiteY13" fmla="*/ 72390 h 252698"/>
                <a:gd name="connsiteX14" fmla="*/ 214598 w 269747"/>
                <a:gd name="connsiteY14" fmla="*/ 75057 h 252698"/>
                <a:gd name="connsiteX15" fmla="*/ 215360 w 269747"/>
                <a:gd name="connsiteY15" fmla="*/ 80391 h 252698"/>
                <a:gd name="connsiteX16" fmla="*/ 218980 w 269747"/>
                <a:gd name="connsiteY16" fmla="*/ 79915 h 252698"/>
                <a:gd name="connsiteX17" fmla="*/ 220980 w 269747"/>
                <a:gd name="connsiteY17" fmla="*/ 81439 h 252698"/>
                <a:gd name="connsiteX18" fmla="*/ 213360 w 269747"/>
                <a:gd name="connsiteY18" fmla="*/ 93345 h 252698"/>
                <a:gd name="connsiteX19" fmla="*/ 217646 w 269747"/>
                <a:gd name="connsiteY19" fmla="*/ 98203 h 252698"/>
                <a:gd name="connsiteX20" fmla="*/ 229457 w 269747"/>
                <a:gd name="connsiteY20" fmla="*/ 103918 h 252698"/>
                <a:gd name="connsiteX21" fmla="*/ 233648 w 269747"/>
                <a:gd name="connsiteY21" fmla="*/ 94297 h 252698"/>
                <a:gd name="connsiteX22" fmla="*/ 250222 w 269747"/>
                <a:gd name="connsiteY22" fmla="*/ 81248 h 252698"/>
                <a:gd name="connsiteX23" fmla="*/ 252603 w 269747"/>
                <a:gd name="connsiteY23" fmla="*/ 71819 h 252698"/>
                <a:gd name="connsiteX24" fmla="*/ 256222 w 269747"/>
                <a:gd name="connsiteY24" fmla="*/ 71342 h 252698"/>
                <a:gd name="connsiteX25" fmla="*/ 257461 w 269747"/>
                <a:gd name="connsiteY25" fmla="*/ 67532 h 252698"/>
                <a:gd name="connsiteX26" fmla="*/ 266509 w 269747"/>
                <a:gd name="connsiteY26" fmla="*/ 66389 h 252698"/>
                <a:gd name="connsiteX27" fmla="*/ 269748 w 269747"/>
                <a:gd name="connsiteY27" fmla="*/ 76771 h 252698"/>
                <a:gd name="connsiteX28" fmla="*/ 263176 w 269747"/>
                <a:gd name="connsiteY28" fmla="*/ 83058 h 252698"/>
                <a:gd name="connsiteX29" fmla="*/ 258794 w 269747"/>
                <a:gd name="connsiteY29" fmla="*/ 90964 h 252698"/>
                <a:gd name="connsiteX30" fmla="*/ 261747 w 269747"/>
                <a:gd name="connsiteY30" fmla="*/ 99631 h 252698"/>
                <a:gd name="connsiteX31" fmla="*/ 258127 w 269747"/>
                <a:gd name="connsiteY31" fmla="*/ 100108 h 252698"/>
                <a:gd name="connsiteX32" fmla="*/ 262223 w 269747"/>
                <a:gd name="connsiteY32" fmla="*/ 103156 h 252698"/>
                <a:gd name="connsiteX33" fmla="*/ 262699 w 269747"/>
                <a:gd name="connsiteY33" fmla="*/ 106775 h 252698"/>
                <a:gd name="connsiteX34" fmla="*/ 255937 w 269747"/>
                <a:gd name="connsiteY34" fmla="*/ 111252 h 252698"/>
                <a:gd name="connsiteX35" fmla="*/ 256222 w 269747"/>
                <a:gd name="connsiteY35" fmla="*/ 113062 h 252698"/>
                <a:gd name="connsiteX36" fmla="*/ 262033 w 269747"/>
                <a:gd name="connsiteY36" fmla="*/ 115919 h 252698"/>
                <a:gd name="connsiteX37" fmla="*/ 260985 w 269747"/>
                <a:gd name="connsiteY37" fmla="*/ 121444 h 252698"/>
                <a:gd name="connsiteX38" fmla="*/ 262414 w 269747"/>
                <a:gd name="connsiteY38" fmla="*/ 132207 h 252698"/>
                <a:gd name="connsiteX39" fmla="*/ 262890 w 269747"/>
                <a:gd name="connsiteY39" fmla="*/ 135731 h 252698"/>
                <a:gd name="connsiteX40" fmla="*/ 261271 w 269747"/>
                <a:gd name="connsiteY40" fmla="*/ 137731 h 252698"/>
                <a:gd name="connsiteX41" fmla="*/ 257746 w 269747"/>
                <a:gd name="connsiteY41" fmla="*/ 138208 h 252698"/>
                <a:gd name="connsiteX42" fmla="*/ 252508 w 269747"/>
                <a:gd name="connsiteY42" fmla="*/ 140684 h 252698"/>
                <a:gd name="connsiteX43" fmla="*/ 254794 w 269747"/>
                <a:gd name="connsiteY43" fmla="*/ 144018 h 252698"/>
                <a:gd name="connsiteX44" fmla="*/ 240697 w 269747"/>
                <a:gd name="connsiteY44" fmla="*/ 147733 h 252698"/>
                <a:gd name="connsiteX45" fmla="*/ 241649 w 269747"/>
                <a:gd name="connsiteY45" fmla="*/ 154877 h 252698"/>
                <a:gd name="connsiteX46" fmla="*/ 240506 w 269747"/>
                <a:gd name="connsiteY46" fmla="*/ 160496 h 252698"/>
                <a:gd name="connsiteX47" fmla="*/ 250507 w 269747"/>
                <a:gd name="connsiteY47" fmla="*/ 166402 h 252698"/>
                <a:gd name="connsiteX48" fmla="*/ 244221 w 269747"/>
                <a:gd name="connsiteY48" fmla="*/ 174498 h 252698"/>
                <a:gd name="connsiteX49" fmla="*/ 246697 w 269747"/>
                <a:gd name="connsiteY49" fmla="*/ 179546 h 252698"/>
                <a:gd name="connsiteX50" fmla="*/ 244983 w 269747"/>
                <a:gd name="connsiteY50" fmla="*/ 179832 h 252698"/>
                <a:gd name="connsiteX51" fmla="*/ 246793 w 269747"/>
                <a:gd name="connsiteY51" fmla="*/ 194024 h 252698"/>
                <a:gd name="connsiteX52" fmla="*/ 251365 w 269747"/>
                <a:gd name="connsiteY52" fmla="*/ 200692 h 252698"/>
                <a:gd name="connsiteX53" fmla="*/ 258794 w 269747"/>
                <a:gd name="connsiteY53" fmla="*/ 201549 h 252698"/>
                <a:gd name="connsiteX54" fmla="*/ 259080 w 269747"/>
                <a:gd name="connsiteY54" fmla="*/ 203359 h 252698"/>
                <a:gd name="connsiteX55" fmla="*/ 255460 w 269747"/>
                <a:gd name="connsiteY55" fmla="*/ 203835 h 252698"/>
                <a:gd name="connsiteX56" fmla="*/ 255079 w 269747"/>
                <a:gd name="connsiteY56" fmla="*/ 214789 h 252698"/>
                <a:gd name="connsiteX57" fmla="*/ 256222 w 269747"/>
                <a:gd name="connsiteY57" fmla="*/ 223647 h 252698"/>
                <a:gd name="connsiteX58" fmla="*/ 247459 w 269747"/>
                <a:gd name="connsiteY58" fmla="*/ 226600 h 252698"/>
                <a:gd name="connsiteX59" fmla="*/ 245459 w 269747"/>
                <a:gd name="connsiteY59" fmla="*/ 225076 h 252698"/>
                <a:gd name="connsiteX60" fmla="*/ 238696 w 269747"/>
                <a:gd name="connsiteY60" fmla="*/ 229553 h 252698"/>
                <a:gd name="connsiteX61" fmla="*/ 234886 w 269747"/>
                <a:gd name="connsiteY61" fmla="*/ 228314 h 252698"/>
                <a:gd name="connsiteX62" fmla="*/ 232505 w 269747"/>
                <a:gd name="connsiteY62" fmla="*/ 237649 h 252698"/>
                <a:gd name="connsiteX63" fmla="*/ 228886 w 269747"/>
                <a:gd name="connsiteY63" fmla="*/ 238125 h 252698"/>
                <a:gd name="connsiteX64" fmla="*/ 229362 w 269747"/>
                <a:gd name="connsiteY64" fmla="*/ 241745 h 252698"/>
                <a:gd name="connsiteX65" fmla="*/ 225742 w 269747"/>
                <a:gd name="connsiteY65" fmla="*/ 242125 h 252698"/>
                <a:gd name="connsiteX66" fmla="*/ 226028 w 269747"/>
                <a:gd name="connsiteY66" fmla="*/ 243935 h 252698"/>
                <a:gd name="connsiteX67" fmla="*/ 218599 w 269747"/>
                <a:gd name="connsiteY67" fmla="*/ 243078 h 252698"/>
                <a:gd name="connsiteX68" fmla="*/ 213169 w 269747"/>
                <a:gd name="connsiteY68" fmla="*/ 243840 h 252698"/>
                <a:gd name="connsiteX69" fmla="*/ 209169 w 269747"/>
                <a:gd name="connsiteY69" fmla="*/ 240792 h 252698"/>
                <a:gd name="connsiteX70" fmla="*/ 192500 w 269747"/>
                <a:gd name="connsiteY70" fmla="*/ 239363 h 252698"/>
                <a:gd name="connsiteX71" fmla="*/ 189166 w 269747"/>
                <a:gd name="connsiteY71" fmla="*/ 241554 h 252698"/>
                <a:gd name="connsiteX72" fmla="*/ 186023 w 269747"/>
                <a:gd name="connsiteY72" fmla="*/ 245650 h 252698"/>
                <a:gd name="connsiteX73" fmla="*/ 186976 w 269747"/>
                <a:gd name="connsiteY73" fmla="*/ 252698 h 252698"/>
                <a:gd name="connsiteX74" fmla="*/ 183166 w 269747"/>
                <a:gd name="connsiteY74" fmla="*/ 251460 h 252698"/>
                <a:gd name="connsiteX75" fmla="*/ 180689 w 269747"/>
                <a:gd name="connsiteY75" fmla="*/ 246316 h 252698"/>
                <a:gd name="connsiteX76" fmla="*/ 182118 w 269747"/>
                <a:gd name="connsiteY76" fmla="*/ 229838 h 252698"/>
                <a:gd name="connsiteX77" fmla="*/ 189262 w 269747"/>
                <a:gd name="connsiteY77" fmla="*/ 228886 h 252698"/>
                <a:gd name="connsiteX78" fmla="*/ 188309 w 269747"/>
                <a:gd name="connsiteY78" fmla="*/ 221742 h 252698"/>
                <a:gd name="connsiteX79" fmla="*/ 195548 w 269747"/>
                <a:gd name="connsiteY79" fmla="*/ 220789 h 252698"/>
                <a:gd name="connsiteX80" fmla="*/ 192595 w 269747"/>
                <a:gd name="connsiteY80" fmla="*/ 212122 h 252698"/>
                <a:gd name="connsiteX81" fmla="*/ 193167 w 269747"/>
                <a:gd name="connsiteY81" fmla="*/ 202978 h 252698"/>
                <a:gd name="connsiteX82" fmla="*/ 187833 w 269747"/>
                <a:gd name="connsiteY82" fmla="*/ 203740 h 252698"/>
                <a:gd name="connsiteX83" fmla="*/ 185642 w 269747"/>
                <a:gd name="connsiteY83" fmla="*/ 214884 h 252698"/>
                <a:gd name="connsiteX84" fmla="*/ 169164 w 269747"/>
                <a:gd name="connsiteY84" fmla="*/ 215170 h 252698"/>
                <a:gd name="connsiteX85" fmla="*/ 163354 w 269747"/>
                <a:gd name="connsiteY85" fmla="*/ 212407 h 252698"/>
                <a:gd name="connsiteX86" fmla="*/ 158210 w 269747"/>
                <a:gd name="connsiteY86" fmla="*/ 214884 h 252698"/>
                <a:gd name="connsiteX87" fmla="*/ 156686 w 269747"/>
                <a:gd name="connsiteY87" fmla="*/ 216884 h 252698"/>
                <a:gd name="connsiteX88" fmla="*/ 156876 w 269747"/>
                <a:gd name="connsiteY88" fmla="*/ 218694 h 252698"/>
                <a:gd name="connsiteX89" fmla="*/ 149638 w 269747"/>
                <a:gd name="connsiteY89" fmla="*/ 219646 h 252698"/>
                <a:gd name="connsiteX90" fmla="*/ 150495 w 269747"/>
                <a:gd name="connsiteY90" fmla="*/ 212217 h 252698"/>
                <a:gd name="connsiteX91" fmla="*/ 153829 w 269747"/>
                <a:gd name="connsiteY91" fmla="*/ 195453 h 252698"/>
                <a:gd name="connsiteX92" fmla="*/ 150019 w 269747"/>
                <a:gd name="connsiteY92" fmla="*/ 194215 h 252698"/>
                <a:gd name="connsiteX93" fmla="*/ 149733 w 269747"/>
                <a:gd name="connsiteY93" fmla="*/ 192405 h 252698"/>
                <a:gd name="connsiteX94" fmla="*/ 147733 w 269747"/>
                <a:gd name="connsiteY94" fmla="*/ 190881 h 252698"/>
                <a:gd name="connsiteX95" fmla="*/ 152590 w 269747"/>
                <a:gd name="connsiteY95" fmla="*/ 186595 h 252698"/>
                <a:gd name="connsiteX96" fmla="*/ 150590 w 269747"/>
                <a:gd name="connsiteY96" fmla="*/ 185071 h 252698"/>
                <a:gd name="connsiteX97" fmla="*/ 139541 w 269747"/>
                <a:gd name="connsiteY97" fmla="*/ 184690 h 252698"/>
                <a:gd name="connsiteX98" fmla="*/ 137541 w 269747"/>
                <a:gd name="connsiteY98" fmla="*/ 183166 h 252698"/>
                <a:gd name="connsiteX99" fmla="*/ 134874 w 269747"/>
                <a:gd name="connsiteY99" fmla="*/ 190786 h 252698"/>
                <a:gd name="connsiteX100" fmla="*/ 118967 w 269747"/>
                <a:gd name="connsiteY100" fmla="*/ 194691 h 252698"/>
                <a:gd name="connsiteX101" fmla="*/ 116967 w 269747"/>
                <a:gd name="connsiteY101" fmla="*/ 193167 h 252698"/>
                <a:gd name="connsiteX102" fmla="*/ 115062 w 269747"/>
                <a:gd name="connsiteY102" fmla="*/ 178879 h 252698"/>
                <a:gd name="connsiteX103" fmla="*/ 109156 w 269747"/>
                <a:gd name="connsiteY103" fmla="*/ 176022 h 252698"/>
                <a:gd name="connsiteX104" fmla="*/ 110776 w 269747"/>
                <a:gd name="connsiteY104" fmla="*/ 174022 h 252698"/>
                <a:gd name="connsiteX105" fmla="*/ 101346 w 269747"/>
                <a:gd name="connsiteY105" fmla="*/ 171640 h 252698"/>
                <a:gd name="connsiteX106" fmla="*/ 94583 w 269747"/>
                <a:gd name="connsiteY106" fmla="*/ 176117 h 252698"/>
                <a:gd name="connsiteX107" fmla="*/ 82867 w 269747"/>
                <a:gd name="connsiteY107" fmla="*/ 170402 h 252698"/>
                <a:gd name="connsiteX108" fmla="*/ 83725 w 269747"/>
                <a:gd name="connsiteY108" fmla="*/ 163068 h 252698"/>
                <a:gd name="connsiteX109" fmla="*/ 62579 w 269747"/>
                <a:gd name="connsiteY109" fmla="*/ 154972 h 252698"/>
                <a:gd name="connsiteX110" fmla="*/ 62103 w 269747"/>
                <a:gd name="connsiteY110" fmla="*/ 151447 h 252698"/>
                <a:gd name="connsiteX111" fmla="*/ 58388 w 269747"/>
                <a:gd name="connsiteY111" fmla="*/ 137446 h 252698"/>
                <a:gd name="connsiteX112" fmla="*/ 54769 w 269747"/>
                <a:gd name="connsiteY112" fmla="*/ 137922 h 252698"/>
                <a:gd name="connsiteX113" fmla="*/ 48673 w 269747"/>
                <a:gd name="connsiteY113" fmla="*/ 133255 h 252698"/>
                <a:gd name="connsiteX114" fmla="*/ 43529 w 269747"/>
                <a:gd name="connsiteY114" fmla="*/ 135731 h 252698"/>
                <a:gd name="connsiteX115" fmla="*/ 42672 w 269747"/>
                <a:gd name="connsiteY115" fmla="*/ 143161 h 252698"/>
                <a:gd name="connsiteX116" fmla="*/ 38862 w 269747"/>
                <a:gd name="connsiteY116" fmla="*/ 141827 h 252698"/>
                <a:gd name="connsiteX117" fmla="*/ 31718 w 269747"/>
                <a:gd name="connsiteY117" fmla="*/ 142780 h 252698"/>
                <a:gd name="connsiteX118" fmla="*/ 26098 w 269747"/>
                <a:gd name="connsiteY118" fmla="*/ 141732 h 252698"/>
                <a:gd name="connsiteX119" fmla="*/ 22860 w 269747"/>
                <a:gd name="connsiteY119" fmla="*/ 131254 h 252698"/>
                <a:gd name="connsiteX120" fmla="*/ 16764 w 269747"/>
                <a:gd name="connsiteY120" fmla="*/ 126587 h 252698"/>
                <a:gd name="connsiteX121" fmla="*/ 17621 w 269747"/>
                <a:gd name="connsiteY121" fmla="*/ 119253 h 252698"/>
                <a:gd name="connsiteX122" fmla="*/ 11716 w 269747"/>
                <a:gd name="connsiteY122" fmla="*/ 116396 h 252698"/>
                <a:gd name="connsiteX123" fmla="*/ 8191 w 269747"/>
                <a:gd name="connsiteY123" fmla="*/ 116872 h 252698"/>
                <a:gd name="connsiteX124" fmla="*/ 5620 w 269747"/>
                <a:gd name="connsiteY124" fmla="*/ 111728 h 252698"/>
                <a:gd name="connsiteX125" fmla="*/ 0 w 269747"/>
                <a:gd name="connsiteY125" fmla="*/ 110680 h 252698"/>
                <a:gd name="connsiteX126" fmla="*/ 1619 w 269747"/>
                <a:gd name="connsiteY126" fmla="*/ 108680 h 252698"/>
                <a:gd name="connsiteX127" fmla="*/ 7334 w 269747"/>
                <a:gd name="connsiteY127" fmla="*/ 97060 h 252698"/>
                <a:gd name="connsiteX128" fmla="*/ 8953 w 269747"/>
                <a:gd name="connsiteY128" fmla="*/ 94964 h 252698"/>
                <a:gd name="connsiteX129" fmla="*/ 6382 w 269747"/>
                <a:gd name="connsiteY129" fmla="*/ 89916 h 252698"/>
                <a:gd name="connsiteX130" fmla="*/ 11620 w 269747"/>
                <a:gd name="connsiteY130" fmla="*/ 87439 h 252698"/>
                <a:gd name="connsiteX131" fmla="*/ 5715 w 269747"/>
                <a:gd name="connsiteY131" fmla="*/ 84582 h 252698"/>
                <a:gd name="connsiteX132" fmla="*/ 7525 w 269747"/>
                <a:gd name="connsiteY132" fmla="*/ 84296 h 252698"/>
                <a:gd name="connsiteX133" fmla="*/ 12859 w 269747"/>
                <a:gd name="connsiteY133" fmla="*/ 83629 h 252698"/>
                <a:gd name="connsiteX134" fmla="*/ 16859 w 269747"/>
                <a:gd name="connsiteY134" fmla="*/ 72199 h 252698"/>
                <a:gd name="connsiteX135" fmla="*/ 22860 w 269747"/>
                <a:gd name="connsiteY135" fmla="*/ 62294 h 252698"/>
                <a:gd name="connsiteX136" fmla="*/ 17431 w 269747"/>
                <a:gd name="connsiteY136" fmla="*/ 63055 h 252698"/>
                <a:gd name="connsiteX137" fmla="*/ 17240 w 269747"/>
                <a:gd name="connsiteY137" fmla="*/ 61246 h 252698"/>
                <a:gd name="connsiteX138" fmla="*/ 22384 w 269747"/>
                <a:gd name="connsiteY138" fmla="*/ 58769 h 252698"/>
                <a:gd name="connsiteX139" fmla="*/ 15621 w 269747"/>
                <a:gd name="connsiteY139" fmla="*/ 48768 h 252698"/>
                <a:gd name="connsiteX140" fmla="*/ 17145 w 269747"/>
                <a:gd name="connsiteY140" fmla="*/ 46768 h 252698"/>
                <a:gd name="connsiteX141" fmla="*/ 16669 w 269747"/>
                <a:gd name="connsiteY141" fmla="*/ 43243 h 252698"/>
                <a:gd name="connsiteX142" fmla="*/ 20002 w 269747"/>
                <a:gd name="connsiteY142" fmla="*/ 40958 h 252698"/>
                <a:gd name="connsiteX143" fmla="*/ 19336 w 269747"/>
                <a:gd name="connsiteY143" fmla="*/ 35623 h 252698"/>
                <a:gd name="connsiteX144" fmla="*/ 25336 w 269747"/>
                <a:gd name="connsiteY144" fmla="*/ 25717 h 252698"/>
                <a:gd name="connsiteX145" fmla="*/ 30004 w 269747"/>
                <a:gd name="connsiteY145" fmla="*/ 19717 h 252698"/>
                <a:gd name="connsiteX146" fmla="*/ 40195 w 269747"/>
                <a:gd name="connsiteY146" fmla="*/ 27432 h 252698"/>
                <a:gd name="connsiteX147" fmla="*/ 45529 w 269747"/>
                <a:gd name="connsiteY147" fmla="*/ 26670 h 252698"/>
                <a:gd name="connsiteX148" fmla="*/ 43529 w 269747"/>
                <a:gd name="connsiteY148" fmla="*/ 25146 h 252698"/>
                <a:gd name="connsiteX149" fmla="*/ 50959 w 269747"/>
                <a:gd name="connsiteY149" fmla="*/ 26003 h 252698"/>
                <a:gd name="connsiteX150" fmla="*/ 53721 w 269747"/>
                <a:gd name="connsiteY150" fmla="*/ 32861 h 252698"/>
                <a:gd name="connsiteX151" fmla="*/ 55721 w 269747"/>
                <a:gd name="connsiteY151" fmla="*/ 34385 h 252698"/>
                <a:gd name="connsiteX152" fmla="*/ 57055 w 269747"/>
                <a:gd name="connsiteY152" fmla="*/ 30671 h 252698"/>
                <a:gd name="connsiteX153" fmla="*/ 71723 w 269747"/>
                <a:gd name="connsiteY153" fmla="*/ 44958 h 252698"/>
                <a:gd name="connsiteX154" fmla="*/ 65532 w 269747"/>
                <a:gd name="connsiteY154" fmla="*/ 53054 h 252698"/>
                <a:gd name="connsiteX155" fmla="*/ 72295 w 269747"/>
                <a:gd name="connsiteY155" fmla="*/ 63055 h 252698"/>
                <a:gd name="connsiteX156" fmla="*/ 80200 w 269747"/>
                <a:gd name="connsiteY156" fmla="*/ 67437 h 252698"/>
                <a:gd name="connsiteX157" fmla="*/ 78867 w 269747"/>
                <a:gd name="connsiteY157" fmla="*/ 71247 h 252698"/>
                <a:gd name="connsiteX158" fmla="*/ 90106 w 269747"/>
                <a:gd name="connsiteY158" fmla="*/ 73438 h 252698"/>
                <a:gd name="connsiteX159" fmla="*/ 95536 w 269747"/>
                <a:gd name="connsiteY159" fmla="*/ 72676 h 252698"/>
                <a:gd name="connsiteX160" fmla="*/ 90488 w 269747"/>
                <a:gd name="connsiteY160" fmla="*/ 62484 h 252698"/>
                <a:gd name="connsiteX161" fmla="*/ 90297 w 269747"/>
                <a:gd name="connsiteY161" fmla="*/ 60674 h 252698"/>
                <a:gd name="connsiteX162" fmla="*/ 93440 w 269747"/>
                <a:gd name="connsiteY162" fmla="*/ 56579 h 252698"/>
                <a:gd name="connsiteX163" fmla="*/ 96774 w 269747"/>
                <a:gd name="connsiteY163" fmla="*/ 54388 h 252698"/>
                <a:gd name="connsiteX164" fmla="*/ 101251 w 269747"/>
                <a:gd name="connsiteY164" fmla="*/ 61055 h 252698"/>
                <a:gd name="connsiteX165" fmla="*/ 102394 w 269747"/>
                <a:gd name="connsiteY165" fmla="*/ 55436 h 252698"/>
                <a:gd name="connsiteX166" fmla="*/ 108871 w 269747"/>
                <a:gd name="connsiteY166" fmla="*/ 49149 h 252698"/>
                <a:gd name="connsiteX167" fmla="*/ 110871 w 269747"/>
                <a:gd name="connsiteY167" fmla="*/ 50673 h 252698"/>
                <a:gd name="connsiteX168" fmla="*/ 112014 w 269747"/>
                <a:gd name="connsiteY168" fmla="*/ 59627 h 252698"/>
                <a:gd name="connsiteX169" fmla="*/ 119253 w 269747"/>
                <a:gd name="connsiteY169" fmla="*/ 58674 h 252698"/>
                <a:gd name="connsiteX170" fmla="*/ 116491 w 269747"/>
                <a:gd name="connsiteY170" fmla="*/ 51816 h 252698"/>
                <a:gd name="connsiteX171" fmla="*/ 118110 w 269747"/>
                <a:gd name="connsiteY171" fmla="*/ 49721 h 252698"/>
                <a:gd name="connsiteX172" fmla="*/ 116014 w 269747"/>
                <a:gd name="connsiteY172" fmla="*/ 48196 h 252698"/>
                <a:gd name="connsiteX173" fmla="*/ 119443 w 269747"/>
                <a:gd name="connsiteY173" fmla="*/ 45910 h 252698"/>
                <a:gd name="connsiteX174" fmla="*/ 111538 w 269747"/>
                <a:gd name="connsiteY174" fmla="*/ 41529 h 252698"/>
                <a:gd name="connsiteX175" fmla="*/ 113347 w 269747"/>
                <a:gd name="connsiteY175" fmla="*/ 41338 h 252698"/>
                <a:gd name="connsiteX176" fmla="*/ 120491 w 269747"/>
                <a:gd name="connsiteY176" fmla="*/ 40291 h 252698"/>
                <a:gd name="connsiteX177" fmla="*/ 118205 w 269747"/>
                <a:gd name="connsiteY177" fmla="*/ 37052 h 252698"/>
                <a:gd name="connsiteX178" fmla="*/ 121063 w 269747"/>
                <a:gd name="connsiteY178" fmla="*/ 31242 h 252698"/>
                <a:gd name="connsiteX179" fmla="*/ 130588 w 269747"/>
                <a:gd name="connsiteY179" fmla="*/ 33528 h 252698"/>
                <a:gd name="connsiteX180" fmla="*/ 133636 w 269747"/>
                <a:gd name="connsiteY180" fmla="*/ 29527 h 252698"/>
                <a:gd name="connsiteX181" fmla="*/ 131635 w 269747"/>
                <a:gd name="connsiteY181" fmla="*/ 28004 h 252698"/>
                <a:gd name="connsiteX182" fmla="*/ 131159 w 269747"/>
                <a:gd name="connsiteY182" fmla="*/ 24384 h 252698"/>
                <a:gd name="connsiteX183" fmla="*/ 134779 w 269747"/>
                <a:gd name="connsiteY183" fmla="*/ 24003 h 252698"/>
                <a:gd name="connsiteX184" fmla="*/ 134588 w 269747"/>
                <a:gd name="connsiteY184" fmla="*/ 22193 h 252698"/>
                <a:gd name="connsiteX185" fmla="*/ 135636 w 269747"/>
                <a:gd name="connsiteY185" fmla="*/ 16573 h 252698"/>
                <a:gd name="connsiteX186" fmla="*/ 139255 w 269747"/>
                <a:gd name="connsiteY186" fmla="*/ 16097 h 252698"/>
                <a:gd name="connsiteX187" fmla="*/ 144113 w 269747"/>
                <a:gd name="connsiteY187" fmla="*/ 11811 h 252698"/>
                <a:gd name="connsiteX188" fmla="*/ 147923 w 269747"/>
                <a:gd name="connsiteY188" fmla="*/ 13144 h 252698"/>
                <a:gd name="connsiteX189" fmla="*/ 151924 w 269747"/>
                <a:gd name="connsiteY189" fmla="*/ 1714 h 252698"/>
                <a:gd name="connsiteX190" fmla="*/ 156210 w 269747"/>
                <a:gd name="connsiteY190" fmla="*/ 6572 h 252698"/>
                <a:gd name="connsiteX191" fmla="*/ 168783 w 269747"/>
                <a:gd name="connsiteY191" fmla="*/ 4953 h 252698"/>
                <a:gd name="connsiteX192" fmla="*/ 171545 w 269747"/>
                <a:gd name="connsiteY192" fmla="*/ 11811 h 252698"/>
                <a:gd name="connsiteX193" fmla="*/ 176974 w 269747"/>
                <a:gd name="connsiteY193" fmla="*/ 11144 h 252698"/>
                <a:gd name="connsiteX194" fmla="*/ 178784 w 269747"/>
                <a:gd name="connsiteY194" fmla="*/ 10858 h 252698"/>
                <a:gd name="connsiteX195" fmla="*/ 176498 w 269747"/>
                <a:gd name="connsiteY195" fmla="*/ 7525 h 252698"/>
                <a:gd name="connsiteX196" fmla="*/ 177832 w 269747"/>
                <a:gd name="connsiteY196" fmla="*/ 3715 h 252698"/>
                <a:gd name="connsiteX197" fmla="*/ 179546 w 269747"/>
                <a:gd name="connsiteY197" fmla="*/ 3524 h 252698"/>
                <a:gd name="connsiteX198" fmla="*/ 179070 w 269747"/>
                <a:gd name="connsiteY198" fmla="*/ 0 h 252698"/>
                <a:gd name="connsiteX199" fmla="*/ 191071 w 269747"/>
                <a:gd name="connsiteY199" fmla="*/ 7429 h 252698"/>
                <a:gd name="connsiteX200" fmla="*/ 196882 w 269747"/>
                <a:gd name="connsiteY200" fmla="*/ 10287 h 25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69747" h="252698">
                  <a:moveTo>
                    <a:pt x="196882" y="10287"/>
                  </a:moveTo>
                  <a:lnTo>
                    <a:pt x="185261" y="19050"/>
                  </a:lnTo>
                  <a:lnTo>
                    <a:pt x="174022" y="16954"/>
                  </a:lnTo>
                  <a:lnTo>
                    <a:pt x="174498" y="20479"/>
                  </a:lnTo>
                  <a:lnTo>
                    <a:pt x="167830" y="25051"/>
                  </a:lnTo>
                  <a:lnTo>
                    <a:pt x="170116" y="28384"/>
                  </a:lnTo>
                  <a:lnTo>
                    <a:pt x="173641" y="27908"/>
                  </a:lnTo>
                  <a:lnTo>
                    <a:pt x="178498" y="36290"/>
                  </a:lnTo>
                  <a:lnTo>
                    <a:pt x="185642" y="35338"/>
                  </a:lnTo>
                  <a:lnTo>
                    <a:pt x="192214" y="43529"/>
                  </a:lnTo>
                  <a:lnTo>
                    <a:pt x="197644" y="57340"/>
                  </a:lnTo>
                  <a:lnTo>
                    <a:pt x="192500" y="59817"/>
                  </a:lnTo>
                  <a:lnTo>
                    <a:pt x="191167" y="63627"/>
                  </a:lnTo>
                  <a:lnTo>
                    <a:pt x="206978" y="72390"/>
                  </a:lnTo>
                  <a:lnTo>
                    <a:pt x="214598" y="75057"/>
                  </a:lnTo>
                  <a:lnTo>
                    <a:pt x="215360" y="80391"/>
                  </a:lnTo>
                  <a:lnTo>
                    <a:pt x="218980" y="79915"/>
                  </a:lnTo>
                  <a:lnTo>
                    <a:pt x="220980" y="81439"/>
                  </a:lnTo>
                  <a:lnTo>
                    <a:pt x="213360" y="93345"/>
                  </a:lnTo>
                  <a:lnTo>
                    <a:pt x="217646" y="98203"/>
                  </a:lnTo>
                  <a:lnTo>
                    <a:pt x="229457" y="103918"/>
                  </a:lnTo>
                  <a:lnTo>
                    <a:pt x="233648" y="94297"/>
                  </a:lnTo>
                  <a:lnTo>
                    <a:pt x="250222" y="81248"/>
                  </a:lnTo>
                  <a:lnTo>
                    <a:pt x="252603" y="71819"/>
                  </a:lnTo>
                  <a:lnTo>
                    <a:pt x="256222" y="71342"/>
                  </a:lnTo>
                  <a:lnTo>
                    <a:pt x="257461" y="67532"/>
                  </a:lnTo>
                  <a:lnTo>
                    <a:pt x="266509" y="66389"/>
                  </a:lnTo>
                  <a:lnTo>
                    <a:pt x="269748" y="76771"/>
                  </a:lnTo>
                  <a:lnTo>
                    <a:pt x="263176" y="83058"/>
                  </a:lnTo>
                  <a:lnTo>
                    <a:pt x="258794" y="90964"/>
                  </a:lnTo>
                  <a:lnTo>
                    <a:pt x="261747" y="99631"/>
                  </a:lnTo>
                  <a:lnTo>
                    <a:pt x="258127" y="100108"/>
                  </a:lnTo>
                  <a:lnTo>
                    <a:pt x="262223" y="103156"/>
                  </a:lnTo>
                  <a:lnTo>
                    <a:pt x="262699" y="106775"/>
                  </a:lnTo>
                  <a:lnTo>
                    <a:pt x="255937" y="111252"/>
                  </a:lnTo>
                  <a:lnTo>
                    <a:pt x="256222" y="113062"/>
                  </a:lnTo>
                  <a:lnTo>
                    <a:pt x="262033" y="115919"/>
                  </a:lnTo>
                  <a:lnTo>
                    <a:pt x="260985" y="121444"/>
                  </a:lnTo>
                  <a:lnTo>
                    <a:pt x="262414" y="132207"/>
                  </a:lnTo>
                  <a:lnTo>
                    <a:pt x="262890" y="135731"/>
                  </a:lnTo>
                  <a:lnTo>
                    <a:pt x="261271" y="137731"/>
                  </a:lnTo>
                  <a:lnTo>
                    <a:pt x="257746" y="138208"/>
                  </a:lnTo>
                  <a:lnTo>
                    <a:pt x="252508" y="140684"/>
                  </a:lnTo>
                  <a:lnTo>
                    <a:pt x="254794" y="144018"/>
                  </a:lnTo>
                  <a:lnTo>
                    <a:pt x="240697" y="147733"/>
                  </a:lnTo>
                  <a:lnTo>
                    <a:pt x="241649" y="154877"/>
                  </a:lnTo>
                  <a:lnTo>
                    <a:pt x="240506" y="160496"/>
                  </a:lnTo>
                  <a:lnTo>
                    <a:pt x="250507" y="166402"/>
                  </a:lnTo>
                  <a:lnTo>
                    <a:pt x="244221" y="174498"/>
                  </a:lnTo>
                  <a:lnTo>
                    <a:pt x="246697" y="179546"/>
                  </a:lnTo>
                  <a:lnTo>
                    <a:pt x="244983" y="179832"/>
                  </a:lnTo>
                  <a:lnTo>
                    <a:pt x="246793" y="194024"/>
                  </a:lnTo>
                  <a:lnTo>
                    <a:pt x="251365" y="200692"/>
                  </a:lnTo>
                  <a:lnTo>
                    <a:pt x="258794" y="201549"/>
                  </a:lnTo>
                  <a:lnTo>
                    <a:pt x="259080" y="203359"/>
                  </a:lnTo>
                  <a:lnTo>
                    <a:pt x="255460" y="203835"/>
                  </a:lnTo>
                  <a:lnTo>
                    <a:pt x="255079" y="214789"/>
                  </a:lnTo>
                  <a:lnTo>
                    <a:pt x="256222" y="223647"/>
                  </a:lnTo>
                  <a:lnTo>
                    <a:pt x="247459" y="226600"/>
                  </a:lnTo>
                  <a:lnTo>
                    <a:pt x="245459" y="225076"/>
                  </a:lnTo>
                  <a:lnTo>
                    <a:pt x="238696" y="229553"/>
                  </a:lnTo>
                  <a:lnTo>
                    <a:pt x="234886" y="228314"/>
                  </a:lnTo>
                  <a:lnTo>
                    <a:pt x="232505" y="237649"/>
                  </a:lnTo>
                  <a:lnTo>
                    <a:pt x="228886" y="238125"/>
                  </a:lnTo>
                  <a:lnTo>
                    <a:pt x="229362" y="241745"/>
                  </a:lnTo>
                  <a:lnTo>
                    <a:pt x="225742" y="242125"/>
                  </a:lnTo>
                  <a:lnTo>
                    <a:pt x="226028" y="243935"/>
                  </a:lnTo>
                  <a:lnTo>
                    <a:pt x="218599" y="243078"/>
                  </a:lnTo>
                  <a:lnTo>
                    <a:pt x="213169" y="243840"/>
                  </a:lnTo>
                  <a:lnTo>
                    <a:pt x="209169" y="240792"/>
                  </a:lnTo>
                  <a:lnTo>
                    <a:pt x="192500" y="239363"/>
                  </a:lnTo>
                  <a:lnTo>
                    <a:pt x="189166" y="241554"/>
                  </a:lnTo>
                  <a:lnTo>
                    <a:pt x="186023" y="245650"/>
                  </a:lnTo>
                  <a:lnTo>
                    <a:pt x="186976" y="252698"/>
                  </a:lnTo>
                  <a:lnTo>
                    <a:pt x="183166" y="251460"/>
                  </a:lnTo>
                  <a:lnTo>
                    <a:pt x="180689" y="246316"/>
                  </a:lnTo>
                  <a:lnTo>
                    <a:pt x="182118" y="229838"/>
                  </a:lnTo>
                  <a:lnTo>
                    <a:pt x="189262" y="228886"/>
                  </a:lnTo>
                  <a:lnTo>
                    <a:pt x="188309" y="221742"/>
                  </a:lnTo>
                  <a:lnTo>
                    <a:pt x="195548" y="220789"/>
                  </a:lnTo>
                  <a:lnTo>
                    <a:pt x="192595" y="212122"/>
                  </a:lnTo>
                  <a:lnTo>
                    <a:pt x="193167" y="202978"/>
                  </a:lnTo>
                  <a:lnTo>
                    <a:pt x="187833" y="203740"/>
                  </a:lnTo>
                  <a:lnTo>
                    <a:pt x="185642" y="214884"/>
                  </a:lnTo>
                  <a:lnTo>
                    <a:pt x="169164" y="215170"/>
                  </a:lnTo>
                  <a:lnTo>
                    <a:pt x="163354" y="212407"/>
                  </a:lnTo>
                  <a:lnTo>
                    <a:pt x="158210" y="214884"/>
                  </a:lnTo>
                  <a:lnTo>
                    <a:pt x="156686" y="216884"/>
                  </a:lnTo>
                  <a:lnTo>
                    <a:pt x="156876" y="218694"/>
                  </a:lnTo>
                  <a:lnTo>
                    <a:pt x="149638" y="219646"/>
                  </a:lnTo>
                  <a:lnTo>
                    <a:pt x="150495" y="212217"/>
                  </a:lnTo>
                  <a:lnTo>
                    <a:pt x="153829" y="195453"/>
                  </a:lnTo>
                  <a:lnTo>
                    <a:pt x="150019" y="194215"/>
                  </a:lnTo>
                  <a:lnTo>
                    <a:pt x="149733" y="192405"/>
                  </a:lnTo>
                  <a:lnTo>
                    <a:pt x="147733" y="190881"/>
                  </a:lnTo>
                  <a:lnTo>
                    <a:pt x="152590" y="186595"/>
                  </a:lnTo>
                  <a:lnTo>
                    <a:pt x="150590" y="185071"/>
                  </a:lnTo>
                  <a:lnTo>
                    <a:pt x="139541" y="184690"/>
                  </a:lnTo>
                  <a:lnTo>
                    <a:pt x="137541" y="183166"/>
                  </a:lnTo>
                  <a:lnTo>
                    <a:pt x="134874" y="190786"/>
                  </a:lnTo>
                  <a:lnTo>
                    <a:pt x="118967" y="194691"/>
                  </a:lnTo>
                  <a:lnTo>
                    <a:pt x="116967" y="193167"/>
                  </a:lnTo>
                  <a:lnTo>
                    <a:pt x="115062" y="178879"/>
                  </a:lnTo>
                  <a:lnTo>
                    <a:pt x="109156" y="176022"/>
                  </a:lnTo>
                  <a:lnTo>
                    <a:pt x="110776" y="174022"/>
                  </a:lnTo>
                  <a:lnTo>
                    <a:pt x="101346" y="171640"/>
                  </a:lnTo>
                  <a:lnTo>
                    <a:pt x="94583" y="176117"/>
                  </a:lnTo>
                  <a:lnTo>
                    <a:pt x="82867" y="170402"/>
                  </a:lnTo>
                  <a:lnTo>
                    <a:pt x="83725" y="163068"/>
                  </a:lnTo>
                  <a:lnTo>
                    <a:pt x="62579" y="154972"/>
                  </a:lnTo>
                  <a:lnTo>
                    <a:pt x="62103" y="151447"/>
                  </a:lnTo>
                  <a:lnTo>
                    <a:pt x="58388" y="137446"/>
                  </a:lnTo>
                  <a:lnTo>
                    <a:pt x="54769" y="137922"/>
                  </a:lnTo>
                  <a:lnTo>
                    <a:pt x="48673" y="133255"/>
                  </a:lnTo>
                  <a:lnTo>
                    <a:pt x="43529" y="135731"/>
                  </a:lnTo>
                  <a:lnTo>
                    <a:pt x="42672" y="143161"/>
                  </a:lnTo>
                  <a:lnTo>
                    <a:pt x="38862" y="141827"/>
                  </a:lnTo>
                  <a:lnTo>
                    <a:pt x="31718" y="142780"/>
                  </a:lnTo>
                  <a:lnTo>
                    <a:pt x="26098" y="141732"/>
                  </a:lnTo>
                  <a:lnTo>
                    <a:pt x="22860" y="131254"/>
                  </a:lnTo>
                  <a:lnTo>
                    <a:pt x="16764" y="126587"/>
                  </a:lnTo>
                  <a:lnTo>
                    <a:pt x="17621" y="119253"/>
                  </a:lnTo>
                  <a:lnTo>
                    <a:pt x="11716" y="116396"/>
                  </a:lnTo>
                  <a:lnTo>
                    <a:pt x="8191" y="116872"/>
                  </a:lnTo>
                  <a:lnTo>
                    <a:pt x="5620" y="111728"/>
                  </a:lnTo>
                  <a:lnTo>
                    <a:pt x="0" y="110680"/>
                  </a:lnTo>
                  <a:lnTo>
                    <a:pt x="1619" y="108680"/>
                  </a:lnTo>
                  <a:lnTo>
                    <a:pt x="7334" y="97060"/>
                  </a:lnTo>
                  <a:lnTo>
                    <a:pt x="8953" y="94964"/>
                  </a:lnTo>
                  <a:lnTo>
                    <a:pt x="6382" y="89916"/>
                  </a:lnTo>
                  <a:lnTo>
                    <a:pt x="11620" y="87439"/>
                  </a:lnTo>
                  <a:lnTo>
                    <a:pt x="5715" y="84582"/>
                  </a:lnTo>
                  <a:lnTo>
                    <a:pt x="7525" y="84296"/>
                  </a:lnTo>
                  <a:lnTo>
                    <a:pt x="12859" y="83629"/>
                  </a:lnTo>
                  <a:lnTo>
                    <a:pt x="16859" y="72199"/>
                  </a:lnTo>
                  <a:lnTo>
                    <a:pt x="22860" y="62294"/>
                  </a:lnTo>
                  <a:lnTo>
                    <a:pt x="17431" y="63055"/>
                  </a:lnTo>
                  <a:lnTo>
                    <a:pt x="17240" y="61246"/>
                  </a:lnTo>
                  <a:lnTo>
                    <a:pt x="22384" y="58769"/>
                  </a:lnTo>
                  <a:lnTo>
                    <a:pt x="15621" y="48768"/>
                  </a:lnTo>
                  <a:lnTo>
                    <a:pt x="17145" y="46768"/>
                  </a:lnTo>
                  <a:lnTo>
                    <a:pt x="16669" y="43243"/>
                  </a:lnTo>
                  <a:lnTo>
                    <a:pt x="20002" y="40958"/>
                  </a:lnTo>
                  <a:lnTo>
                    <a:pt x="19336" y="35623"/>
                  </a:lnTo>
                  <a:lnTo>
                    <a:pt x="25336" y="25717"/>
                  </a:lnTo>
                  <a:lnTo>
                    <a:pt x="30004" y="19717"/>
                  </a:lnTo>
                  <a:lnTo>
                    <a:pt x="40195" y="27432"/>
                  </a:lnTo>
                  <a:lnTo>
                    <a:pt x="45529" y="26670"/>
                  </a:lnTo>
                  <a:lnTo>
                    <a:pt x="43529" y="25146"/>
                  </a:lnTo>
                  <a:lnTo>
                    <a:pt x="50959" y="26003"/>
                  </a:lnTo>
                  <a:lnTo>
                    <a:pt x="53721" y="32861"/>
                  </a:lnTo>
                  <a:lnTo>
                    <a:pt x="55721" y="34385"/>
                  </a:lnTo>
                  <a:lnTo>
                    <a:pt x="57055" y="30671"/>
                  </a:lnTo>
                  <a:lnTo>
                    <a:pt x="71723" y="44958"/>
                  </a:lnTo>
                  <a:lnTo>
                    <a:pt x="65532" y="53054"/>
                  </a:lnTo>
                  <a:lnTo>
                    <a:pt x="72295" y="63055"/>
                  </a:lnTo>
                  <a:lnTo>
                    <a:pt x="80200" y="67437"/>
                  </a:lnTo>
                  <a:lnTo>
                    <a:pt x="78867" y="71247"/>
                  </a:lnTo>
                  <a:lnTo>
                    <a:pt x="90106" y="73438"/>
                  </a:lnTo>
                  <a:lnTo>
                    <a:pt x="95536" y="72676"/>
                  </a:lnTo>
                  <a:lnTo>
                    <a:pt x="90488" y="62484"/>
                  </a:lnTo>
                  <a:lnTo>
                    <a:pt x="90297" y="60674"/>
                  </a:lnTo>
                  <a:lnTo>
                    <a:pt x="93440" y="56579"/>
                  </a:lnTo>
                  <a:lnTo>
                    <a:pt x="96774" y="54388"/>
                  </a:lnTo>
                  <a:lnTo>
                    <a:pt x="101251" y="61055"/>
                  </a:lnTo>
                  <a:lnTo>
                    <a:pt x="102394" y="55436"/>
                  </a:lnTo>
                  <a:lnTo>
                    <a:pt x="108871" y="49149"/>
                  </a:lnTo>
                  <a:lnTo>
                    <a:pt x="110871" y="50673"/>
                  </a:lnTo>
                  <a:lnTo>
                    <a:pt x="112014" y="59627"/>
                  </a:lnTo>
                  <a:lnTo>
                    <a:pt x="119253" y="58674"/>
                  </a:lnTo>
                  <a:lnTo>
                    <a:pt x="116491" y="51816"/>
                  </a:lnTo>
                  <a:lnTo>
                    <a:pt x="118110" y="49721"/>
                  </a:lnTo>
                  <a:lnTo>
                    <a:pt x="116014" y="48196"/>
                  </a:lnTo>
                  <a:lnTo>
                    <a:pt x="119443" y="45910"/>
                  </a:lnTo>
                  <a:lnTo>
                    <a:pt x="111538" y="41529"/>
                  </a:lnTo>
                  <a:lnTo>
                    <a:pt x="113347" y="41338"/>
                  </a:lnTo>
                  <a:lnTo>
                    <a:pt x="120491" y="40291"/>
                  </a:lnTo>
                  <a:lnTo>
                    <a:pt x="118205" y="37052"/>
                  </a:lnTo>
                  <a:lnTo>
                    <a:pt x="121063" y="31242"/>
                  </a:lnTo>
                  <a:lnTo>
                    <a:pt x="130588" y="33528"/>
                  </a:lnTo>
                  <a:lnTo>
                    <a:pt x="133636" y="29527"/>
                  </a:lnTo>
                  <a:lnTo>
                    <a:pt x="131635" y="28004"/>
                  </a:lnTo>
                  <a:lnTo>
                    <a:pt x="131159" y="24384"/>
                  </a:lnTo>
                  <a:lnTo>
                    <a:pt x="134779" y="24003"/>
                  </a:lnTo>
                  <a:lnTo>
                    <a:pt x="134588" y="22193"/>
                  </a:lnTo>
                  <a:lnTo>
                    <a:pt x="135636" y="16573"/>
                  </a:lnTo>
                  <a:lnTo>
                    <a:pt x="139255" y="16097"/>
                  </a:lnTo>
                  <a:lnTo>
                    <a:pt x="144113" y="11811"/>
                  </a:lnTo>
                  <a:lnTo>
                    <a:pt x="147923" y="13144"/>
                  </a:lnTo>
                  <a:lnTo>
                    <a:pt x="151924" y="1714"/>
                  </a:lnTo>
                  <a:lnTo>
                    <a:pt x="156210" y="6572"/>
                  </a:lnTo>
                  <a:lnTo>
                    <a:pt x="168783" y="4953"/>
                  </a:lnTo>
                  <a:lnTo>
                    <a:pt x="171545" y="11811"/>
                  </a:lnTo>
                  <a:lnTo>
                    <a:pt x="176974" y="11144"/>
                  </a:lnTo>
                  <a:lnTo>
                    <a:pt x="178784" y="10858"/>
                  </a:lnTo>
                  <a:lnTo>
                    <a:pt x="176498" y="7525"/>
                  </a:lnTo>
                  <a:lnTo>
                    <a:pt x="177832" y="3715"/>
                  </a:lnTo>
                  <a:lnTo>
                    <a:pt x="179546" y="3524"/>
                  </a:lnTo>
                  <a:lnTo>
                    <a:pt x="179070" y="0"/>
                  </a:lnTo>
                  <a:lnTo>
                    <a:pt x="191071" y="7429"/>
                  </a:lnTo>
                  <a:lnTo>
                    <a:pt x="196882" y="102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6" name="Volný tvar: obrazec 55">
              <a:extLst>
                <a:ext uri="{FF2B5EF4-FFF2-40B4-BE49-F238E27FC236}">
                  <a16:creationId xmlns:a16="http://schemas.microsoft.com/office/drawing/2014/main" id="{FC5A1216-FCFC-6373-045F-6EC1091F2D6A}"/>
                </a:ext>
              </a:extLst>
            </p:cNvPr>
            <p:cNvSpPr/>
            <p:nvPr userDrawn="1"/>
          </p:nvSpPr>
          <p:spPr>
            <a:xfrm>
              <a:off x="6152149" y="4371974"/>
              <a:ext cx="853154" cy="506729"/>
            </a:xfrm>
            <a:custGeom>
              <a:avLst/>
              <a:gdLst>
                <a:gd name="connsiteX0" fmla="*/ 842486 w 853154"/>
                <a:gd name="connsiteY0" fmla="*/ 133636 h 506729"/>
                <a:gd name="connsiteX1" fmla="*/ 834390 w 853154"/>
                <a:gd name="connsiteY1" fmla="*/ 141922 h 506729"/>
                <a:gd name="connsiteX2" fmla="*/ 848201 w 853154"/>
                <a:gd name="connsiteY2" fmla="*/ 149162 h 506729"/>
                <a:gd name="connsiteX3" fmla="*/ 845344 w 853154"/>
                <a:gd name="connsiteY3" fmla="*/ 154972 h 506729"/>
                <a:gd name="connsiteX4" fmla="*/ 853154 w 853154"/>
                <a:gd name="connsiteY4" fmla="*/ 159448 h 506729"/>
                <a:gd name="connsiteX5" fmla="*/ 847154 w 853154"/>
                <a:gd name="connsiteY5" fmla="*/ 169259 h 506729"/>
                <a:gd name="connsiteX6" fmla="*/ 842010 w 853154"/>
                <a:gd name="connsiteY6" fmla="*/ 171736 h 506729"/>
                <a:gd name="connsiteX7" fmla="*/ 842486 w 853154"/>
                <a:gd name="connsiteY7" fmla="*/ 175355 h 506729"/>
                <a:gd name="connsiteX8" fmla="*/ 829913 w 853154"/>
                <a:gd name="connsiteY8" fmla="*/ 176974 h 506729"/>
                <a:gd name="connsiteX9" fmla="*/ 832961 w 853154"/>
                <a:gd name="connsiteY9" fmla="*/ 185642 h 506729"/>
                <a:gd name="connsiteX10" fmla="*/ 842391 w 853154"/>
                <a:gd name="connsiteY10" fmla="*/ 188023 h 506729"/>
                <a:gd name="connsiteX11" fmla="*/ 833247 w 853154"/>
                <a:gd name="connsiteY11" fmla="*/ 201930 h 506729"/>
                <a:gd name="connsiteX12" fmla="*/ 827151 w 853154"/>
                <a:gd name="connsiteY12" fmla="*/ 197263 h 506729"/>
                <a:gd name="connsiteX13" fmla="*/ 819531 w 853154"/>
                <a:gd name="connsiteY13" fmla="*/ 209169 h 506729"/>
                <a:gd name="connsiteX14" fmla="*/ 815816 w 853154"/>
                <a:gd name="connsiteY14" fmla="*/ 222409 h 506729"/>
                <a:gd name="connsiteX15" fmla="*/ 838581 w 853154"/>
                <a:gd name="connsiteY15" fmla="*/ 228409 h 506729"/>
                <a:gd name="connsiteX16" fmla="*/ 842867 w 853154"/>
                <a:gd name="connsiteY16" fmla="*/ 233267 h 506729"/>
                <a:gd name="connsiteX17" fmla="*/ 848963 w 853154"/>
                <a:gd name="connsiteY17" fmla="*/ 237934 h 506729"/>
                <a:gd name="connsiteX18" fmla="*/ 850202 w 853154"/>
                <a:gd name="connsiteY18" fmla="*/ 261366 h 506729"/>
                <a:gd name="connsiteX19" fmla="*/ 828008 w 853154"/>
                <a:gd name="connsiteY19" fmla="*/ 273367 h 506729"/>
                <a:gd name="connsiteX20" fmla="*/ 822008 w 853154"/>
                <a:gd name="connsiteY20" fmla="*/ 283178 h 506729"/>
                <a:gd name="connsiteX21" fmla="*/ 813149 w 853154"/>
                <a:gd name="connsiteY21" fmla="*/ 298894 h 506729"/>
                <a:gd name="connsiteX22" fmla="*/ 819245 w 853154"/>
                <a:gd name="connsiteY22" fmla="*/ 303466 h 506729"/>
                <a:gd name="connsiteX23" fmla="*/ 813911 w 853154"/>
                <a:gd name="connsiteY23" fmla="*/ 318706 h 506729"/>
                <a:gd name="connsiteX24" fmla="*/ 810101 w 853154"/>
                <a:gd name="connsiteY24" fmla="*/ 317373 h 506729"/>
                <a:gd name="connsiteX25" fmla="*/ 812673 w 853154"/>
                <a:gd name="connsiteY25" fmla="*/ 322516 h 506729"/>
                <a:gd name="connsiteX26" fmla="*/ 805339 w 853154"/>
                <a:gd name="connsiteY26" fmla="*/ 336137 h 506729"/>
                <a:gd name="connsiteX27" fmla="*/ 802196 w 853154"/>
                <a:gd name="connsiteY27" fmla="*/ 340233 h 506729"/>
                <a:gd name="connsiteX28" fmla="*/ 806291 w 853154"/>
                <a:gd name="connsiteY28" fmla="*/ 343281 h 506729"/>
                <a:gd name="connsiteX29" fmla="*/ 812006 w 853154"/>
                <a:gd name="connsiteY29" fmla="*/ 358807 h 506729"/>
                <a:gd name="connsiteX30" fmla="*/ 811339 w 853154"/>
                <a:gd name="connsiteY30" fmla="*/ 367951 h 506729"/>
                <a:gd name="connsiteX31" fmla="*/ 808672 w 853154"/>
                <a:gd name="connsiteY31" fmla="*/ 375571 h 506729"/>
                <a:gd name="connsiteX32" fmla="*/ 809149 w 853154"/>
                <a:gd name="connsiteY32" fmla="*/ 379190 h 506729"/>
                <a:gd name="connsiteX33" fmla="*/ 826008 w 853154"/>
                <a:gd name="connsiteY33" fmla="*/ 382333 h 506729"/>
                <a:gd name="connsiteX34" fmla="*/ 837724 w 853154"/>
                <a:gd name="connsiteY34" fmla="*/ 388048 h 506729"/>
                <a:gd name="connsiteX35" fmla="*/ 842105 w 853154"/>
                <a:gd name="connsiteY35" fmla="*/ 392906 h 506729"/>
                <a:gd name="connsiteX36" fmla="*/ 838676 w 853154"/>
                <a:gd name="connsiteY36" fmla="*/ 395192 h 506729"/>
                <a:gd name="connsiteX37" fmla="*/ 840677 w 853154"/>
                <a:gd name="connsiteY37" fmla="*/ 396716 h 506729"/>
                <a:gd name="connsiteX38" fmla="*/ 840962 w 853154"/>
                <a:gd name="connsiteY38" fmla="*/ 398526 h 506729"/>
                <a:gd name="connsiteX39" fmla="*/ 830866 w 853154"/>
                <a:gd name="connsiteY39" fmla="*/ 405289 h 506729"/>
                <a:gd name="connsiteX40" fmla="*/ 828008 w 853154"/>
                <a:gd name="connsiteY40" fmla="*/ 411099 h 506729"/>
                <a:gd name="connsiteX41" fmla="*/ 829151 w 853154"/>
                <a:gd name="connsiteY41" fmla="*/ 420052 h 506729"/>
                <a:gd name="connsiteX42" fmla="*/ 821436 w 853154"/>
                <a:gd name="connsiteY42" fmla="*/ 430149 h 506729"/>
                <a:gd name="connsiteX43" fmla="*/ 817150 w 853154"/>
                <a:gd name="connsiteY43" fmla="*/ 439769 h 506729"/>
                <a:gd name="connsiteX44" fmla="*/ 817436 w 853154"/>
                <a:gd name="connsiteY44" fmla="*/ 441579 h 506729"/>
                <a:gd name="connsiteX45" fmla="*/ 821246 w 853154"/>
                <a:gd name="connsiteY45" fmla="*/ 442817 h 506729"/>
                <a:gd name="connsiteX46" fmla="*/ 818579 w 853154"/>
                <a:gd name="connsiteY46" fmla="*/ 450437 h 506729"/>
                <a:gd name="connsiteX47" fmla="*/ 813911 w 853154"/>
                <a:gd name="connsiteY47" fmla="*/ 456533 h 506729"/>
                <a:gd name="connsiteX48" fmla="*/ 805148 w 853154"/>
                <a:gd name="connsiteY48" fmla="*/ 459486 h 506729"/>
                <a:gd name="connsiteX49" fmla="*/ 799147 w 853154"/>
                <a:gd name="connsiteY49" fmla="*/ 469297 h 506729"/>
                <a:gd name="connsiteX50" fmla="*/ 798100 w 853154"/>
                <a:gd name="connsiteY50" fmla="*/ 474916 h 506729"/>
                <a:gd name="connsiteX51" fmla="*/ 796290 w 853154"/>
                <a:gd name="connsiteY51" fmla="*/ 475107 h 506729"/>
                <a:gd name="connsiteX52" fmla="*/ 794099 w 853154"/>
                <a:gd name="connsiteY52" fmla="*/ 486346 h 506729"/>
                <a:gd name="connsiteX53" fmla="*/ 790766 w 853154"/>
                <a:gd name="connsiteY53" fmla="*/ 488632 h 506729"/>
                <a:gd name="connsiteX54" fmla="*/ 788670 w 853154"/>
                <a:gd name="connsiteY54" fmla="*/ 487013 h 506729"/>
                <a:gd name="connsiteX55" fmla="*/ 780383 w 853154"/>
                <a:gd name="connsiteY55" fmla="*/ 493585 h 506729"/>
                <a:gd name="connsiteX56" fmla="*/ 778193 w 853154"/>
                <a:gd name="connsiteY56" fmla="*/ 490252 h 506729"/>
                <a:gd name="connsiteX57" fmla="*/ 776383 w 853154"/>
                <a:gd name="connsiteY57" fmla="*/ 490538 h 506729"/>
                <a:gd name="connsiteX58" fmla="*/ 775049 w 853154"/>
                <a:gd name="connsiteY58" fmla="*/ 494252 h 506729"/>
                <a:gd name="connsiteX59" fmla="*/ 773525 w 853154"/>
                <a:gd name="connsiteY59" fmla="*/ 496348 h 506729"/>
                <a:gd name="connsiteX60" fmla="*/ 770572 w 853154"/>
                <a:gd name="connsiteY60" fmla="*/ 502063 h 506729"/>
                <a:gd name="connsiteX61" fmla="*/ 769048 w 853154"/>
                <a:gd name="connsiteY61" fmla="*/ 504158 h 506729"/>
                <a:gd name="connsiteX62" fmla="*/ 765429 w 853154"/>
                <a:gd name="connsiteY62" fmla="*/ 504634 h 506729"/>
                <a:gd name="connsiteX63" fmla="*/ 765238 w 853154"/>
                <a:gd name="connsiteY63" fmla="*/ 502825 h 506729"/>
                <a:gd name="connsiteX64" fmla="*/ 749332 w 853154"/>
                <a:gd name="connsiteY64" fmla="*/ 506730 h 506729"/>
                <a:gd name="connsiteX65" fmla="*/ 748760 w 853154"/>
                <a:gd name="connsiteY65" fmla="*/ 503206 h 506729"/>
                <a:gd name="connsiteX66" fmla="*/ 747046 w 853154"/>
                <a:gd name="connsiteY66" fmla="*/ 503396 h 506729"/>
                <a:gd name="connsiteX67" fmla="*/ 742664 w 853154"/>
                <a:gd name="connsiteY67" fmla="*/ 498538 h 506729"/>
                <a:gd name="connsiteX68" fmla="*/ 747617 w 853154"/>
                <a:gd name="connsiteY68" fmla="*/ 494252 h 506729"/>
                <a:gd name="connsiteX69" fmla="*/ 745331 w 853154"/>
                <a:gd name="connsiteY69" fmla="*/ 490918 h 506729"/>
                <a:gd name="connsiteX70" fmla="*/ 741331 w 853154"/>
                <a:gd name="connsiteY70" fmla="*/ 487871 h 506729"/>
                <a:gd name="connsiteX71" fmla="*/ 736187 w 853154"/>
                <a:gd name="connsiteY71" fmla="*/ 490347 h 506729"/>
                <a:gd name="connsiteX72" fmla="*/ 733139 w 853154"/>
                <a:gd name="connsiteY72" fmla="*/ 481679 h 506729"/>
                <a:gd name="connsiteX73" fmla="*/ 733901 w 853154"/>
                <a:gd name="connsiteY73" fmla="*/ 487013 h 506729"/>
                <a:gd name="connsiteX74" fmla="*/ 730568 w 853154"/>
                <a:gd name="connsiteY74" fmla="*/ 489299 h 506729"/>
                <a:gd name="connsiteX75" fmla="*/ 729901 w 853154"/>
                <a:gd name="connsiteY75" fmla="*/ 498443 h 506729"/>
                <a:gd name="connsiteX76" fmla="*/ 723138 w 853154"/>
                <a:gd name="connsiteY76" fmla="*/ 502920 h 506729"/>
                <a:gd name="connsiteX77" fmla="*/ 706374 w 853154"/>
                <a:gd name="connsiteY77" fmla="*/ 499777 h 506729"/>
                <a:gd name="connsiteX78" fmla="*/ 696182 w 853154"/>
                <a:gd name="connsiteY78" fmla="*/ 492062 h 506729"/>
                <a:gd name="connsiteX79" fmla="*/ 690753 w 853154"/>
                <a:gd name="connsiteY79" fmla="*/ 492728 h 506729"/>
                <a:gd name="connsiteX80" fmla="*/ 673894 w 853154"/>
                <a:gd name="connsiteY80" fmla="*/ 489490 h 506729"/>
                <a:gd name="connsiteX81" fmla="*/ 663321 w 853154"/>
                <a:gd name="connsiteY81" fmla="*/ 492728 h 506729"/>
                <a:gd name="connsiteX82" fmla="*/ 659987 w 853154"/>
                <a:gd name="connsiteY82" fmla="*/ 495014 h 506729"/>
                <a:gd name="connsiteX83" fmla="*/ 658178 w 853154"/>
                <a:gd name="connsiteY83" fmla="*/ 495205 h 506729"/>
                <a:gd name="connsiteX84" fmla="*/ 646938 w 853154"/>
                <a:gd name="connsiteY84" fmla="*/ 493109 h 506729"/>
                <a:gd name="connsiteX85" fmla="*/ 598837 w 853154"/>
                <a:gd name="connsiteY85" fmla="*/ 488537 h 506729"/>
                <a:gd name="connsiteX86" fmla="*/ 561499 w 853154"/>
                <a:gd name="connsiteY86" fmla="*/ 482632 h 506729"/>
                <a:gd name="connsiteX87" fmla="*/ 560165 w 853154"/>
                <a:gd name="connsiteY87" fmla="*/ 486442 h 506729"/>
                <a:gd name="connsiteX88" fmla="*/ 556831 w 853154"/>
                <a:gd name="connsiteY88" fmla="*/ 488728 h 506729"/>
                <a:gd name="connsiteX89" fmla="*/ 554831 w 853154"/>
                <a:gd name="connsiteY89" fmla="*/ 487204 h 506729"/>
                <a:gd name="connsiteX90" fmla="*/ 549212 w 853154"/>
                <a:gd name="connsiteY90" fmla="*/ 486061 h 506729"/>
                <a:gd name="connsiteX91" fmla="*/ 547783 w 853154"/>
                <a:gd name="connsiteY91" fmla="*/ 489871 h 506729"/>
                <a:gd name="connsiteX92" fmla="*/ 530923 w 853154"/>
                <a:gd name="connsiteY92" fmla="*/ 486727 h 506729"/>
                <a:gd name="connsiteX93" fmla="*/ 528733 w 853154"/>
                <a:gd name="connsiteY93" fmla="*/ 483394 h 506729"/>
                <a:gd name="connsiteX94" fmla="*/ 525113 w 853154"/>
                <a:gd name="connsiteY94" fmla="*/ 483870 h 506729"/>
                <a:gd name="connsiteX95" fmla="*/ 523780 w 853154"/>
                <a:gd name="connsiteY95" fmla="*/ 487680 h 506729"/>
                <a:gd name="connsiteX96" fmla="*/ 520160 w 853154"/>
                <a:gd name="connsiteY96" fmla="*/ 488156 h 506729"/>
                <a:gd name="connsiteX97" fmla="*/ 511016 w 853154"/>
                <a:gd name="connsiteY97" fmla="*/ 487489 h 506729"/>
                <a:gd name="connsiteX98" fmla="*/ 495681 w 853154"/>
                <a:gd name="connsiteY98" fmla="*/ 482251 h 506729"/>
                <a:gd name="connsiteX99" fmla="*/ 481965 w 853154"/>
                <a:gd name="connsiteY99" fmla="*/ 475012 h 506729"/>
                <a:gd name="connsiteX100" fmla="*/ 466154 w 853154"/>
                <a:gd name="connsiteY100" fmla="*/ 466249 h 506729"/>
                <a:gd name="connsiteX101" fmla="*/ 415385 w 853154"/>
                <a:gd name="connsiteY101" fmla="*/ 442150 h 506729"/>
                <a:gd name="connsiteX102" fmla="*/ 410623 w 853154"/>
                <a:gd name="connsiteY102" fmla="*/ 433673 h 506729"/>
                <a:gd name="connsiteX103" fmla="*/ 390335 w 853154"/>
                <a:gd name="connsiteY103" fmla="*/ 418243 h 506729"/>
                <a:gd name="connsiteX104" fmla="*/ 384715 w 853154"/>
                <a:gd name="connsiteY104" fmla="*/ 417195 h 506729"/>
                <a:gd name="connsiteX105" fmla="*/ 376333 w 853154"/>
                <a:gd name="connsiteY105" fmla="*/ 409289 h 506729"/>
                <a:gd name="connsiteX106" fmla="*/ 376523 w 853154"/>
                <a:gd name="connsiteY106" fmla="*/ 396526 h 506729"/>
                <a:gd name="connsiteX107" fmla="*/ 382524 w 853154"/>
                <a:gd name="connsiteY107" fmla="*/ 386620 h 506729"/>
                <a:gd name="connsiteX108" fmla="*/ 382048 w 853154"/>
                <a:gd name="connsiteY108" fmla="*/ 383096 h 506729"/>
                <a:gd name="connsiteX109" fmla="*/ 371285 w 853154"/>
                <a:gd name="connsiteY109" fmla="*/ 384524 h 506729"/>
                <a:gd name="connsiteX110" fmla="*/ 372332 w 853154"/>
                <a:gd name="connsiteY110" fmla="*/ 379000 h 506729"/>
                <a:gd name="connsiteX111" fmla="*/ 370332 w 853154"/>
                <a:gd name="connsiteY111" fmla="*/ 377380 h 506729"/>
                <a:gd name="connsiteX112" fmla="*/ 366903 w 853154"/>
                <a:gd name="connsiteY112" fmla="*/ 379666 h 506729"/>
                <a:gd name="connsiteX113" fmla="*/ 367855 w 853154"/>
                <a:gd name="connsiteY113" fmla="*/ 386810 h 506729"/>
                <a:gd name="connsiteX114" fmla="*/ 366522 w 853154"/>
                <a:gd name="connsiteY114" fmla="*/ 390620 h 506729"/>
                <a:gd name="connsiteX115" fmla="*/ 360902 w 853154"/>
                <a:gd name="connsiteY115" fmla="*/ 389477 h 506729"/>
                <a:gd name="connsiteX116" fmla="*/ 354806 w 853154"/>
                <a:gd name="connsiteY116" fmla="*/ 384905 h 506729"/>
                <a:gd name="connsiteX117" fmla="*/ 350806 w 853154"/>
                <a:gd name="connsiteY117" fmla="*/ 381857 h 506729"/>
                <a:gd name="connsiteX118" fmla="*/ 356330 w 853154"/>
                <a:gd name="connsiteY118" fmla="*/ 368332 h 506729"/>
                <a:gd name="connsiteX119" fmla="*/ 348901 w 853154"/>
                <a:gd name="connsiteY119" fmla="*/ 367570 h 506729"/>
                <a:gd name="connsiteX120" fmla="*/ 344614 w 853154"/>
                <a:gd name="connsiteY120" fmla="*/ 362712 h 506729"/>
                <a:gd name="connsiteX121" fmla="*/ 336042 w 853154"/>
                <a:gd name="connsiteY121" fmla="*/ 367474 h 506729"/>
                <a:gd name="connsiteX122" fmla="*/ 323469 w 853154"/>
                <a:gd name="connsiteY122" fmla="*/ 369094 h 506729"/>
                <a:gd name="connsiteX123" fmla="*/ 320993 w 853154"/>
                <a:gd name="connsiteY123" fmla="*/ 364046 h 506729"/>
                <a:gd name="connsiteX124" fmla="*/ 321850 w 853154"/>
                <a:gd name="connsiteY124" fmla="*/ 356616 h 506729"/>
                <a:gd name="connsiteX125" fmla="*/ 323660 w 853154"/>
                <a:gd name="connsiteY125" fmla="*/ 356330 h 506729"/>
                <a:gd name="connsiteX126" fmla="*/ 326136 w 853154"/>
                <a:gd name="connsiteY126" fmla="*/ 361474 h 506729"/>
                <a:gd name="connsiteX127" fmla="*/ 329946 w 853154"/>
                <a:gd name="connsiteY127" fmla="*/ 362807 h 506729"/>
                <a:gd name="connsiteX128" fmla="*/ 333566 w 853154"/>
                <a:gd name="connsiteY128" fmla="*/ 362331 h 506729"/>
                <a:gd name="connsiteX129" fmla="*/ 333089 w 853154"/>
                <a:gd name="connsiteY129" fmla="*/ 358807 h 506729"/>
                <a:gd name="connsiteX130" fmla="*/ 324517 w 853154"/>
                <a:gd name="connsiteY130" fmla="*/ 348996 h 506729"/>
                <a:gd name="connsiteX131" fmla="*/ 318516 w 853154"/>
                <a:gd name="connsiteY131" fmla="*/ 358902 h 506729"/>
                <a:gd name="connsiteX132" fmla="*/ 314706 w 853154"/>
                <a:gd name="connsiteY132" fmla="*/ 357568 h 506729"/>
                <a:gd name="connsiteX133" fmla="*/ 310420 w 853154"/>
                <a:gd name="connsiteY133" fmla="*/ 352711 h 506729"/>
                <a:gd name="connsiteX134" fmla="*/ 312325 w 853154"/>
                <a:gd name="connsiteY134" fmla="*/ 339757 h 506729"/>
                <a:gd name="connsiteX135" fmla="*/ 310325 w 853154"/>
                <a:gd name="connsiteY135" fmla="*/ 338233 h 506729"/>
                <a:gd name="connsiteX136" fmla="*/ 308038 w 853154"/>
                <a:gd name="connsiteY136" fmla="*/ 334899 h 506729"/>
                <a:gd name="connsiteX137" fmla="*/ 304229 w 853154"/>
                <a:gd name="connsiteY137" fmla="*/ 333565 h 506729"/>
                <a:gd name="connsiteX138" fmla="*/ 306419 w 853154"/>
                <a:gd name="connsiteY138" fmla="*/ 336899 h 506729"/>
                <a:gd name="connsiteX139" fmla="*/ 307181 w 853154"/>
                <a:gd name="connsiteY139" fmla="*/ 342233 h 506729"/>
                <a:gd name="connsiteX140" fmla="*/ 296609 w 853154"/>
                <a:gd name="connsiteY140" fmla="*/ 345472 h 506729"/>
                <a:gd name="connsiteX141" fmla="*/ 290036 w 853154"/>
                <a:gd name="connsiteY141" fmla="*/ 337280 h 506729"/>
                <a:gd name="connsiteX142" fmla="*/ 276987 w 853154"/>
                <a:gd name="connsiteY142" fmla="*/ 335375 h 506729"/>
                <a:gd name="connsiteX143" fmla="*/ 276320 w 853154"/>
                <a:gd name="connsiteY143" fmla="*/ 330041 h 506729"/>
                <a:gd name="connsiteX144" fmla="*/ 283273 w 853154"/>
                <a:gd name="connsiteY144" fmla="*/ 327279 h 506729"/>
                <a:gd name="connsiteX145" fmla="*/ 284797 w 853154"/>
                <a:gd name="connsiteY145" fmla="*/ 325279 h 506729"/>
                <a:gd name="connsiteX146" fmla="*/ 276225 w 853154"/>
                <a:gd name="connsiteY146" fmla="*/ 315563 h 506729"/>
                <a:gd name="connsiteX147" fmla="*/ 275463 w 853154"/>
                <a:gd name="connsiteY147" fmla="*/ 310229 h 506729"/>
                <a:gd name="connsiteX148" fmla="*/ 267462 w 853154"/>
                <a:gd name="connsiteY148" fmla="*/ 318516 h 506729"/>
                <a:gd name="connsiteX149" fmla="*/ 263843 w 853154"/>
                <a:gd name="connsiteY149" fmla="*/ 318992 h 506729"/>
                <a:gd name="connsiteX150" fmla="*/ 258032 w 853154"/>
                <a:gd name="connsiteY150" fmla="*/ 316135 h 506729"/>
                <a:gd name="connsiteX151" fmla="*/ 243840 w 853154"/>
                <a:gd name="connsiteY151" fmla="*/ 319849 h 506729"/>
                <a:gd name="connsiteX152" fmla="*/ 232410 w 853154"/>
                <a:gd name="connsiteY152" fmla="*/ 315849 h 506729"/>
                <a:gd name="connsiteX153" fmla="*/ 221171 w 853154"/>
                <a:gd name="connsiteY153" fmla="*/ 313754 h 506729"/>
                <a:gd name="connsiteX154" fmla="*/ 216694 w 853154"/>
                <a:gd name="connsiteY154" fmla="*/ 321564 h 506729"/>
                <a:gd name="connsiteX155" fmla="*/ 212503 w 853154"/>
                <a:gd name="connsiteY155" fmla="*/ 331184 h 506729"/>
                <a:gd name="connsiteX156" fmla="*/ 196405 w 853154"/>
                <a:gd name="connsiteY156" fmla="*/ 347853 h 506729"/>
                <a:gd name="connsiteX157" fmla="*/ 184976 w 853154"/>
                <a:gd name="connsiteY157" fmla="*/ 343948 h 506729"/>
                <a:gd name="connsiteX158" fmla="*/ 160592 w 853154"/>
                <a:gd name="connsiteY158" fmla="*/ 339947 h 506729"/>
                <a:gd name="connsiteX159" fmla="*/ 160115 w 853154"/>
                <a:gd name="connsiteY159" fmla="*/ 336328 h 506729"/>
                <a:gd name="connsiteX160" fmla="*/ 156305 w 853154"/>
                <a:gd name="connsiteY160" fmla="*/ 334994 h 506729"/>
                <a:gd name="connsiteX161" fmla="*/ 145828 w 853154"/>
                <a:gd name="connsiteY161" fmla="*/ 338233 h 506729"/>
                <a:gd name="connsiteX162" fmla="*/ 142685 w 853154"/>
                <a:gd name="connsiteY162" fmla="*/ 342329 h 506729"/>
                <a:gd name="connsiteX163" fmla="*/ 137255 w 853154"/>
                <a:gd name="connsiteY163" fmla="*/ 342995 h 506729"/>
                <a:gd name="connsiteX164" fmla="*/ 130207 w 853154"/>
                <a:gd name="connsiteY164" fmla="*/ 331184 h 506729"/>
                <a:gd name="connsiteX165" fmla="*/ 122396 w 853154"/>
                <a:gd name="connsiteY165" fmla="*/ 326803 h 506729"/>
                <a:gd name="connsiteX166" fmla="*/ 117538 w 853154"/>
                <a:gd name="connsiteY166" fmla="*/ 318421 h 506729"/>
                <a:gd name="connsiteX167" fmla="*/ 106966 w 853154"/>
                <a:gd name="connsiteY167" fmla="*/ 307086 h 506729"/>
                <a:gd name="connsiteX168" fmla="*/ 89345 w 853154"/>
                <a:gd name="connsiteY168" fmla="*/ 298513 h 506729"/>
                <a:gd name="connsiteX169" fmla="*/ 89821 w 853154"/>
                <a:gd name="connsiteY169" fmla="*/ 302133 h 506729"/>
                <a:gd name="connsiteX170" fmla="*/ 84487 w 853154"/>
                <a:gd name="connsiteY170" fmla="*/ 302800 h 506729"/>
                <a:gd name="connsiteX171" fmla="*/ 75343 w 853154"/>
                <a:gd name="connsiteY171" fmla="*/ 289560 h 506729"/>
                <a:gd name="connsiteX172" fmla="*/ 67723 w 853154"/>
                <a:gd name="connsiteY172" fmla="*/ 286893 h 506729"/>
                <a:gd name="connsiteX173" fmla="*/ 64389 w 853154"/>
                <a:gd name="connsiteY173" fmla="*/ 289179 h 506729"/>
                <a:gd name="connsiteX174" fmla="*/ 54959 w 853154"/>
                <a:gd name="connsiteY174" fmla="*/ 286798 h 506729"/>
                <a:gd name="connsiteX175" fmla="*/ 36957 w 853154"/>
                <a:gd name="connsiteY175" fmla="*/ 289179 h 506729"/>
                <a:gd name="connsiteX176" fmla="*/ 17145 w 853154"/>
                <a:gd name="connsiteY176" fmla="*/ 277273 h 506729"/>
                <a:gd name="connsiteX177" fmla="*/ 0 w 853154"/>
                <a:gd name="connsiteY177" fmla="*/ 272320 h 506729"/>
                <a:gd name="connsiteX178" fmla="*/ 9335 w 853154"/>
                <a:gd name="connsiteY178" fmla="*/ 260223 h 506729"/>
                <a:gd name="connsiteX179" fmla="*/ 11811 w 853154"/>
                <a:gd name="connsiteY179" fmla="*/ 250793 h 506729"/>
                <a:gd name="connsiteX180" fmla="*/ 17431 w 853154"/>
                <a:gd name="connsiteY180" fmla="*/ 251841 h 506729"/>
                <a:gd name="connsiteX181" fmla="*/ 22098 w 853154"/>
                <a:gd name="connsiteY181" fmla="*/ 245840 h 506729"/>
                <a:gd name="connsiteX182" fmla="*/ 27432 w 853154"/>
                <a:gd name="connsiteY182" fmla="*/ 245078 h 506729"/>
                <a:gd name="connsiteX183" fmla="*/ 20003 w 853154"/>
                <a:gd name="connsiteY183" fmla="*/ 244316 h 506729"/>
                <a:gd name="connsiteX184" fmla="*/ 18002 w 853154"/>
                <a:gd name="connsiteY184" fmla="*/ 242697 h 506729"/>
                <a:gd name="connsiteX185" fmla="*/ 19812 w 853154"/>
                <a:gd name="connsiteY185" fmla="*/ 242506 h 506729"/>
                <a:gd name="connsiteX186" fmla="*/ 22955 w 853154"/>
                <a:gd name="connsiteY186" fmla="*/ 238411 h 506729"/>
                <a:gd name="connsiteX187" fmla="*/ 26765 w 853154"/>
                <a:gd name="connsiteY187" fmla="*/ 239744 h 506729"/>
                <a:gd name="connsiteX188" fmla="*/ 29432 w 853154"/>
                <a:gd name="connsiteY188" fmla="*/ 232124 h 506729"/>
                <a:gd name="connsiteX189" fmla="*/ 27146 w 853154"/>
                <a:gd name="connsiteY189" fmla="*/ 228790 h 506729"/>
                <a:gd name="connsiteX190" fmla="*/ 25051 w 853154"/>
                <a:gd name="connsiteY190" fmla="*/ 227266 h 506729"/>
                <a:gd name="connsiteX191" fmla="*/ 30289 w 853154"/>
                <a:gd name="connsiteY191" fmla="*/ 224790 h 506729"/>
                <a:gd name="connsiteX192" fmla="*/ 36386 w 853154"/>
                <a:gd name="connsiteY192" fmla="*/ 229362 h 506729"/>
                <a:gd name="connsiteX193" fmla="*/ 37433 w 853154"/>
                <a:gd name="connsiteY193" fmla="*/ 223838 h 506729"/>
                <a:gd name="connsiteX194" fmla="*/ 41053 w 853154"/>
                <a:gd name="connsiteY194" fmla="*/ 223361 h 506729"/>
                <a:gd name="connsiteX195" fmla="*/ 42101 w 853154"/>
                <a:gd name="connsiteY195" fmla="*/ 217741 h 506729"/>
                <a:gd name="connsiteX196" fmla="*/ 45529 w 853154"/>
                <a:gd name="connsiteY196" fmla="*/ 215551 h 506729"/>
                <a:gd name="connsiteX197" fmla="*/ 44577 w 853154"/>
                <a:gd name="connsiteY197" fmla="*/ 208407 h 506729"/>
                <a:gd name="connsiteX198" fmla="*/ 40958 w 853154"/>
                <a:gd name="connsiteY198" fmla="*/ 208883 h 506729"/>
                <a:gd name="connsiteX199" fmla="*/ 38862 w 853154"/>
                <a:gd name="connsiteY199" fmla="*/ 207359 h 506729"/>
                <a:gd name="connsiteX200" fmla="*/ 44291 w 853154"/>
                <a:gd name="connsiteY200" fmla="*/ 206597 h 506729"/>
                <a:gd name="connsiteX201" fmla="*/ 61627 w 853154"/>
                <a:gd name="connsiteY201" fmla="*/ 213360 h 506729"/>
                <a:gd name="connsiteX202" fmla="*/ 56864 w 853154"/>
                <a:gd name="connsiteY202" fmla="*/ 204978 h 506729"/>
                <a:gd name="connsiteX203" fmla="*/ 67437 w 853154"/>
                <a:gd name="connsiteY203" fmla="*/ 201739 h 506729"/>
                <a:gd name="connsiteX204" fmla="*/ 69723 w 853154"/>
                <a:gd name="connsiteY204" fmla="*/ 205073 h 506729"/>
                <a:gd name="connsiteX205" fmla="*/ 72200 w 853154"/>
                <a:gd name="connsiteY205" fmla="*/ 210217 h 506729"/>
                <a:gd name="connsiteX206" fmla="*/ 78010 w 853154"/>
                <a:gd name="connsiteY206" fmla="*/ 212979 h 506729"/>
                <a:gd name="connsiteX207" fmla="*/ 75152 w 853154"/>
                <a:gd name="connsiteY207" fmla="*/ 218884 h 506729"/>
                <a:gd name="connsiteX208" fmla="*/ 75629 w 853154"/>
                <a:gd name="connsiteY208" fmla="*/ 222409 h 506729"/>
                <a:gd name="connsiteX209" fmla="*/ 83534 w 853154"/>
                <a:gd name="connsiteY209" fmla="*/ 226790 h 506729"/>
                <a:gd name="connsiteX210" fmla="*/ 87154 w 853154"/>
                <a:gd name="connsiteY210" fmla="*/ 226314 h 506729"/>
                <a:gd name="connsiteX211" fmla="*/ 92297 w 853154"/>
                <a:gd name="connsiteY211" fmla="*/ 223838 h 506729"/>
                <a:gd name="connsiteX212" fmla="*/ 94774 w 853154"/>
                <a:gd name="connsiteY212" fmla="*/ 228886 h 506729"/>
                <a:gd name="connsiteX213" fmla="*/ 96774 w 853154"/>
                <a:gd name="connsiteY213" fmla="*/ 230505 h 506729"/>
                <a:gd name="connsiteX214" fmla="*/ 101727 w 853154"/>
                <a:gd name="connsiteY214" fmla="*/ 226219 h 506729"/>
                <a:gd name="connsiteX215" fmla="*/ 102870 w 853154"/>
                <a:gd name="connsiteY215" fmla="*/ 220599 h 506729"/>
                <a:gd name="connsiteX216" fmla="*/ 100775 w 853154"/>
                <a:gd name="connsiteY216" fmla="*/ 219075 h 506729"/>
                <a:gd name="connsiteX217" fmla="*/ 107728 w 853154"/>
                <a:gd name="connsiteY217" fmla="*/ 216313 h 506729"/>
                <a:gd name="connsiteX218" fmla="*/ 107061 w 853154"/>
                <a:gd name="connsiteY218" fmla="*/ 210979 h 506729"/>
                <a:gd name="connsiteX219" fmla="*/ 114205 w 853154"/>
                <a:gd name="connsiteY219" fmla="*/ 210026 h 506729"/>
                <a:gd name="connsiteX220" fmla="*/ 110490 w 853154"/>
                <a:gd name="connsiteY220" fmla="*/ 196024 h 506729"/>
                <a:gd name="connsiteX221" fmla="*/ 112109 w 853154"/>
                <a:gd name="connsiteY221" fmla="*/ 194024 h 506729"/>
                <a:gd name="connsiteX222" fmla="*/ 119253 w 853154"/>
                <a:gd name="connsiteY222" fmla="*/ 193072 h 506729"/>
                <a:gd name="connsiteX223" fmla="*/ 123349 w 853154"/>
                <a:gd name="connsiteY223" fmla="*/ 196120 h 506729"/>
                <a:gd name="connsiteX224" fmla="*/ 126968 w 853154"/>
                <a:gd name="connsiteY224" fmla="*/ 195643 h 506729"/>
                <a:gd name="connsiteX225" fmla="*/ 129159 w 853154"/>
                <a:gd name="connsiteY225" fmla="*/ 198977 h 506729"/>
                <a:gd name="connsiteX226" fmla="*/ 132588 w 853154"/>
                <a:gd name="connsiteY226" fmla="*/ 196787 h 506729"/>
                <a:gd name="connsiteX227" fmla="*/ 140779 w 853154"/>
                <a:gd name="connsiteY227" fmla="*/ 190214 h 506729"/>
                <a:gd name="connsiteX228" fmla="*/ 151638 w 853154"/>
                <a:gd name="connsiteY228" fmla="*/ 188785 h 506729"/>
                <a:gd name="connsiteX229" fmla="*/ 152114 w 853154"/>
                <a:gd name="connsiteY229" fmla="*/ 192405 h 506729"/>
                <a:gd name="connsiteX230" fmla="*/ 162020 w 853154"/>
                <a:gd name="connsiteY230" fmla="*/ 198310 h 506729"/>
                <a:gd name="connsiteX231" fmla="*/ 164783 w 853154"/>
                <a:gd name="connsiteY231" fmla="*/ 205168 h 506729"/>
                <a:gd name="connsiteX232" fmla="*/ 169259 w 853154"/>
                <a:gd name="connsiteY232" fmla="*/ 211836 h 506729"/>
                <a:gd name="connsiteX233" fmla="*/ 173546 w 853154"/>
                <a:gd name="connsiteY233" fmla="*/ 216694 h 506729"/>
                <a:gd name="connsiteX234" fmla="*/ 176689 w 853154"/>
                <a:gd name="connsiteY234" fmla="*/ 212693 h 506729"/>
                <a:gd name="connsiteX235" fmla="*/ 180118 w 853154"/>
                <a:gd name="connsiteY235" fmla="*/ 210407 h 506729"/>
                <a:gd name="connsiteX236" fmla="*/ 181356 w 853154"/>
                <a:gd name="connsiteY236" fmla="*/ 206597 h 506729"/>
                <a:gd name="connsiteX237" fmla="*/ 184213 w 853154"/>
                <a:gd name="connsiteY237" fmla="*/ 200787 h 506729"/>
                <a:gd name="connsiteX238" fmla="*/ 180404 w 853154"/>
                <a:gd name="connsiteY238" fmla="*/ 199454 h 506729"/>
                <a:gd name="connsiteX239" fmla="*/ 181737 w 853154"/>
                <a:gd name="connsiteY239" fmla="*/ 195643 h 506729"/>
                <a:gd name="connsiteX240" fmla="*/ 179737 w 853154"/>
                <a:gd name="connsiteY240" fmla="*/ 194119 h 506729"/>
                <a:gd name="connsiteX241" fmla="*/ 183547 w 853154"/>
                <a:gd name="connsiteY241" fmla="*/ 195453 h 506729"/>
                <a:gd name="connsiteX242" fmla="*/ 187738 w 853154"/>
                <a:gd name="connsiteY242" fmla="*/ 185833 h 506729"/>
                <a:gd name="connsiteX243" fmla="*/ 195644 w 853154"/>
                <a:gd name="connsiteY243" fmla="*/ 190214 h 506729"/>
                <a:gd name="connsiteX244" fmla="*/ 198501 w 853154"/>
                <a:gd name="connsiteY244" fmla="*/ 184404 h 506729"/>
                <a:gd name="connsiteX245" fmla="*/ 196787 w 853154"/>
                <a:gd name="connsiteY245" fmla="*/ 184594 h 506729"/>
                <a:gd name="connsiteX246" fmla="*/ 198882 w 853154"/>
                <a:gd name="connsiteY246" fmla="*/ 173450 h 506729"/>
                <a:gd name="connsiteX247" fmla="*/ 198692 w 853154"/>
                <a:gd name="connsiteY247" fmla="*/ 171736 h 506729"/>
                <a:gd name="connsiteX248" fmla="*/ 204311 w 853154"/>
                <a:gd name="connsiteY248" fmla="*/ 172783 h 506729"/>
                <a:gd name="connsiteX249" fmla="*/ 218885 w 853154"/>
                <a:gd name="connsiteY249" fmla="*/ 172593 h 506729"/>
                <a:gd name="connsiteX250" fmla="*/ 228981 w 853154"/>
                <a:gd name="connsiteY250" fmla="*/ 165830 h 506729"/>
                <a:gd name="connsiteX251" fmla="*/ 231458 w 853154"/>
                <a:gd name="connsiteY251" fmla="*/ 156496 h 506729"/>
                <a:gd name="connsiteX252" fmla="*/ 233172 w 853154"/>
                <a:gd name="connsiteY252" fmla="*/ 156210 h 506729"/>
                <a:gd name="connsiteX253" fmla="*/ 238601 w 853154"/>
                <a:gd name="connsiteY253" fmla="*/ 155543 h 506729"/>
                <a:gd name="connsiteX254" fmla="*/ 239935 w 853154"/>
                <a:gd name="connsiteY254" fmla="*/ 151733 h 506729"/>
                <a:gd name="connsiteX255" fmla="*/ 241745 w 853154"/>
                <a:gd name="connsiteY255" fmla="*/ 151447 h 506729"/>
                <a:gd name="connsiteX256" fmla="*/ 241459 w 853154"/>
                <a:gd name="connsiteY256" fmla="*/ 149733 h 506729"/>
                <a:gd name="connsiteX257" fmla="*/ 234029 w 853154"/>
                <a:gd name="connsiteY257" fmla="*/ 148876 h 506729"/>
                <a:gd name="connsiteX258" fmla="*/ 236982 w 853154"/>
                <a:gd name="connsiteY258" fmla="*/ 143065 h 506729"/>
                <a:gd name="connsiteX259" fmla="*/ 247269 w 853154"/>
                <a:gd name="connsiteY259" fmla="*/ 138017 h 506729"/>
                <a:gd name="connsiteX260" fmla="*/ 248793 w 853154"/>
                <a:gd name="connsiteY260" fmla="*/ 136017 h 506729"/>
                <a:gd name="connsiteX261" fmla="*/ 253460 w 853154"/>
                <a:gd name="connsiteY261" fmla="*/ 130016 h 506729"/>
                <a:gd name="connsiteX262" fmla="*/ 261366 w 853154"/>
                <a:gd name="connsiteY262" fmla="*/ 134398 h 506729"/>
                <a:gd name="connsiteX263" fmla="*/ 267653 w 853154"/>
                <a:gd name="connsiteY263" fmla="*/ 126301 h 506729"/>
                <a:gd name="connsiteX264" fmla="*/ 275272 w 853154"/>
                <a:gd name="connsiteY264" fmla="*/ 128873 h 506729"/>
                <a:gd name="connsiteX265" fmla="*/ 279940 w 853154"/>
                <a:gd name="connsiteY265" fmla="*/ 122872 h 506729"/>
                <a:gd name="connsiteX266" fmla="*/ 289846 w 853154"/>
                <a:gd name="connsiteY266" fmla="*/ 128778 h 506729"/>
                <a:gd name="connsiteX267" fmla="*/ 295275 w 853154"/>
                <a:gd name="connsiteY267" fmla="*/ 128111 h 506729"/>
                <a:gd name="connsiteX268" fmla="*/ 296037 w 853154"/>
                <a:gd name="connsiteY268" fmla="*/ 133445 h 506729"/>
                <a:gd name="connsiteX269" fmla="*/ 302895 w 853154"/>
                <a:gd name="connsiteY269" fmla="*/ 130683 h 506729"/>
                <a:gd name="connsiteX270" fmla="*/ 300704 w 853154"/>
                <a:gd name="connsiteY270" fmla="*/ 127349 h 506729"/>
                <a:gd name="connsiteX271" fmla="*/ 301943 w 853154"/>
                <a:gd name="connsiteY271" fmla="*/ 123539 h 506729"/>
                <a:gd name="connsiteX272" fmla="*/ 305848 w 853154"/>
                <a:gd name="connsiteY272" fmla="*/ 124873 h 506729"/>
                <a:gd name="connsiteX273" fmla="*/ 307658 w 853154"/>
                <a:gd name="connsiteY273" fmla="*/ 124587 h 506729"/>
                <a:gd name="connsiteX274" fmla="*/ 305086 w 853154"/>
                <a:gd name="connsiteY274" fmla="*/ 119539 h 506729"/>
                <a:gd name="connsiteX275" fmla="*/ 308705 w 853154"/>
                <a:gd name="connsiteY275" fmla="*/ 119063 h 506729"/>
                <a:gd name="connsiteX276" fmla="*/ 308229 w 853154"/>
                <a:gd name="connsiteY276" fmla="*/ 115443 h 506729"/>
                <a:gd name="connsiteX277" fmla="*/ 304419 w 853154"/>
                <a:gd name="connsiteY277" fmla="*/ 114205 h 506729"/>
                <a:gd name="connsiteX278" fmla="*/ 310610 w 853154"/>
                <a:gd name="connsiteY278" fmla="*/ 106108 h 506729"/>
                <a:gd name="connsiteX279" fmla="*/ 309944 w 853154"/>
                <a:gd name="connsiteY279" fmla="*/ 100774 h 506729"/>
                <a:gd name="connsiteX280" fmla="*/ 312992 w 853154"/>
                <a:gd name="connsiteY280" fmla="*/ 96679 h 506729"/>
                <a:gd name="connsiteX281" fmla="*/ 312134 w 853154"/>
                <a:gd name="connsiteY281" fmla="*/ 89630 h 506729"/>
                <a:gd name="connsiteX282" fmla="*/ 314135 w 853154"/>
                <a:gd name="connsiteY282" fmla="*/ 91154 h 506729"/>
                <a:gd name="connsiteX283" fmla="*/ 319564 w 853154"/>
                <a:gd name="connsiteY283" fmla="*/ 90392 h 506729"/>
                <a:gd name="connsiteX284" fmla="*/ 333089 w 853154"/>
                <a:gd name="connsiteY284" fmla="*/ 95917 h 506729"/>
                <a:gd name="connsiteX285" fmla="*/ 335280 w 853154"/>
                <a:gd name="connsiteY285" fmla="*/ 99250 h 506729"/>
                <a:gd name="connsiteX286" fmla="*/ 327851 w 853154"/>
                <a:gd name="connsiteY286" fmla="*/ 98393 h 506729"/>
                <a:gd name="connsiteX287" fmla="*/ 328327 w 853154"/>
                <a:gd name="connsiteY287" fmla="*/ 101917 h 506729"/>
                <a:gd name="connsiteX288" fmla="*/ 332232 w 853154"/>
                <a:gd name="connsiteY288" fmla="*/ 103251 h 506729"/>
                <a:gd name="connsiteX289" fmla="*/ 337376 w 853154"/>
                <a:gd name="connsiteY289" fmla="*/ 100774 h 506729"/>
                <a:gd name="connsiteX290" fmla="*/ 339662 w 853154"/>
                <a:gd name="connsiteY290" fmla="*/ 104108 h 506729"/>
                <a:gd name="connsiteX291" fmla="*/ 345853 w 853154"/>
                <a:gd name="connsiteY291" fmla="*/ 96012 h 506729"/>
                <a:gd name="connsiteX292" fmla="*/ 355949 w 853154"/>
                <a:gd name="connsiteY292" fmla="*/ 89249 h 506729"/>
                <a:gd name="connsiteX293" fmla="*/ 353663 w 853154"/>
                <a:gd name="connsiteY293" fmla="*/ 85915 h 506729"/>
                <a:gd name="connsiteX294" fmla="*/ 352044 w 853154"/>
                <a:gd name="connsiteY294" fmla="*/ 73438 h 506729"/>
                <a:gd name="connsiteX295" fmla="*/ 365760 w 853154"/>
                <a:gd name="connsiteY295" fmla="*/ 80677 h 506729"/>
                <a:gd name="connsiteX296" fmla="*/ 371761 w 853154"/>
                <a:gd name="connsiteY296" fmla="*/ 70866 h 506729"/>
                <a:gd name="connsiteX297" fmla="*/ 380047 w 853154"/>
                <a:gd name="connsiteY297" fmla="*/ 64294 h 506729"/>
                <a:gd name="connsiteX298" fmla="*/ 384143 w 853154"/>
                <a:gd name="connsiteY298" fmla="*/ 67342 h 506729"/>
                <a:gd name="connsiteX299" fmla="*/ 383000 w 853154"/>
                <a:gd name="connsiteY299" fmla="*/ 72962 h 506729"/>
                <a:gd name="connsiteX300" fmla="*/ 385477 w 853154"/>
                <a:gd name="connsiteY300" fmla="*/ 78105 h 506729"/>
                <a:gd name="connsiteX301" fmla="*/ 389382 w 853154"/>
                <a:gd name="connsiteY301" fmla="*/ 79343 h 506729"/>
                <a:gd name="connsiteX302" fmla="*/ 389572 w 853154"/>
                <a:gd name="connsiteY302" fmla="*/ 81153 h 506729"/>
                <a:gd name="connsiteX303" fmla="*/ 388048 w 853154"/>
                <a:gd name="connsiteY303" fmla="*/ 83153 h 506729"/>
                <a:gd name="connsiteX304" fmla="*/ 390525 w 853154"/>
                <a:gd name="connsiteY304" fmla="*/ 88297 h 506729"/>
                <a:gd name="connsiteX305" fmla="*/ 386715 w 853154"/>
                <a:gd name="connsiteY305" fmla="*/ 86963 h 506729"/>
                <a:gd name="connsiteX306" fmla="*/ 386905 w 853154"/>
                <a:gd name="connsiteY306" fmla="*/ 88773 h 506729"/>
                <a:gd name="connsiteX307" fmla="*/ 390716 w 853154"/>
                <a:gd name="connsiteY307" fmla="*/ 90106 h 506729"/>
                <a:gd name="connsiteX308" fmla="*/ 394811 w 853154"/>
                <a:gd name="connsiteY308" fmla="*/ 93154 h 506729"/>
                <a:gd name="connsiteX309" fmla="*/ 396621 w 853154"/>
                <a:gd name="connsiteY309" fmla="*/ 92869 h 506729"/>
                <a:gd name="connsiteX310" fmla="*/ 395954 w 853154"/>
                <a:gd name="connsiteY310" fmla="*/ 87535 h 506729"/>
                <a:gd name="connsiteX311" fmla="*/ 397669 w 853154"/>
                <a:gd name="connsiteY311" fmla="*/ 87344 h 506729"/>
                <a:gd name="connsiteX312" fmla="*/ 400241 w 853154"/>
                <a:gd name="connsiteY312" fmla="*/ 92392 h 506729"/>
                <a:gd name="connsiteX313" fmla="*/ 398431 w 853154"/>
                <a:gd name="connsiteY313" fmla="*/ 92678 h 506729"/>
                <a:gd name="connsiteX314" fmla="*/ 398907 w 853154"/>
                <a:gd name="connsiteY314" fmla="*/ 96298 h 506729"/>
                <a:gd name="connsiteX315" fmla="*/ 408813 w 853154"/>
                <a:gd name="connsiteY315" fmla="*/ 102203 h 506729"/>
                <a:gd name="connsiteX316" fmla="*/ 416433 w 853154"/>
                <a:gd name="connsiteY316" fmla="*/ 104775 h 506729"/>
                <a:gd name="connsiteX317" fmla="*/ 425482 w 853154"/>
                <a:gd name="connsiteY317" fmla="*/ 103632 h 506729"/>
                <a:gd name="connsiteX318" fmla="*/ 428816 w 853154"/>
                <a:gd name="connsiteY318" fmla="*/ 101346 h 506729"/>
                <a:gd name="connsiteX319" fmla="*/ 436245 w 853154"/>
                <a:gd name="connsiteY319" fmla="*/ 102203 h 506729"/>
                <a:gd name="connsiteX320" fmla="*/ 438626 w 853154"/>
                <a:gd name="connsiteY320" fmla="*/ 92773 h 506729"/>
                <a:gd name="connsiteX321" fmla="*/ 445865 w 853154"/>
                <a:gd name="connsiteY321" fmla="*/ 91821 h 506729"/>
                <a:gd name="connsiteX322" fmla="*/ 446627 w 853154"/>
                <a:gd name="connsiteY322" fmla="*/ 84487 h 506729"/>
                <a:gd name="connsiteX323" fmla="*/ 442627 w 853154"/>
                <a:gd name="connsiteY323" fmla="*/ 81343 h 506729"/>
                <a:gd name="connsiteX324" fmla="*/ 443960 w 853154"/>
                <a:gd name="connsiteY324" fmla="*/ 77533 h 506729"/>
                <a:gd name="connsiteX325" fmla="*/ 447580 w 853154"/>
                <a:gd name="connsiteY325" fmla="*/ 77057 h 506729"/>
                <a:gd name="connsiteX326" fmla="*/ 449580 w 853154"/>
                <a:gd name="connsiteY326" fmla="*/ 78676 h 506729"/>
                <a:gd name="connsiteX327" fmla="*/ 450247 w 853154"/>
                <a:gd name="connsiteY327" fmla="*/ 84010 h 506729"/>
                <a:gd name="connsiteX328" fmla="*/ 455676 w 853154"/>
                <a:gd name="connsiteY328" fmla="*/ 83248 h 506729"/>
                <a:gd name="connsiteX329" fmla="*/ 457962 w 853154"/>
                <a:gd name="connsiteY329" fmla="*/ 86582 h 506729"/>
                <a:gd name="connsiteX330" fmla="*/ 461296 w 853154"/>
                <a:gd name="connsiteY330" fmla="*/ 84391 h 506729"/>
                <a:gd name="connsiteX331" fmla="*/ 464915 w 853154"/>
                <a:gd name="connsiteY331" fmla="*/ 83915 h 506729"/>
                <a:gd name="connsiteX332" fmla="*/ 473012 w 853154"/>
                <a:gd name="connsiteY332" fmla="*/ 90011 h 506729"/>
                <a:gd name="connsiteX333" fmla="*/ 476821 w 853154"/>
                <a:gd name="connsiteY333" fmla="*/ 91345 h 506729"/>
                <a:gd name="connsiteX334" fmla="*/ 479965 w 853154"/>
                <a:gd name="connsiteY334" fmla="*/ 87344 h 506729"/>
                <a:gd name="connsiteX335" fmla="*/ 485585 w 853154"/>
                <a:gd name="connsiteY335" fmla="*/ 88392 h 506729"/>
                <a:gd name="connsiteX336" fmla="*/ 490347 w 853154"/>
                <a:gd name="connsiteY336" fmla="*/ 96869 h 506729"/>
                <a:gd name="connsiteX337" fmla="*/ 494157 w 853154"/>
                <a:gd name="connsiteY337" fmla="*/ 98107 h 506729"/>
                <a:gd name="connsiteX338" fmla="*/ 495776 w 853154"/>
                <a:gd name="connsiteY338" fmla="*/ 96107 h 506729"/>
                <a:gd name="connsiteX339" fmla="*/ 493014 w 853154"/>
                <a:gd name="connsiteY339" fmla="*/ 89249 h 506729"/>
                <a:gd name="connsiteX340" fmla="*/ 494538 w 853154"/>
                <a:gd name="connsiteY340" fmla="*/ 87154 h 506729"/>
                <a:gd name="connsiteX341" fmla="*/ 498158 w 853154"/>
                <a:gd name="connsiteY341" fmla="*/ 86677 h 506729"/>
                <a:gd name="connsiteX342" fmla="*/ 505778 w 853154"/>
                <a:gd name="connsiteY342" fmla="*/ 89344 h 506729"/>
                <a:gd name="connsiteX343" fmla="*/ 507111 w 853154"/>
                <a:gd name="connsiteY343" fmla="*/ 85534 h 506729"/>
                <a:gd name="connsiteX344" fmla="*/ 510730 w 853154"/>
                <a:gd name="connsiteY344" fmla="*/ 85058 h 506729"/>
                <a:gd name="connsiteX345" fmla="*/ 522446 w 853154"/>
                <a:gd name="connsiteY345" fmla="*/ 90773 h 506729"/>
                <a:gd name="connsiteX346" fmla="*/ 525589 w 853154"/>
                <a:gd name="connsiteY346" fmla="*/ 86677 h 506729"/>
                <a:gd name="connsiteX347" fmla="*/ 528923 w 853154"/>
                <a:gd name="connsiteY347" fmla="*/ 84487 h 506729"/>
                <a:gd name="connsiteX348" fmla="*/ 525113 w 853154"/>
                <a:gd name="connsiteY348" fmla="*/ 83153 h 506729"/>
                <a:gd name="connsiteX349" fmla="*/ 528447 w 853154"/>
                <a:gd name="connsiteY349" fmla="*/ 80867 h 506729"/>
                <a:gd name="connsiteX350" fmla="*/ 527971 w 853154"/>
                <a:gd name="connsiteY350" fmla="*/ 77343 h 506729"/>
                <a:gd name="connsiteX351" fmla="*/ 533400 w 853154"/>
                <a:gd name="connsiteY351" fmla="*/ 76676 h 506729"/>
                <a:gd name="connsiteX352" fmla="*/ 535591 w 853154"/>
                <a:gd name="connsiteY352" fmla="*/ 79915 h 506729"/>
                <a:gd name="connsiteX353" fmla="*/ 547783 w 853154"/>
                <a:gd name="connsiteY353" fmla="*/ 74771 h 506729"/>
                <a:gd name="connsiteX354" fmla="*/ 547306 w 853154"/>
                <a:gd name="connsiteY354" fmla="*/ 71152 h 506729"/>
                <a:gd name="connsiteX355" fmla="*/ 541401 w 853154"/>
                <a:gd name="connsiteY355" fmla="*/ 68294 h 506729"/>
                <a:gd name="connsiteX356" fmla="*/ 540925 w 853154"/>
                <a:gd name="connsiteY356" fmla="*/ 64770 h 506729"/>
                <a:gd name="connsiteX357" fmla="*/ 531209 w 853154"/>
                <a:gd name="connsiteY357" fmla="*/ 60579 h 506729"/>
                <a:gd name="connsiteX358" fmla="*/ 537496 w 853154"/>
                <a:gd name="connsiteY358" fmla="*/ 52483 h 506729"/>
                <a:gd name="connsiteX359" fmla="*/ 535496 w 853154"/>
                <a:gd name="connsiteY359" fmla="*/ 50959 h 506729"/>
                <a:gd name="connsiteX360" fmla="*/ 539020 w 853154"/>
                <a:gd name="connsiteY360" fmla="*/ 50482 h 506729"/>
                <a:gd name="connsiteX361" fmla="*/ 552736 w 853154"/>
                <a:gd name="connsiteY361" fmla="*/ 43243 h 506729"/>
                <a:gd name="connsiteX362" fmla="*/ 556260 w 853154"/>
                <a:gd name="connsiteY362" fmla="*/ 42767 h 506729"/>
                <a:gd name="connsiteX363" fmla="*/ 563023 w 853154"/>
                <a:gd name="connsiteY363" fmla="*/ 38290 h 506729"/>
                <a:gd name="connsiteX364" fmla="*/ 566642 w 853154"/>
                <a:gd name="connsiteY364" fmla="*/ 37814 h 506729"/>
                <a:gd name="connsiteX365" fmla="*/ 576263 w 853154"/>
                <a:gd name="connsiteY365" fmla="*/ 41910 h 506729"/>
                <a:gd name="connsiteX366" fmla="*/ 579406 w 853154"/>
                <a:gd name="connsiteY366" fmla="*/ 37909 h 506729"/>
                <a:gd name="connsiteX367" fmla="*/ 587026 w 853154"/>
                <a:gd name="connsiteY367" fmla="*/ 40576 h 506729"/>
                <a:gd name="connsiteX368" fmla="*/ 593979 w 853154"/>
                <a:gd name="connsiteY368" fmla="*/ 37814 h 506729"/>
                <a:gd name="connsiteX369" fmla="*/ 605219 w 853154"/>
                <a:gd name="connsiteY369" fmla="*/ 39910 h 506729"/>
                <a:gd name="connsiteX370" fmla="*/ 609981 w 853154"/>
                <a:gd name="connsiteY370" fmla="*/ 33909 h 506729"/>
                <a:gd name="connsiteX371" fmla="*/ 609505 w 853154"/>
                <a:gd name="connsiteY371" fmla="*/ 30289 h 506729"/>
                <a:gd name="connsiteX372" fmla="*/ 614172 w 853154"/>
                <a:gd name="connsiteY372" fmla="*/ 24193 h 506729"/>
                <a:gd name="connsiteX373" fmla="*/ 619506 w 853154"/>
                <a:gd name="connsiteY373" fmla="*/ 23527 h 506729"/>
                <a:gd name="connsiteX374" fmla="*/ 619030 w 853154"/>
                <a:gd name="connsiteY374" fmla="*/ 20002 h 506729"/>
                <a:gd name="connsiteX375" fmla="*/ 611981 w 853154"/>
                <a:gd name="connsiteY375" fmla="*/ 8191 h 506729"/>
                <a:gd name="connsiteX376" fmla="*/ 613315 w 853154"/>
                <a:gd name="connsiteY376" fmla="*/ 4381 h 506729"/>
                <a:gd name="connsiteX377" fmla="*/ 618554 w 853154"/>
                <a:gd name="connsiteY377" fmla="*/ 1905 h 506729"/>
                <a:gd name="connsiteX378" fmla="*/ 627697 w 853154"/>
                <a:gd name="connsiteY378" fmla="*/ 2476 h 506729"/>
                <a:gd name="connsiteX379" fmla="*/ 632841 w 853154"/>
                <a:gd name="connsiteY379" fmla="*/ 0 h 506729"/>
                <a:gd name="connsiteX380" fmla="*/ 638461 w 853154"/>
                <a:gd name="connsiteY380" fmla="*/ 1048 h 506729"/>
                <a:gd name="connsiteX381" fmla="*/ 635889 w 853154"/>
                <a:gd name="connsiteY381" fmla="*/ 8668 h 506729"/>
                <a:gd name="connsiteX382" fmla="*/ 636365 w 853154"/>
                <a:gd name="connsiteY382" fmla="*/ 12192 h 506729"/>
                <a:gd name="connsiteX383" fmla="*/ 649796 w 853154"/>
                <a:gd name="connsiteY383" fmla="*/ 3238 h 506729"/>
                <a:gd name="connsiteX384" fmla="*/ 661226 w 853154"/>
                <a:gd name="connsiteY384" fmla="*/ 7144 h 506729"/>
                <a:gd name="connsiteX385" fmla="*/ 659321 w 853154"/>
                <a:gd name="connsiteY385" fmla="*/ 20098 h 506729"/>
                <a:gd name="connsiteX386" fmla="*/ 660273 w 853154"/>
                <a:gd name="connsiteY386" fmla="*/ 27241 h 506729"/>
                <a:gd name="connsiteX387" fmla="*/ 669703 w 853154"/>
                <a:gd name="connsiteY387" fmla="*/ 29623 h 506729"/>
                <a:gd name="connsiteX388" fmla="*/ 667036 w 853154"/>
                <a:gd name="connsiteY388" fmla="*/ 37147 h 506729"/>
                <a:gd name="connsiteX389" fmla="*/ 668846 w 853154"/>
                <a:gd name="connsiteY389" fmla="*/ 36957 h 506729"/>
                <a:gd name="connsiteX390" fmla="*/ 673798 w 853154"/>
                <a:gd name="connsiteY390" fmla="*/ 32671 h 506729"/>
                <a:gd name="connsiteX391" fmla="*/ 679418 w 853154"/>
                <a:gd name="connsiteY391" fmla="*/ 33718 h 506729"/>
                <a:gd name="connsiteX392" fmla="*/ 684467 w 853154"/>
                <a:gd name="connsiteY392" fmla="*/ 31242 h 506729"/>
                <a:gd name="connsiteX393" fmla="*/ 702278 w 853154"/>
                <a:gd name="connsiteY393" fmla="*/ 27051 h 506729"/>
                <a:gd name="connsiteX394" fmla="*/ 708851 w 853154"/>
                <a:gd name="connsiteY394" fmla="*/ 35242 h 506729"/>
                <a:gd name="connsiteX395" fmla="*/ 710375 w 853154"/>
                <a:gd name="connsiteY395" fmla="*/ 33242 h 506729"/>
                <a:gd name="connsiteX396" fmla="*/ 713613 w 853154"/>
                <a:gd name="connsiteY396" fmla="*/ 43720 h 506729"/>
                <a:gd name="connsiteX397" fmla="*/ 725329 w 853154"/>
                <a:gd name="connsiteY397" fmla="*/ 49435 h 506729"/>
                <a:gd name="connsiteX398" fmla="*/ 730282 w 853154"/>
                <a:gd name="connsiteY398" fmla="*/ 45148 h 506729"/>
                <a:gd name="connsiteX399" fmla="*/ 737045 w 853154"/>
                <a:gd name="connsiteY399" fmla="*/ 55054 h 506729"/>
                <a:gd name="connsiteX400" fmla="*/ 737711 w 853154"/>
                <a:gd name="connsiteY400" fmla="*/ 60484 h 506729"/>
                <a:gd name="connsiteX401" fmla="*/ 744093 w 853154"/>
                <a:gd name="connsiteY401" fmla="*/ 66865 h 506729"/>
                <a:gd name="connsiteX402" fmla="*/ 746570 w 853154"/>
                <a:gd name="connsiteY402" fmla="*/ 72009 h 506729"/>
                <a:gd name="connsiteX403" fmla="*/ 757238 w 853154"/>
                <a:gd name="connsiteY403" fmla="*/ 56102 h 506729"/>
                <a:gd name="connsiteX404" fmla="*/ 769144 w 853154"/>
                <a:gd name="connsiteY404" fmla="*/ 49054 h 506729"/>
                <a:gd name="connsiteX405" fmla="*/ 776097 w 853154"/>
                <a:gd name="connsiteY405" fmla="*/ 46291 h 506729"/>
                <a:gd name="connsiteX406" fmla="*/ 779907 w 853154"/>
                <a:gd name="connsiteY406" fmla="*/ 47625 h 506729"/>
                <a:gd name="connsiteX407" fmla="*/ 780193 w 853154"/>
                <a:gd name="connsiteY407" fmla="*/ 49435 h 506729"/>
                <a:gd name="connsiteX408" fmla="*/ 794956 w 853154"/>
                <a:gd name="connsiteY408" fmla="*/ 51054 h 506729"/>
                <a:gd name="connsiteX409" fmla="*/ 794956 w 853154"/>
                <a:gd name="connsiteY409" fmla="*/ 51054 h 506729"/>
                <a:gd name="connsiteX410" fmla="*/ 791909 w 853154"/>
                <a:gd name="connsiteY410" fmla="*/ 55150 h 506729"/>
                <a:gd name="connsiteX411" fmla="*/ 793909 w 853154"/>
                <a:gd name="connsiteY411" fmla="*/ 56674 h 506729"/>
                <a:gd name="connsiteX412" fmla="*/ 799529 w 853154"/>
                <a:gd name="connsiteY412" fmla="*/ 57721 h 506729"/>
                <a:gd name="connsiteX413" fmla="*/ 798005 w 853154"/>
                <a:gd name="connsiteY413" fmla="*/ 59722 h 506729"/>
                <a:gd name="connsiteX414" fmla="*/ 802005 w 853154"/>
                <a:gd name="connsiteY414" fmla="*/ 62865 h 506729"/>
                <a:gd name="connsiteX415" fmla="*/ 811721 w 853154"/>
                <a:gd name="connsiteY415" fmla="*/ 66961 h 506729"/>
                <a:gd name="connsiteX416" fmla="*/ 830294 w 853154"/>
                <a:gd name="connsiteY416" fmla="*/ 82677 h 506729"/>
                <a:gd name="connsiteX417" fmla="*/ 828866 w 853154"/>
                <a:gd name="connsiteY417" fmla="*/ 86487 h 506729"/>
                <a:gd name="connsiteX418" fmla="*/ 831152 w 853154"/>
                <a:gd name="connsiteY418" fmla="*/ 89821 h 506729"/>
                <a:gd name="connsiteX419" fmla="*/ 826294 w 853154"/>
                <a:gd name="connsiteY419" fmla="*/ 94107 h 506729"/>
                <a:gd name="connsiteX420" fmla="*/ 834676 w 853154"/>
                <a:gd name="connsiteY420" fmla="*/ 102013 h 506729"/>
                <a:gd name="connsiteX421" fmla="*/ 836200 w 853154"/>
                <a:gd name="connsiteY421" fmla="*/ 100013 h 506729"/>
                <a:gd name="connsiteX422" fmla="*/ 847249 w 853154"/>
                <a:gd name="connsiteY422" fmla="*/ 114871 h 506729"/>
                <a:gd name="connsiteX423" fmla="*/ 844201 w 853154"/>
                <a:gd name="connsiteY423" fmla="*/ 118872 h 506729"/>
                <a:gd name="connsiteX424" fmla="*/ 850297 w 853154"/>
                <a:gd name="connsiteY424" fmla="*/ 123539 h 506729"/>
                <a:gd name="connsiteX425" fmla="*/ 843820 w 853154"/>
                <a:gd name="connsiteY425" fmla="*/ 129826 h 506729"/>
                <a:gd name="connsiteX426" fmla="*/ 842486 w 853154"/>
                <a:gd name="connsiteY426" fmla="*/ 133636 h 50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</a:cxnLst>
              <a:rect l="l" t="t" r="r" b="b"/>
              <a:pathLst>
                <a:path w="853154" h="506729">
                  <a:moveTo>
                    <a:pt x="842486" y="133636"/>
                  </a:moveTo>
                  <a:lnTo>
                    <a:pt x="834390" y="141922"/>
                  </a:lnTo>
                  <a:lnTo>
                    <a:pt x="848201" y="149162"/>
                  </a:lnTo>
                  <a:lnTo>
                    <a:pt x="845344" y="154972"/>
                  </a:lnTo>
                  <a:lnTo>
                    <a:pt x="853154" y="159448"/>
                  </a:lnTo>
                  <a:lnTo>
                    <a:pt x="847154" y="169259"/>
                  </a:lnTo>
                  <a:lnTo>
                    <a:pt x="842010" y="171736"/>
                  </a:lnTo>
                  <a:lnTo>
                    <a:pt x="842486" y="175355"/>
                  </a:lnTo>
                  <a:lnTo>
                    <a:pt x="829913" y="176974"/>
                  </a:lnTo>
                  <a:lnTo>
                    <a:pt x="832961" y="185642"/>
                  </a:lnTo>
                  <a:lnTo>
                    <a:pt x="842391" y="188023"/>
                  </a:lnTo>
                  <a:lnTo>
                    <a:pt x="833247" y="201930"/>
                  </a:lnTo>
                  <a:lnTo>
                    <a:pt x="827151" y="197263"/>
                  </a:lnTo>
                  <a:lnTo>
                    <a:pt x="819531" y="209169"/>
                  </a:lnTo>
                  <a:lnTo>
                    <a:pt x="815816" y="222409"/>
                  </a:lnTo>
                  <a:lnTo>
                    <a:pt x="838581" y="228409"/>
                  </a:lnTo>
                  <a:lnTo>
                    <a:pt x="842867" y="233267"/>
                  </a:lnTo>
                  <a:lnTo>
                    <a:pt x="848963" y="237934"/>
                  </a:lnTo>
                  <a:lnTo>
                    <a:pt x="850202" y="261366"/>
                  </a:lnTo>
                  <a:lnTo>
                    <a:pt x="828008" y="273367"/>
                  </a:lnTo>
                  <a:lnTo>
                    <a:pt x="822008" y="283178"/>
                  </a:lnTo>
                  <a:lnTo>
                    <a:pt x="813149" y="298894"/>
                  </a:lnTo>
                  <a:lnTo>
                    <a:pt x="819245" y="303466"/>
                  </a:lnTo>
                  <a:lnTo>
                    <a:pt x="813911" y="318706"/>
                  </a:lnTo>
                  <a:lnTo>
                    <a:pt x="810101" y="317373"/>
                  </a:lnTo>
                  <a:lnTo>
                    <a:pt x="812673" y="322516"/>
                  </a:lnTo>
                  <a:lnTo>
                    <a:pt x="805339" y="336137"/>
                  </a:lnTo>
                  <a:lnTo>
                    <a:pt x="802196" y="340233"/>
                  </a:lnTo>
                  <a:lnTo>
                    <a:pt x="806291" y="343281"/>
                  </a:lnTo>
                  <a:lnTo>
                    <a:pt x="812006" y="358807"/>
                  </a:lnTo>
                  <a:lnTo>
                    <a:pt x="811339" y="367951"/>
                  </a:lnTo>
                  <a:lnTo>
                    <a:pt x="808672" y="375571"/>
                  </a:lnTo>
                  <a:lnTo>
                    <a:pt x="809149" y="379190"/>
                  </a:lnTo>
                  <a:lnTo>
                    <a:pt x="826008" y="382333"/>
                  </a:lnTo>
                  <a:lnTo>
                    <a:pt x="837724" y="388048"/>
                  </a:lnTo>
                  <a:lnTo>
                    <a:pt x="842105" y="392906"/>
                  </a:lnTo>
                  <a:lnTo>
                    <a:pt x="838676" y="395192"/>
                  </a:lnTo>
                  <a:lnTo>
                    <a:pt x="840677" y="396716"/>
                  </a:lnTo>
                  <a:lnTo>
                    <a:pt x="840962" y="398526"/>
                  </a:lnTo>
                  <a:lnTo>
                    <a:pt x="830866" y="405289"/>
                  </a:lnTo>
                  <a:lnTo>
                    <a:pt x="828008" y="411099"/>
                  </a:lnTo>
                  <a:lnTo>
                    <a:pt x="829151" y="420052"/>
                  </a:lnTo>
                  <a:lnTo>
                    <a:pt x="821436" y="430149"/>
                  </a:lnTo>
                  <a:lnTo>
                    <a:pt x="817150" y="439769"/>
                  </a:lnTo>
                  <a:lnTo>
                    <a:pt x="817436" y="441579"/>
                  </a:lnTo>
                  <a:lnTo>
                    <a:pt x="821246" y="442817"/>
                  </a:lnTo>
                  <a:lnTo>
                    <a:pt x="818579" y="450437"/>
                  </a:lnTo>
                  <a:lnTo>
                    <a:pt x="813911" y="456533"/>
                  </a:lnTo>
                  <a:lnTo>
                    <a:pt x="805148" y="459486"/>
                  </a:lnTo>
                  <a:lnTo>
                    <a:pt x="799147" y="469297"/>
                  </a:lnTo>
                  <a:lnTo>
                    <a:pt x="798100" y="474916"/>
                  </a:lnTo>
                  <a:lnTo>
                    <a:pt x="796290" y="475107"/>
                  </a:lnTo>
                  <a:lnTo>
                    <a:pt x="794099" y="486346"/>
                  </a:lnTo>
                  <a:lnTo>
                    <a:pt x="790766" y="488632"/>
                  </a:lnTo>
                  <a:lnTo>
                    <a:pt x="788670" y="487013"/>
                  </a:lnTo>
                  <a:lnTo>
                    <a:pt x="780383" y="493585"/>
                  </a:lnTo>
                  <a:lnTo>
                    <a:pt x="778193" y="490252"/>
                  </a:lnTo>
                  <a:lnTo>
                    <a:pt x="776383" y="490538"/>
                  </a:lnTo>
                  <a:lnTo>
                    <a:pt x="775049" y="494252"/>
                  </a:lnTo>
                  <a:lnTo>
                    <a:pt x="773525" y="496348"/>
                  </a:lnTo>
                  <a:lnTo>
                    <a:pt x="770572" y="502063"/>
                  </a:lnTo>
                  <a:lnTo>
                    <a:pt x="769048" y="504158"/>
                  </a:lnTo>
                  <a:lnTo>
                    <a:pt x="765429" y="504634"/>
                  </a:lnTo>
                  <a:lnTo>
                    <a:pt x="765238" y="502825"/>
                  </a:lnTo>
                  <a:lnTo>
                    <a:pt x="749332" y="506730"/>
                  </a:lnTo>
                  <a:lnTo>
                    <a:pt x="748760" y="503206"/>
                  </a:lnTo>
                  <a:lnTo>
                    <a:pt x="747046" y="503396"/>
                  </a:lnTo>
                  <a:lnTo>
                    <a:pt x="742664" y="498538"/>
                  </a:lnTo>
                  <a:lnTo>
                    <a:pt x="747617" y="494252"/>
                  </a:lnTo>
                  <a:lnTo>
                    <a:pt x="745331" y="490918"/>
                  </a:lnTo>
                  <a:lnTo>
                    <a:pt x="741331" y="487871"/>
                  </a:lnTo>
                  <a:lnTo>
                    <a:pt x="736187" y="490347"/>
                  </a:lnTo>
                  <a:lnTo>
                    <a:pt x="733139" y="481679"/>
                  </a:lnTo>
                  <a:lnTo>
                    <a:pt x="733901" y="487013"/>
                  </a:lnTo>
                  <a:lnTo>
                    <a:pt x="730568" y="489299"/>
                  </a:lnTo>
                  <a:lnTo>
                    <a:pt x="729901" y="498443"/>
                  </a:lnTo>
                  <a:lnTo>
                    <a:pt x="723138" y="502920"/>
                  </a:lnTo>
                  <a:lnTo>
                    <a:pt x="706374" y="499777"/>
                  </a:lnTo>
                  <a:lnTo>
                    <a:pt x="696182" y="492062"/>
                  </a:lnTo>
                  <a:lnTo>
                    <a:pt x="690753" y="492728"/>
                  </a:lnTo>
                  <a:lnTo>
                    <a:pt x="673894" y="489490"/>
                  </a:lnTo>
                  <a:lnTo>
                    <a:pt x="663321" y="492728"/>
                  </a:lnTo>
                  <a:lnTo>
                    <a:pt x="659987" y="495014"/>
                  </a:lnTo>
                  <a:lnTo>
                    <a:pt x="658178" y="495205"/>
                  </a:lnTo>
                  <a:lnTo>
                    <a:pt x="646938" y="493109"/>
                  </a:lnTo>
                  <a:lnTo>
                    <a:pt x="598837" y="488537"/>
                  </a:lnTo>
                  <a:lnTo>
                    <a:pt x="561499" y="482632"/>
                  </a:lnTo>
                  <a:lnTo>
                    <a:pt x="560165" y="486442"/>
                  </a:lnTo>
                  <a:lnTo>
                    <a:pt x="556831" y="488728"/>
                  </a:lnTo>
                  <a:lnTo>
                    <a:pt x="554831" y="487204"/>
                  </a:lnTo>
                  <a:lnTo>
                    <a:pt x="549212" y="486061"/>
                  </a:lnTo>
                  <a:lnTo>
                    <a:pt x="547783" y="489871"/>
                  </a:lnTo>
                  <a:lnTo>
                    <a:pt x="530923" y="486727"/>
                  </a:lnTo>
                  <a:lnTo>
                    <a:pt x="528733" y="483394"/>
                  </a:lnTo>
                  <a:lnTo>
                    <a:pt x="525113" y="483870"/>
                  </a:lnTo>
                  <a:lnTo>
                    <a:pt x="523780" y="487680"/>
                  </a:lnTo>
                  <a:lnTo>
                    <a:pt x="520160" y="488156"/>
                  </a:lnTo>
                  <a:lnTo>
                    <a:pt x="511016" y="487489"/>
                  </a:lnTo>
                  <a:lnTo>
                    <a:pt x="495681" y="482251"/>
                  </a:lnTo>
                  <a:lnTo>
                    <a:pt x="481965" y="475012"/>
                  </a:lnTo>
                  <a:lnTo>
                    <a:pt x="466154" y="466249"/>
                  </a:lnTo>
                  <a:lnTo>
                    <a:pt x="415385" y="442150"/>
                  </a:lnTo>
                  <a:lnTo>
                    <a:pt x="410623" y="433673"/>
                  </a:lnTo>
                  <a:lnTo>
                    <a:pt x="390335" y="418243"/>
                  </a:lnTo>
                  <a:lnTo>
                    <a:pt x="384715" y="417195"/>
                  </a:lnTo>
                  <a:lnTo>
                    <a:pt x="376333" y="409289"/>
                  </a:lnTo>
                  <a:lnTo>
                    <a:pt x="376523" y="396526"/>
                  </a:lnTo>
                  <a:lnTo>
                    <a:pt x="382524" y="386620"/>
                  </a:lnTo>
                  <a:lnTo>
                    <a:pt x="382048" y="383096"/>
                  </a:lnTo>
                  <a:lnTo>
                    <a:pt x="371285" y="384524"/>
                  </a:lnTo>
                  <a:lnTo>
                    <a:pt x="372332" y="379000"/>
                  </a:lnTo>
                  <a:lnTo>
                    <a:pt x="370332" y="377380"/>
                  </a:lnTo>
                  <a:lnTo>
                    <a:pt x="366903" y="379666"/>
                  </a:lnTo>
                  <a:lnTo>
                    <a:pt x="367855" y="386810"/>
                  </a:lnTo>
                  <a:lnTo>
                    <a:pt x="366522" y="390620"/>
                  </a:lnTo>
                  <a:lnTo>
                    <a:pt x="360902" y="389477"/>
                  </a:lnTo>
                  <a:lnTo>
                    <a:pt x="354806" y="384905"/>
                  </a:lnTo>
                  <a:lnTo>
                    <a:pt x="350806" y="381857"/>
                  </a:lnTo>
                  <a:lnTo>
                    <a:pt x="356330" y="368332"/>
                  </a:lnTo>
                  <a:lnTo>
                    <a:pt x="348901" y="367570"/>
                  </a:lnTo>
                  <a:lnTo>
                    <a:pt x="344614" y="362712"/>
                  </a:lnTo>
                  <a:lnTo>
                    <a:pt x="336042" y="367474"/>
                  </a:lnTo>
                  <a:lnTo>
                    <a:pt x="323469" y="369094"/>
                  </a:lnTo>
                  <a:lnTo>
                    <a:pt x="320993" y="364046"/>
                  </a:lnTo>
                  <a:lnTo>
                    <a:pt x="321850" y="356616"/>
                  </a:lnTo>
                  <a:lnTo>
                    <a:pt x="323660" y="356330"/>
                  </a:lnTo>
                  <a:lnTo>
                    <a:pt x="326136" y="361474"/>
                  </a:lnTo>
                  <a:lnTo>
                    <a:pt x="329946" y="362807"/>
                  </a:lnTo>
                  <a:lnTo>
                    <a:pt x="333566" y="362331"/>
                  </a:lnTo>
                  <a:lnTo>
                    <a:pt x="333089" y="358807"/>
                  </a:lnTo>
                  <a:lnTo>
                    <a:pt x="324517" y="348996"/>
                  </a:lnTo>
                  <a:lnTo>
                    <a:pt x="318516" y="358902"/>
                  </a:lnTo>
                  <a:lnTo>
                    <a:pt x="314706" y="357568"/>
                  </a:lnTo>
                  <a:lnTo>
                    <a:pt x="310420" y="352711"/>
                  </a:lnTo>
                  <a:lnTo>
                    <a:pt x="312325" y="339757"/>
                  </a:lnTo>
                  <a:lnTo>
                    <a:pt x="310325" y="338233"/>
                  </a:lnTo>
                  <a:lnTo>
                    <a:pt x="308038" y="334899"/>
                  </a:lnTo>
                  <a:lnTo>
                    <a:pt x="304229" y="333565"/>
                  </a:lnTo>
                  <a:lnTo>
                    <a:pt x="306419" y="336899"/>
                  </a:lnTo>
                  <a:lnTo>
                    <a:pt x="307181" y="342233"/>
                  </a:lnTo>
                  <a:lnTo>
                    <a:pt x="296609" y="345472"/>
                  </a:lnTo>
                  <a:lnTo>
                    <a:pt x="290036" y="337280"/>
                  </a:lnTo>
                  <a:lnTo>
                    <a:pt x="276987" y="335375"/>
                  </a:lnTo>
                  <a:lnTo>
                    <a:pt x="276320" y="330041"/>
                  </a:lnTo>
                  <a:lnTo>
                    <a:pt x="283273" y="327279"/>
                  </a:lnTo>
                  <a:lnTo>
                    <a:pt x="284797" y="325279"/>
                  </a:lnTo>
                  <a:lnTo>
                    <a:pt x="276225" y="315563"/>
                  </a:lnTo>
                  <a:lnTo>
                    <a:pt x="275463" y="310229"/>
                  </a:lnTo>
                  <a:lnTo>
                    <a:pt x="267462" y="318516"/>
                  </a:lnTo>
                  <a:lnTo>
                    <a:pt x="263843" y="318992"/>
                  </a:lnTo>
                  <a:lnTo>
                    <a:pt x="258032" y="316135"/>
                  </a:lnTo>
                  <a:lnTo>
                    <a:pt x="243840" y="319849"/>
                  </a:lnTo>
                  <a:lnTo>
                    <a:pt x="232410" y="315849"/>
                  </a:lnTo>
                  <a:lnTo>
                    <a:pt x="221171" y="313754"/>
                  </a:lnTo>
                  <a:lnTo>
                    <a:pt x="216694" y="321564"/>
                  </a:lnTo>
                  <a:lnTo>
                    <a:pt x="212503" y="331184"/>
                  </a:lnTo>
                  <a:lnTo>
                    <a:pt x="196405" y="347853"/>
                  </a:lnTo>
                  <a:lnTo>
                    <a:pt x="184976" y="343948"/>
                  </a:lnTo>
                  <a:lnTo>
                    <a:pt x="160592" y="339947"/>
                  </a:lnTo>
                  <a:lnTo>
                    <a:pt x="160115" y="336328"/>
                  </a:lnTo>
                  <a:lnTo>
                    <a:pt x="156305" y="334994"/>
                  </a:lnTo>
                  <a:lnTo>
                    <a:pt x="145828" y="338233"/>
                  </a:lnTo>
                  <a:lnTo>
                    <a:pt x="142685" y="342329"/>
                  </a:lnTo>
                  <a:lnTo>
                    <a:pt x="137255" y="342995"/>
                  </a:lnTo>
                  <a:lnTo>
                    <a:pt x="130207" y="331184"/>
                  </a:lnTo>
                  <a:lnTo>
                    <a:pt x="122396" y="326803"/>
                  </a:lnTo>
                  <a:lnTo>
                    <a:pt x="117538" y="318421"/>
                  </a:lnTo>
                  <a:lnTo>
                    <a:pt x="106966" y="307086"/>
                  </a:lnTo>
                  <a:lnTo>
                    <a:pt x="89345" y="298513"/>
                  </a:lnTo>
                  <a:lnTo>
                    <a:pt x="89821" y="302133"/>
                  </a:lnTo>
                  <a:lnTo>
                    <a:pt x="84487" y="302800"/>
                  </a:lnTo>
                  <a:lnTo>
                    <a:pt x="75343" y="289560"/>
                  </a:lnTo>
                  <a:lnTo>
                    <a:pt x="67723" y="286893"/>
                  </a:lnTo>
                  <a:lnTo>
                    <a:pt x="64389" y="289179"/>
                  </a:lnTo>
                  <a:lnTo>
                    <a:pt x="54959" y="286798"/>
                  </a:lnTo>
                  <a:lnTo>
                    <a:pt x="36957" y="289179"/>
                  </a:lnTo>
                  <a:lnTo>
                    <a:pt x="17145" y="277273"/>
                  </a:lnTo>
                  <a:lnTo>
                    <a:pt x="0" y="272320"/>
                  </a:lnTo>
                  <a:lnTo>
                    <a:pt x="9335" y="260223"/>
                  </a:lnTo>
                  <a:lnTo>
                    <a:pt x="11811" y="250793"/>
                  </a:lnTo>
                  <a:lnTo>
                    <a:pt x="17431" y="251841"/>
                  </a:lnTo>
                  <a:lnTo>
                    <a:pt x="22098" y="245840"/>
                  </a:lnTo>
                  <a:lnTo>
                    <a:pt x="27432" y="245078"/>
                  </a:lnTo>
                  <a:lnTo>
                    <a:pt x="20003" y="244316"/>
                  </a:lnTo>
                  <a:lnTo>
                    <a:pt x="18002" y="242697"/>
                  </a:lnTo>
                  <a:lnTo>
                    <a:pt x="19812" y="242506"/>
                  </a:lnTo>
                  <a:lnTo>
                    <a:pt x="22955" y="238411"/>
                  </a:lnTo>
                  <a:lnTo>
                    <a:pt x="26765" y="239744"/>
                  </a:lnTo>
                  <a:lnTo>
                    <a:pt x="29432" y="232124"/>
                  </a:lnTo>
                  <a:lnTo>
                    <a:pt x="27146" y="228790"/>
                  </a:lnTo>
                  <a:lnTo>
                    <a:pt x="25051" y="227266"/>
                  </a:lnTo>
                  <a:lnTo>
                    <a:pt x="30289" y="224790"/>
                  </a:lnTo>
                  <a:lnTo>
                    <a:pt x="36386" y="229362"/>
                  </a:lnTo>
                  <a:lnTo>
                    <a:pt x="37433" y="223838"/>
                  </a:lnTo>
                  <a:lnTo>
                    <a:pt x="41053" y="223361"/>
                  </a:lnTo>
                  <a:lnTo>
                    <a:pt x="42101" y="217741"/>
                  </a:lnTo>
                  <a:lnTo>
                    <a:pt x="45529" y="215551"/>
                  </a:lnTo>
                  <a:lnTo>
                    <a:pt x="44577" y="208407"/>
                  </a:lnTo>
                  <a:lnTo>
                    <a:pt x="40958" y="208883"/>
                  </a:lnTo>
                  <a:lnTo>
                    <a:pt x="38862" y="207359"/>
                  </a:lnTo>
                  <a:lnTo>
                    <a:pt x="44291" y="206597"/>
                  </a:lnTo>
                  <a:lnTo>
                    <a:pt x="61627" y="213360"/>
                  </a:lnTo>
                  <a:lnTo>
                    <a:pt x="56864" y="204978"/>
                  </a:lnTo>
                  <a:lnTo>
                    <a:pt x="67437" y="201739"/>
                  </a:lnTo>
                  <a:lnTo>
                    <a:pt x="69723" y="205073"/>
                  </a:lnTo>
                  <a:lnTo>
                    <a:pt x="72200" y="210217"/>
                  </a:lnTo>
                  <a:lnTo>
                    <a:pt x="78010" y="212979"/>
                  </a:lnTo>
                  <a:lnTo>
                    <a:pt x="75152" y="218884"/>
                  </a:lnTo>
                  <a:lnTo>
                    <a:pt x="75629" y="222409"/>
                  </a:lnTo>
                  <a:lnTo>
                    <a:pt x="83534" y="226790"/>
                  </a:lnTo>
                  <a:lnTo>
                    <a:pt x="87154" y="226314"/>
                  </a:lnTo>
                  <a:lnTo>
                    <a:pt x="92297" y="223838"/>
                  </a:lnTo>
                  <a:lnTo>
                    <a:pt x="94774" y="228886"/>
                  </a:lnTo>
                  <a:lnTo>
                    <a:pt x="96774" y="230505"/>
                  </a:lnTo>
                  <a:lnTo>
                    <a:pt x="101727" y="226219"/>
                  </a:lnTo>
                  <a:lnTo>
                    <a:pt x="102870" y="220599"/>
                  </a:lnTo>
                  <a:lnTo>
                    <a:pt x="100775" y="219075"/>
                  </a:lnTo>
                  <a:lnTo>
                    <a:pt x="107728" y="216313"/>
                  </a:lnTo>
                  <a:lnTo>
                    <a:pt x="107061" y="210979"/>
                  </a:lnTo>
                  <a:lnTo>
                    <a:pt x="114205" y="210026"/>
                  </a:lnTo>
                  <a:lnTo>
                    <a:pt x="110490" y="196024"/>
                  </a:lnTo>
                  <a:lnTo>
                    <a:pt x="112109" y="194024"/>
                  </a:lnTo>
                  <a:lnTo>
                    <a:pt x="119253" y="193072"/>
                  </a:lnTo>
                  <a:lnTo>
                    <a:pt x="123349" y="196120"/>
                  </a:lnTo>
                  <a:lnTo>
                    <a:pt x="126968" y="195643"/>
                  </a:lnTo>
                  <a:lnTo>
                    <a:pt x="129159" y="198977"/>
                  </a:lnTo>
                  <a:lnTo>
                    <a:pt x="132588" y="196787"/>
                  </a:lnTo>
                  <a:lnTo>
                    <a:pt x="140779" y="190214"/>
                  </a:lnTo>
                  <a:lnTo>
                    <a:pt x="151638" y="188785"/>
                  </a:lnTo>
                  <a:lnTo>
                    <a:pt x="152114" y="192405"/>
                  </a:lnTo>
                  <a:lnTo>
                    <a:pt x="162020" y="198310"/>
                  </a:lnTo>
                  <a:lnTo>
                    <a:pt x="164783" y="205168"/>
                  </a:lnTo>
                  <a:lnTo>
                    <a:pt x="169259" y="211836"/>
                  </a:lnTo>
                  <a:lnTo>
                    <a:pt x="173546" y="216694"/>
                  </a:lnTo>
                  <a:lnTo>
                    <a:pt x="176689" y="212693"/>
                  </a:lnTo>
                  <a:lnTo>
                    <a:pt x="180118" y="210407"/>
                  </a:lnTo>
                  <a:lnTo>
                    <a:pt x="181356" y="206597"/>
                  </a:lnTo>
                  <a:lnTo>
                    <a:pt x="184213" y="200787"/>
                  </a:lnTo>
                  <a:lnTo>
                    <a:pt x="180404" y="199454"/>
                  </a:lnTo>
                  <a:lnTo>
                    <a:pt x="181737" y="195643"/>
                  </a:lnTo>
                  <a:lnTo>
                    <a:pt x="179737" y="194119"/>
                  </a:lnTo>
                  <a:lnTo>
                    <a:pt x="183547" y="195453"/>
                  </a:lnTo>
                  <a:lnTo>
                    <a:pt x="187738" y="185833"/>
                  </a:lnTo>
                  <a:lnTo>
                    <a:pt x="195644" y="190214"/>
                  </a:lnTo>
                  <a:lnTo>
                    <a:pt x="198501" y="184404"/>
                  </a:lnTo>
                  <a:lnTo>
                    <a:pt x="196787" y="184594"/>
                  </a:lnTo>
                  <a:lnTo>
                    <a:pt x="198882" y="173450"/>
                  </a:lnTo>
                  <a:lnTo>
                    <a:pt x="198692" y="171736"/>
                  </a:lnTo>
                  <a:lnTo>
                    <a:pt x="204311" y="172783"/>
                  </a:lnTo>
                  <a:lnTo>
                    <a:pt x="218885" y="172593"/>
                  </a:lnTo>
                  <a:lnTo>
                    <a:pt x="228981" y="165830"/>
                  </a:lnTo>
                  <a:lnTo>
                    <a:pt x="231458" y="156496"/>
                  </a:lnTo>
                  <a:lnTo>
                    <a:pt x="233172" y="156210"/>
                  </a:lnTo>
                  <a:lnTo>
                    <a:pt x="238601" y="155543"/>
                  </a:lnTo>
                  <a:lnTo>
                    <a:pt x="239935" y="151733"/>
                  </a:lnTo>
                  <a:lnTo>
                    <a:pt x="241745" y="151447"/>
                  </a:lnTo>
                  <a:lnTo>
                    <a:pt x="241459" y="149733"/>
                  </a:lnTo>
                  <a:lnTo>
                    <a:pt x="234029" y="148876"/>
                  </a:lnTo>
                  <a:lnTo>
                    <a:pt x="236982" y="143065"/>
                  </a:lnTo>
                  <a:lnTo>
                    <a:pt x="247269" y="138017"/>
                  </a:lnTo>
                  <a:lnTo>
                    <a:pt x="248793" y="136017"/>
                  </a:lnTo>
                  <a:lnTo>
                    <a:pt x="253460" y="130016"/>
                  </a:lnTo>
                  <a:lnTo>
                    <a:pt x="261366" y="134398"/>
                  </a:lnTo>
                  <a:lnTo>
                    <a:pt x="267653" y="126301"/>
                  </a:lnTo>
                  <a:lnTo>
                    <a:pt x="275272" y="128873"/>
                  </a:lnTo>
                  <a:lnTo>
                    <a:pt x="279940" y="122872"/>
                  </a:lnTo>
                  <a:lnTo>
                    <a:pt x="289846" y="128778"/>
                  </a:lnTo>
                  <a:lnTo>
                    <a:pt x="295275" y="128111"/>
                  </a:lnTo>
                  <a:lnTo>
                    <a:pt x="296037" y="133445"/>
                  </a:lnTo>
                  <a:lnTo>
                    <a:pt x="302895" y="130683"/>
                  </a:lnTo>
                  <a:lnTo>
                    <a:pt x="300704" y="127349"/>
                  </a:lnTo>
                  <a:lnTo>
                    <a:pt x="301943" y="123539"/>
                  </a:lnTo>
                  <a:lnTo>
                    <a:pt x="305848" y="124873"/>
                  </a:lnTo>
                  <a:lnTo>
                    <a:pt x="307658" y="124587"/>
                  </a:lnTo>
                  <a:lnTo>
                    <a:pt x="305086" y="119539"/>
                  </a:lnTo>
                  <a:lnTo>
                    <a:pt x="308705" y="119063"/>
                  </a:lnTo>
                  <a:lnTo>
                    <a:pt x="308229" y="115443"/>
                  </a:lnTo>
                  <a:lnTo>
                    <a:pt x="304419" y="114205"/>
                  </a:lnTo>
                  <a:lnTo>
                    <a:pt x="310610" y="106108"/>
                  </a:lnTo>
                  <a:lnTo>
                    <a:pt x="309944" y="100774"/>
                  </a:lnTo>
                  <a:lnTo>
                    <a:pt x="312992" y="96679"/>
                  </a:lnTo>
                  <a:lnTo>
                    <a:pt x="312134" y="89630"/>
                  </a:lnTo>
                  <a:lnTo>
                    <a:pt x="314135" y="91154"/>
                  </a:lnTo>
                  <a:lnTo>
                    <a:pt x="319564" y="90392"/>
                  </a:lnTo>
                  <a:lnTo>
                    <a:pt x="333089" y="95917"/>
                  </a:lnTo>
                  <a:lnTo>
                    <a:pt x="335280" y="99250"/>
                  </a:lnTo>
                  <a:lnTo>
                    <a:pt x="327851" y="98393"/>
                  </a:lnTo>
                  <a:lnTo>
                    <a:pt x="328327" y="101917"/>
                  </a:lnTo>
                  <a:lnTo>
                    <a:pt x="332232" y="103251"/>
                  </a:lnTo>
                  <a:lnTo>
                    <a:pt x="337376" y="100774"/>
                  </a:lnTo>
                  <a:lnTo>
                    <a:pt x="339662" y="104108"/>
                  </a:lnTo>
                  <a:lnTo>
                    <a:pt x="345853" y="96012"/>
                  </a:lnTo>
                  <a:lnTo>
                    <a:pt x="355949" y="89249"/>
                  </a:lnTo>
                  <a:lnTo>
                    <a:pt x="353663" y="85915"/>
                  </a:lnTo>
                  <a:lnTo>
                    <a:pt x="352044" y="73438"/>
                  </a:lnTo>
                  <a:lnTo>
                    <a:pt x="365760" y="80677"/>
                  </a:lnTo>
                  <a:lnTo>
                    <a:pt x="371761" y="70866"/>
                  </a:lnTo>
                  <a:lnTo>
                    <a:pt x="380047" y="64294"/>
                  </a:lnTo>
                  <a:lnTo>
                    <a:pt x="384143" y="67342"/>
                  </a:lnTo>
                  <a:lnTo>
                    <a:pt x="383000" y="72962"/>
                  </a:lnTo>
                  <a:lnTo>
                    <a:pt x="385477" y="78105"/>
                  </a:lnTo>
                  <a:lnTo>
                    <a:pt x="389382" y="79343"/>
                  </a:lnTo>
                  <a:lnTo>
                    <a:pt x="389572" y="81153"/>
                  </a:lnTo>
                  <a:lnTo>
                    <a:pt x="388048" y="83153"/>
                  </a:lnTo>
                  <a:lnTo>
                    <a:pt x="390525" y="88297"/>
                  </a:lnTo>
                  <a:lnTo>
                    <a:pt x="386715" y="86963"/>
                  </a:lnTo>
                  <a:lnTo>
                    <a:pt x="386905" y="88773"/>
                  </a:lnTo>
                  <a:lnTo>
                    <a:pt x="390716" y="90106"/>
                  </a:lnTo>
                  <a:lnTo>
                    <a:pt x="394811" y="93154"/>
                  </a:lnTo>
                  <a:lnTo>
                    <a:pt x="396621" y="92869"/>
                  </a:lnTo>
                  <a:lnTo>
                    <a:pt x="395954" y="87535"/>
                  </a:lnTo>
                  <a:lnTo>
                    <a:pt x="397669" y="87344"/>
                  </a:lnTo>
                  <a:lnTo>
                    <a:pt x="400241" y="92392"/>
                  </a:lnTo>
                  <a:lnTo>
                    <a:pt x="398431" y="92678"/>
                  </a:lnTo>
                  <a:lnTo>
                    <a:pt x="398907" y="96298"/>
                  </a:lnTo>
                  <a:lnTo>
                    <a:pt x="408813" y="102203"/>
                  </a:lnTo>
                  <a:lnTo>
                    <a:pt x="416433" y="104775"/>
                  </a:lnTo>
                  <a:lnTo>
                    <a:pt x="425482" y="103632"/>
                  </a:lnTo>
                  <a:lnTo>
                    <a:pt x="428816" y="101346"/>
                  </a:lnTo>
                  <a:lnTo>
                    <a:pt x="436245" y="102203"/>
                  </a:lnTo>
                  <a:lnTo>
                    <a:pt x="438626" y="92773"/>
                  </a:lnTo>
                  <a:lnTo>
                    <a:pt x="445865" y="91821"/>
                  </a:lnTo>
                  <a:lnTo>
                    <a:pt x="446627" y="84487"/>
                  </a:lnTo>
                  <a:lnTo>
                    <a:pt x="442627" y="81343"/>
                  </a:lnTo>
                  <a:lnTo>
                    <a:pt x="443960" y="77533"/>
                  </a:lnTo>
                  <a:lnTo>
                    <a:pt x="447580" y="77057"/>
                  </a:lnTo>
                  <a:lnTo>
                    <a:pt x="449580" y="78676"/>
                  </a:lnTo>
                  <a:lnTo>
                    <a:pt x="450247" y="84010"/>
                  </a:lnTo>
                  <a:lnTo>
                    <a:pt x="455676" y="83248"/>
                  </a:lnTo>
                  <a:lnTo>
                    <a:pt x="457962" y="86582"/>
                  </a:lnTo>
                  <a:lnTo>
                    <a:pt x="461296" y="84391"/>
                  </a:lnTo>
                  <a:lnTo>
                    <a:pt x="464915" y="83915"/>
                  </a:lnTo>
                  <a:lnTo>
                    <a:pt x="473012" y="90011"/>
                  </a:lnTo>
                  <a:lnTo>
                    <a:pt x="476821" y="91345"/>
                  </a:lnTo>
                  <a:lnTo>
                    <a:pt x="479965" y="87344"/>
                  </a:lnTo>
                  <a:lnTo>
                    <a:pt x="485585" y="88392"/>
                  </a:lnTo>
                  <a:lnTo>
                    <a:pt x="490347" y="96869"/>
                  </a:lnTo>
                  <a:lnTo>
                    <a:pt x="494157" y="98107"/>
                  </a:lnTo>
                  <a:lnTo>
                    <a:pt x="495776" y="96107"/>
                  </a:lnTo>
                  <a:lnTo>
                    <a:pt x="493014" y="89249"/>
                  </a:lnTo>
                  <a:lnTo>
                    <a:pt x="494538" y="87154"/>
                  </a:lnTo>
                  <a:lnTo>
                    <a:pt x="498158" y="86677"/>
                  </a:lnTo>
                  <a:lnTo>
                    <a:pt x="505778" y="89344"/>
                  </a:lnTo>
                  <a:lnTo>
                    <a:pt x="507111" y="85534"/>
                  </a:lnTo>
                  <a:lnTo>
                    <a:pt x="510730" y="85058"/>
                  </a:lnTo>
                  <a:lnTo>
                    <a:pt x="522446" y="90773"/>
                  </a:lnTo>
                  <a:lnTo>
                    <a:pt x="525589" y="86677"/>
                  </a:lnTo>
                  <a:lnTo>
                    <a:pt x="528923" y="84487"/>
                  </a:lnTo>
                  <a:lnTo>
                    <a:pt x="525113" y="83153"/>
                  </a:lnTo>
                  <a:lnTo>
                    <a:pt x="528447" y="80867"/>
                  </a:lnTo>
                  <a:lnTo>
                    <a:pt x="527971" y="77343"/>
                  </a:lnTo>
                  <a:lnTo>
                    <a:pt x="533400" y="76676"/>
                  </a:lnTo>
                  <a:lnTo>
                    <a:pt x="535591" y="79915"/>
                  </a:lnTo>
                  <a:lnTo>
                    <a:pt x="547783" y="74771"/>
                  </a:lnTo>
                  <a:lnTo>
                    <a:pt x="547306" y="71152"/>
                  </a:lnTo>
                  <a:lnTo>
                    <a:pt x="541401" y="68294"/>
                  </a:lnTo>
                  <a:lnTo>
                    <a:pt x="540925" y="64770"/>
                  </a:lnTo>
                  <a:lnTo>
                    <a:pt x="531209" y="60579"/>
                  </a:lnTo>
                  <a:lnTo>
                    <a:pt x="537496" y="52483"/>
                  </a:lnTo>
                  <a:lnTo>
                    <a:pt x="535496" y="50959"/>
                  </a:lnTo>
                  <a:lnTo>
                    <a:pt x="539020" y="50482"/>
                  </a:lnTo>
                  <a:lnTo>
                    <a:pt x="552736" y="43243"/>
                  </a:lnTo>
                  <a:lnTo>
                    <a:pt x="556260" y="42767"/>
                  </a:lnTo>
                  <a:lnTo>
                    <a:pt x="563023" y="38290"/>
                  </a:lnTo>
                  <a:lnTo>
                    <a:pt x="566642" y="37814"/>
                  </a:lnTo>
                  <a:lnTo>
                    <a:pt x="576263" y="41910"/>
                  </a:lnTo>
                  <a:lnTo>
                    <a:pt x="579406" y="37909"/>
                  </a:lnTo>
                  <a:lnTo>
                    <a:pt x="587026" y="40576"/>
                  </a:lnTo>
                  <a:lnTo>
                    <a:pt x="593979" y="37814"/>
                  </a:lnTo>
                  <a:lnTo>
                    <a:pt x="605219" y="39910"/>
                  </a:lnTo>
                  <a:lnTo>
                    <a:pt x="609981" y="33909"/>
                  </a:lnTo>
                  <a:lnTo>
                    <a:pt x="609505" y="30289"/>
                  </a:lnTo>
                  <a:lnTo>
                    <a:pt x="614172" y="24193"/>
                  </a:lnTo>
                  <a:lnTo>
                    <a:pt x="619506" y="23527"/>
                  </a:lnTo>
                  <a:lnTo>
                    <a:pt x="619030" y="20002"/>
                  </a:lnTo>
                  <a:lnTo>
                    <a:pt x="611981" y="8191"/>
                  </a:lnTo>
                  <a:lnTo>
                    <a:pt x="613315" y="4381"/>
                  </a:lnTo>
                  <a:lnTo>
                    <a:pt x="618554" y="1905"/>
                  </a:lnTo>
                  <a:lnTo>
                    <a:pt x="627697" y="2476"/>
                  </a:lnTo>
                  <a:lnTo>
                    <a:pt x="632841" y="0"/>
                  </a:lnTo>
                  <a:lnTo>
                    <a:pt x="638461" y="1048"/>
                  </a:lnTo>
                  <a:lnTo>
                    <a:pt x="635889" y="8668"/>
                  </a:lnTo>
                  <a:lnTo>
                    <a:pt x="636365" y="12192"/>
                  </a:lnTo>
                  <a:lnTo>
                    <a:pt x="649796" y="3238"/>
                  </a:lnTo>
                  <a:lnTo>
                    <a:pt x="661226" y="7144"/>
                  </a:lnTo>
                  <a:lnTo>
                    <a:pt x="659321" y="20098"/>
                  </a:lnTo>
                  <a:lnTo>
                    <a:pt x="660273" y="27241"/>
                  </a:lnTo>
                  <a:lnTo>
                    <a:pt x="669703" y="29623"/>
                  </a:lnTo>
                  <a:lnTo>
                    <a:pt x="667036" y="37147"/>
                  </a:lnTo>
                  <a:lnTo>
                    <a:pt x="668846" y="36957"/>
                  </a:lnTo>
                  <a:lnTo>
                    <a:pt x="673798" y="32671"/>
                  </a:lnTo>
                  <a:lnTo>
                    <a:pt x="679418" y="33718"/>
                  </a:lnTo>
                  <a:lnTo>
                    <a:pt x="684467" y="31242"/>
                  </a:lnTo>
                  <a:lnTo>
                    <a:pt x="702278" y="27051"/>
                  </a:lnTo>
                  <a:lnTo>
                    <a:pt x="708851" y="35242"/>
                  </a:lnTo>
                  <a:lnTo>
                    <a:pt x="710375" y="33242"/>
                  </a:lnTo>
                  <a:lnTo>
                    <a:pt x="713613" y="43720"/>
                  </a:lnTo>
                  <a:lnTo>
                    <a:pt x="725329" y="49435"/>
                  </a:lnTo>
                  <a:lnTo>
                    <a:pt x="730282" y="45148"/>
                  </a:lnTo>
                  <a:lnTo>
                    <a:pt x="737045" y="55054"/>
                  </a:lnTo>
                  <a:lnTo>
                    <a:pt x="737711" y="60484"/>
                  </a:lnTo>
                  <a:lnTo>
                    <a:pt x="744093" y="66865"/>
                  </a:lnTo>
                  <a:lnTo>
                    <a:pt x="746570" y="72009"/>
                  </a:lnTo>
                  <a:lnTo>
                    <a:pt x="757238" y="56102"/>
                  </a:lnTo>
                  <a:lnTo>
                    <a:pt x="769144" y="49054"/>
                  </a:lnTo>
                  <a:lnTo>
                    <a:pt x="776097" y="46291"/>
                  </a:lnTo>
                  <a:lnTo>
                    <a:pt x="779907" y="47625"/>
                  </a:lnTo>
                  <a:lnTo>
                    <a:pt x="780193" y="49435"/>
                  </a:lnTo>
                  <a:lnTo>
                    <a:pt x="794956" y="51054"/>
                  </a:lnTo>
                  <a:lnTo>
                    <a:pt x="794956" y="51054"/>
                  </a:lnTo>
                  <a:lnTo>
                    <a:pt x="791909" y="55150"/>
                  </a:lnTo>
                  <a:lnTo>
                    <a:pt x="793909" y="56674"/>
                  </a:lnTo>
                  <a:lnTo>
                    <a:pt x="799529" y="57721"/>
                  </a:lnTo>
                  <a:lnTo>
                    <a:pt x="798005" y="59722"/>
                  </a:lnTo>
                  <a:lnTo>
                    <a:pt x="802005" y="62865"/>
                  </a:lnTo>
                  <a:lnTo>
                    <a:pt x="811721" y="66961"/>
                  </a:lnTo>
                  <a:lnTo>
                    <a:pt x="830294" y="82677"/>
                  </a:lnTo>
                  <a:lnTo>
                    <a:pt x="828866" y="86487"/>
                  </a:lnTo>
                  <a:lnTo>
                    <a:pt x="831152" y="89821"/>
                  </a:lnTo>
                  <a:lnTo>
                    <a:pt x="826294" y="94107"/>
                  </a:lnTo>
                  <a:lnTo>
                    <a:pt x="834676" y="102013"/>
                  </a:lnTo>
                  <a:lnTo>
                    <a:pt x="836200" y="100013"/>
                  </a:lnTo>
                  <a:lnTo>
                    <a:pt x="847249" y="114871"/>
                  </a:lnTo>
                  <a:lnTo>
                    <a:pt x="844201" y="118872"/>
                  </a:lnTo>
                  <a:lnTo>
                    <a:pt x="850297" y="123539"/>
                  </a:lnTo>
                  <a:lnTo>
                    <a:pt x="843820" y="129826"/>
                  </a:lnTo>
                  <a:lnTo>
                    <a:pt x="842486" y="13363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7" name="Volný tvar: obrazec 56">
              <a:extLst>
                <a:ext uri="{FF2B5EF4-FFF2-40B4-BE49-F238E27FC236}">
                  <a16:creationId xmlns:a16="http://schemas.microsoft.com/office/drawing/2014/main" id="{9BE8FECD-B418-B1E1-8E9E-E0B8A600DE3A}"/>
                </a:ext>
              </a:extLst>
            </p:cNvPr>
            <p:cNvSpPr/>
            <p:nvPr userDrawn="1"/>
          </p:nvSpPr>
          <p:spPr>
            <a:xfrm>
              <a:off x="7375825" y="4317777"/>
              <a:ext cx="689609" cy="454818"/>
            </a:xfrm>
            <a:custGeom>
              <a:avLst/>
              <a:gdLst>
                <a:gd name="connsiteX0" fmla="*/ 4667 w 689609"/>
                <a:gd name="connsiteY0" fmla="*/ 93250 h 454818"/>
                <a:gd name="connsiteX1" fmla="*/ 19907 w 689609"/>
                <a:gd name="connsiteY1" fmla="*/ 84010 h 454818"/>
                <a:gd name="connsiteX2" fmla="*/ 19240 w 689609"/>
                <a:gd name="connsiteY2" fmla="*/ 78676 h 454818"/>
                <a:gd name="connsiteX3" fmla="*/ 26384 w 689609"/>
                <a:gd name="connsiteY3" fmla="*/ 77724 h 454818"/>
                <a:gd name="connsiteX4" fmla="*/ 34004 w 689609"/>
                <a:gd name="connsiteY4" fmla="*/ 65818 h 454818"/>
                <a:gd name="connsiteX5" fmla="*/ 33719 w 689609"/>
                <a:gd name="connsiteY5" fmla="*/ 64008 h 454818"/>
                <a:gd name="connsiteX6" fmla="*/ 49625 w 689609"/>
                <a:gd name="connsiteY6" fmla="*/ 60103 h 454818"/>
                <a:gd name="connsiteX7" fmla="*/ 55721 w 689609"/>
                <a:gd name="connsiteY7" fmla="*/ 64770 h 454818"/>
                <a:gd name="connsiteX8" fmla="*/ 59055 w 689609"/>
                <a:gd name="connsiteY8" fmla="*/ 62484 h 454818"/>
                <a:gd name="connsiteX9" fmla="*/ 68104 w 689609"/>
                <a:gd name="connsiteY9" fmla="*/ 61246 h 454818"/>
                <a:gd name="connsiteX10" fmla="*/ 77914 w 689609"/>
                <a:gd name="connsiteY10" fmla="*/ 52768 h 454818"/>
                <a:gd name="connsiteX11" fmla="*/ 84011 w 689609"/>
                <a:gd name="connsiteY11" fmla="*/ 57340 h 454818"/>
                <a:gd name="connsiteX12" fmla="*/ 98870 w 689609"/>
                <a:gd name="connsiteY12" fmla="*/ 59055 h 454818"/>
                <a:gd name="connsiteX13" fmla="*/ 105346 w 689609"/>
                <a:gd name="connsiteY13" fmla="*/ 52768 h 454818"/>
                <a:gd name="connsiteX14" fmla="*/ 101155 w 689609"/>
                <a:gd name="connsiteY14" fmla="*/ 62389 h 454818"/>
                <a:gd name="connsiteX15" fmla="*/ 104965 w 689609"/>
                <a:gd name="connsiteY15" fmla="*/ 63627 h 454818"/>
                <a:gd name="connsiteX16" fmla="*/ 108109 w 689609"/>
                <a:gd name="connsiteY16" fmla="*/ 59626 h 454818"/>
                <a:gd name="connsiteX17" fmla="*/ 111919 w 689609"/>
                <a:gd name="connsiteY17" fmla="*/ 60960 h 454818"/>
                <a:gd name="connsiteX18" fmla="*/ 111347 w 689609"/>
                <a:gd name="connsiteY18" fmla="*/ 42863 h 454818"/>
                <a:gd name="connsiteX19" fmla="*/ 108585 w 689609"/>
                <a:gd name="connsiteY19" fmla="*/ 36004 h 454818"/>
                <a:gd name="connsiteX20" fmla="*/ 109442 w 689609"/>
                <a:gd name="connsiteY20" fmla="*/ 28575 h 454818"/>
                <a:gd name="connsiteX21" fmla="*/ 106489 w 689609"/>
                <a:gd name="connsiteY21" fmla="*/ 19907 h 454818"/>
                <a:gd name="connsiteX22" fmla="*/ 113824 w 689609"/>
                <a:gd name="connsiteY22" fmla="*/ 6287 h 454818"/>
                <a:gd name="connsiteX23" fmla="*/ 118967 w 689609"/>
                <a:gd name="connsiteY23" fmla="*/ 3810 h 454818"/>
                <a:gd name="connsiteX24" fmla="*/ 120301 w 689609"/>
                <a:gd name="connsiteY24" fmla="*/ 0 h 454818"/>
                <a:gd name="connsiteX25" fmla="*/ 125921 w 689609"/>
                <a:gd name="connsiteY25" fmla="*/ 1048 h 454818"/>
                <a:gd name="connsiteX26" fmla="*/ 126587 w 689609"/>
                <a:gd name="connsiteY26" fmla="*/ 6382 h 454818"/>
                <a:gd name="connsiteX27" fmla="*/ 132493 w 689609"/>
                <a:gd name="connsiteY27" fmla="*/ 9239 h 454818"/>
                <a:gd name="connsiteX28" fmla="*/ 134779 w 689609"/>
                <a:gd name="connsiteY28" fmla="*/ 12573 h 454818"/>
                <a:gd name="connsiteX29" fmla="*/ 141542 w 689609"/>
                <a:gd name="connsiteY29" fmla="*/ 22574 h 454818"/>
                <a:gd name="connsiteX30" fmla="*/ 144018 w 689609"/>
                <a:gd name="connsiteY30" fmla="*/ 27622 h 454818"/>
                <a:gd name="connsiteX31" fmla="*/ 141446 w 689609"/>
                <a:gd name="connsiteY31" fmla="*/ 35242 h 454818"/>
                <a:gd name="connsiteX32" fmla="*/ 152400 w 689609"/>
                <a:gd name="connsiteY32" fmla="*/ 35623 h 454818"/>
                <a:gd name="connsiteX33" fmla="*/ 158687 w 689609"/>
                <a:gd name="connsiteY33" fmla="*/ 27527 h 454818"/>
                <a:gd name="connsiteX34" fmla="*/ 165545 w 689609"/>
                <a:gd name="connsiteY34" fmla="*/ 52006 h 454818"/>
                <a:gd name="connsiteX35" fmla="*/ 169640 w 689609"/>
                <a:gd name="connsiteY35" fmla="*/ 55054 h 454818"/>
                <a:gd name="connsiteX36" fmla="*/ 170117 w 689609"/>
                <a:gd name="connsiteY36" fmla="*/ 58674 h 454818"/>
                <a:gd name="connsiteX37" fmla="*/ 175451 w 689609"/>
                <a:gd name="connsiteY37" fmla="*/ 58007 h 454818"/>
                <a:gd name="connsiteX38" fmla="*/ 185833 w 689609"/>
                <a:gd name="connsiteY38" fmla="*/ 67532 h 454818"/>
                <a:gd name="connsiteX39" fmla="*/ 189452 w 689609"/>
                <a:gd name="connsiteY39" fmla="*/ 66961 h 454818"/>
                <a:gd name="connsiteX40" fmla="*/ 202216 w 689609"/>
                <a:gd name="connsiteY40" fmla="*/ 52578 h 454818"/>
                <a:gd name="connsiteX41" fmla="*/ 201359 w 689609"/>
                <a:gd name="connsiteY41" fmla="*/ 60007 h 454818"/>
                <a:gd name="connsiteX42" fmla="*/ 194881 w 689609"/>
                <a:gd name="connsiteY42" fmla="*/ 66294 h 454818"/>
                <a:gd name="connsiteX43" fmla="*/ 215360 w 689609"/>
                <a:gd name="connsiteY43" fmla="*/ 69056 h 454818"/>
                <a:gd name="connsiteX44" fmla="*/ 220504 w 689609"/>
                <a:gd name="connsiteY44" fmla="*/ 66484 h 454818"/>
                <a:gd name="connsiteX45" fmla="*/ 226314 w 689609"/>
                <a:gd name="connsiteY45" fmla="*/ 69342 h 454818"/>
                <a:gd name="connsiteX46" fmla="*/ 230791 w 689609"/>
                <a:gd name="connsiteY46" fmla="*/ 61531 h 454818"/>
                <a:gd name="connsiteX47" fmla="*/ 236125 w 689609"/>
                <a:gd name="connsiteY47" fmla="*/ 60865 h 454818"/>
                <a:gd name="connsiteX48" fmla="*/ 237744 w 689609"/>
                <a:gd name="connsiteY48" fmla="*/ 58769 h 454818"/>
                <a:gd name="connsiteX49" fmla="*/ 243364 w 689609"/>
                <a:gd name="connsiteY49" fmla="*/ 59817 h 454818"/>
                <a:gd name="connsiteX50" fmla="*/ 248507 w 689609"/>
                <a:gd name="connsiteY50" fmla="*/ 57340 h 454818"/>
                <a:gd name="connsiteX51" fmla="*/ 262414 w 689609"/>
                <a:gd name="connsiteY51" fmla="*/ 51911 h 454818"/>
                <a:gd name="connsiteX52" fmla="*/ 275844 w 689609"/>
                <a:gd name="connsiteY52" fmla="*/ 42863 h 454818"/>
                <a:gd name="connsiteX53" fmla="*/ 286893 w 689609"/>
                <a:gd name="connsiteY53" fmla="*/ 43243 h 454818"/>
                <a:gd name="connsiteX54" fmla="*/ 288893 w 689609"/>
                <a:gd name="connsiteY54" fmla="*/ 44767 h 454818"/>
                <a:gd name="connsiteX55" fmla="*/ 293275 w 689609"/>
                <a:gd name="connsiteY55" fmla="*/ 64103 h 454818"/>
                <a:gd name="connsiteX56" fmla="*/ 298895 w 689609"/>
                <a:gd name="connsiteY56" fmla="*/ 65246 h 454818"/>
                <a:gd name="connsiteX57" fmla="*/ 302990 w 689609"/>
                <a:gd name="connsiteY57" fmla="*/ 68294 h 454818"/>
                <a:gd name="connsiteX58" fmla="*/ 302133 w 689609"/>
                <a:gd name="connsiteY58" fmla="*/ 75629 h 454818"/>
                <a:gd name="connsiteX59" fmla="*/ 304324 w 689609"/>
                <a:gd name="connsiteY59" fmla="*/ 78962 h 454818"/>
                <a:gd name="connsiteX60" fmla="*/ 306038 w 689609"/>
                <a:gd name="connsiteY60" fmla="*/ 91440 h 454818"/>
                <a:gd name="connsiteX61" fmla="*/ 303181 w 689609"/>
                <a:gd name="connsiteY61" fmla="*/ 97250 h 454818"/>
                <a:gd name="connsiteX62" fmla="*/ 298418 w 689609"/>
                <a:gd name="connsiteY62" fmla="*/ 103346 h 454818"/>
                <a:gd name="connsiteX63" fmla="*/ 298895 w 689609"/>
                <a:gd name="connsiteY63" fmla="*/ 106871 h 454818"/>
                <a:gd name="connsiteX64" fmla="*/ 294513 w 689609"/>
                <a:gd name="connsiteY64" fmla="*/ 114776 h 454818"/>
                <a:gd name="connsiteX65" fmla="*/ 294989 w 689609"/>
                <a:gd name="connsiteY65" fmla="*/ 118300 h 454818"/>
                <a:gd name="connsiteX66" fmla="*/ 297466 w 689609"/>
                <a:gd name="connsiteY66" fmla="*/ 123444 h 454818"/>
                <a:gd name="connsiteX67" fmla="*/ 300800 w 689609"/>
                <a:gd name="connsiteY67" fmla="*/ 121158 h 454818"/>
                <a:gd name="connsiteX68" fmla="*/ 303467 w 689609"/>
                <a:gd name="connsiteY68" fmla="*/ 113538 h 454818"/>
                <a:gd name="connsiteX69" fmla="*/ 323660 w 689609"/>
                <a:gd name="connsiteY69" fmla="*/ 114490 h 454818"/>
                <a:gd name="connsiteX70" fmla="*/ 324898 w 689609"/>
                <a:gd name="connsiteY70" fmla="*/ 123444 h 454818"/>
                <a:gd name="connsiteX71" fmla="*/ 333661 w 689609"/>
                <a:gd name="connsiteY71" fmla="*/ 120396 h 454818"/>
                <a:gd name="connsiteX72" fmla="*/ 338995 w 689609"/>
                <a:gd name="connsiteY72" fmla="*/ 119729 h 454818"/>
                <a:gd name="connsiteX73" fmla="*/ 341947 w 689609"/>
                <a:gd name="connsiteY73" fmla="*/ 128397 h 454818"/>
                <a:gd name="connsiteX74" fmla="*/ 346043 w 689609"/>
                <a:gd name="connsiteY74" fmla="*/ 131445 h 454818"/>
                <a:gd name="connsiteX75" fmla="*/ 346329 w 689609"/>
                <a:gd name="connsiteY75" fmla="*/ 147733 h 454818"/>
                <a:gd name="connsiteX76" fmla="*/ 351472 w 689609"/>
                <a:gd name="connsiteY76" fmla="*/ 145256 h 454818"/>
                <a:gd name="connsiteX77" fmla="*/ 351758 w 689609"/>
                <a:gd name="connsiteY77" fmla="*/ 147066 h 454818"/>
                <a:gd name="connsiteX78" fmla="*/ 354616 w 689609"/>
                <a:gd name="connsiteY78" fmla="*/ 141256 h 454818"/>
                <a:gd name="connsiteX79" fmla="*/ 360521 w 689609"/>
                <a:gd name="connsiteY79" fmla="*/ 144018 h 454818"/>
                <a:gd name="connsiteX80" fmla="*/ 360236 w 689609"/>
                <a:gd name="connsiteY80" fmla="*/ 142304 h 454818"/>
                <a:gd name="connsiteX81" fmla="*/ 367665 w 689609"/>
                <a:gd name="connsiteY81" fmla="*/ 143065 h 454818"/>
                <a:gd name="connsiteX82" fmla="*/ 372618 w 689609"/>
                <a:gd name="connsiteY82" fmla="*/ 138874 h 454818"/>
                <a:gd name="connsiteX83" fmla="*/ 378428 w 689609"/>
                <a:gd name="connsiteY83" fmla="*/ 141732 h 454818"/>
                <a:gd name="connsiteX84" fmla="*/ 381190 w 689609"/>
                <a:gd name="connsiteY84" fmla="*/ 148590 h 454818"/>
                <a:gd name="connsiteX85" fmla="*/ 386334 w 689609"/>
                <a:gd name="connsiteY85" fmla="*/ 146113 h 454818"/>
                <a:gd name="connsiteX86" fmla="*/ 390430 w 689609"/>
                <a:gd name="connsiteY86" fmla="*/ 149162 h 454818"/>
                <a:gd name="connsiteX87" fmla="*/ 400526 w 689609"/>
                <a:gd name="connsiteY87" fmla="*/ 142399 h 454818"/>
                <a:gd name="connsiteX88" fmla="*/ 408622 w 689609"/>
                <a:gd name="connsiteY88" fmla="*/ 148590 h 454818"/>
                <a:gd name="connsiteX89" fmla="*/ 407289 w 689609"/>
                <a:gd name="connsiteY89" fmla="*/ 152400 h 454818"/>
                <a:gd name="connsiteX90" fmla="*/ 413385 w 689609"/>
                <a:gd name="connsiteY90" fmla="*/ 156972 h 454818"/>
                <a:gd name="connsiteX91" fmla="*/ 416528 w 689609"/>
                <a:gd name="connsiteY91" fmla="*/ 152971 h 454818"/>
                <a:gd name="connsiteX92" fmla="*/ 424339 w 689609"/>
                <a:gd name="connsiteY92" fmla="*/ 157353 h 454818"/>
                <a:gd name="connsiteX93" fmla="*/ 421958 w 689609"/>
                <a:gd name="connsiteY93" fmla="*/ 166783 h 454818"/>
                <a:gd name="connsiteX94" fmla="*/ 422434 w 689609"/>
                <a:gd name="connsiteY94" fmla="*/ 170307 h 454818"/>
                <a:gd name="connsiteX95" fmla="*/ 421386 w 689609"/>
                <a:gd name="connsiteY95" fmla="*/ 175927 h 454818"/>
                <a:gd name="connsiteX96" fmla="*/ 421862 w 689609"/>
                <a:gd name="connsiteY96" fmla="*/ 179451 h 454818"/>
                <a:gd name="connsiteX97" fmla="*/ 417195 w 689609"/>
                <a:gd name="connsiteY97" fmla="*/ 185547 h 454818"/>
                <a:gd name="connsiteX98" fmla="*/ 419195 w 689609"/>
                <a:gd name="connsiteY98" fmla="*/ 187071 h 454818"/>
                <a:gd name="connsiteX99" fmla="*/ 417862 w 689609"/>
                <a:gd name="connsiteY99" fmla="*/ 190881 h 454818"/>
                <a:gd name="connsiteX100" fmla="*/ 418147 w 689609"/>
                <a:gd name="connsiteY100" fmla="*/ 192691 h 454818"/>
                <a:gd name="connsiteX101" fmla="*/ 420148 w 689609"/>
                <a:gd name="connsiteY101" fmla="*/ 194215 h 454818"/>
                <a:gd name="connsiteX102" fmla="*/ 428054 w 689609"/>
                <a:gd name="connsiteY102" fmla="*/ 198596 h 454818"/>
                <a:gd name="connsiteX103" fmla="*/ 431197 w 689609"/>
                <a:gd name="connsiteY103" fmla="*/ 194596 h 454818"/>
                <a:gd name="connsiteX104" fmla="*/ 435007 w 689609"/>
                <a:gd name="connsiteY104" fmla="*/ 195834 h 454818"/>
                <a:gd name="connsiteX105" fmla="*/ 438340 w 689609"/>
                <a:gd name="connsiteY105" fmla="*/ 193643 h 454818"/>
                <a:gd name="connsiteX106" fmla="*/ 439293 w 689609"/>
                <a:gd name="connsiteY106" fmla="*/ 200692 h 454818"/>
                <a:gd name="connsiteX107" fmla="*/ 443484 w 689609"/>
                <a:gd name="connsiteY107" fmla="*/ 191071 h 454818"/>
                <a:gd name="connsiteX108" fmla="*/ 455867 w 689609"/>
                <a:gd name="connsiteY108" fmla="*/ 187642 h 454818"/>
                <a:gd name="connsiteX109" fmla="*/ 459296 w 689609"/>
                <a:gd name="connsiteY109" fmla="*/ 199930 h 454818"/>
                <a:gd name="connsiteX110" fmla="*/ 467392 w 689609"/>
                <a:gd name="connsiteY110" fmla="*/ 206121 h 454818"/>
                <a:gd name="connsiteX111" fmla="*/ 478060 w 689609"/>
                <a:gd name="connsiteY111" fmla="*/ 217360 h 454818"/>
                <a:gd name="connsiteX112" fmla="*/ 481584 w 689609"/>
                <a:gd name="connsiteY112" fmla="*/ 216884 h 454818"/>
                <a:gd name="connsiteX113" fmla="*/ 492252 w 689609"/>
                <a:gd name="connsiteY113" fmla="*/ 228219 h 454818"/>
                <a:gd name="connsiteX114" fmla="*/ 507302 w 689609"/>
                <a:gd name="connsiteY114" fmla="*/ 217170 h 454818"/>
                <a:gd name="connsiteX115" fmla="*/ 509302 w 689609"/>
                <a:gd name="connsiteY115" fmla="*/ 218694 h 454818"/>
                <a:gd name="connsiteX116" fmla="*/ 514445 w 689609"/>
                <a:gd name="connsiteY116" fmla="*/ 216217 h 454818"/>
                <a:gd name="connsiteX117" fmla="*/ 516255 w 689609"/>
                <a:gd name="connsiteY117" fmla="*/ 215932 h 454818"/>
                <a:gd name="connsiteX118" fmla="*/ 521113 w 689609"/>
                <a:gd name="connsiteY118" fmla="*/ 211646 h 454818"/>
                <a:gd name="connsiteX119" fmla="*/ 523399 w 689609"/>
                <a:gd name="connsiteY119" fmla="*/ 214979 h 454818"/>
                <a:gd name="connsiteX120" fmla="*/ 526542 w 689609"/>
                <a:gd name="connsiteY120" fmla="*/ 210979 h 454818"/>
                <a:gd name="connsiteX121" fmla="*/ 534924 w 689609"/>
                <a:gd name="connsiteY121" fmla="*/ 218884 h 454818"/>
                <a:gd name="connsiteX122" fmla="*/ 550640 w 689609"/>
                <a:gd name="connsiteY122" fmla="*/ 213170 h 454818"/>
                <a:gd name="connsiteX123" fmla="*/ 551212 w 689609"/>
                <a:gd name="connsiteY123" fmla="*/ 204025 h 454818"/>
                <a:gd name="connsiteX124" fmla="*/ 558927 w 689609"/>
                <a:gd name="connsiteY124" fmla="*/ 221171 h 454818"/>
                <a:gd name="connsiteX125" fmla="*/ 561213 w 689609"/>
                <a:gd name="connsiteY125" fmla="*/ 224504 h 454818"/>
                <a:gd name="connsiteX126" fmla="*/ 573119 w 689609"/>
                <a:gd name="connsiteY126" fmla="*/ 217456 h 454818"/>
                <a:gd name="connsiteX127" fmla="*/ 592455 w 689609"/>
                <a:gd name="connsiteY127" fmla="*/ 225742 h 454818"/>
                <a:gd name="connsiteX128" fmla="*/ 600837 w 689609"/>
                <a:gd name="connsiteY128" fmla="*/ 233743 h 454818"/>
                <a:gd name="connsiteX129" fmla="*/ 597694 w 689609"/>
                <a:gd name="connsiteY129" fmla="*/ 237839 h 454818"/>
                <a:gd name="connsiteX130" fmla="*/ 596837 w 689609"/>
                <a:gd name="connsiteY130" fmla="*/ 245173 h 454818"/>
                <a:gd name="connsiteX131" fmla="*/ 588455 w 689609"/>
                <a:gd name="connsiteY131" fmla="*/ 264414 h 454818"/>
                <a:gd name="connsiteX132" fmla="*/ 598360 w 689609"/>
                <a:gd name="connsiteY132" fmla="*/ 270320 h 454818"/>
                <a:gd name="connsiteX133" fmla="*/ 606648 w 689609"/>
                <a:gd name="connsiteY133" fmla="*/ 263842 h 454818"/>
                <a:gd name="connsiteX134" fmla="*/ 611982 w 689609"/>
                <a:gd name="connsiteY134" fmla="*/ 263080 h 454818"/>
                <a:gd name="connsiteX135" fmla="*/ 632555 w 689609"/>
                <a:gd name="connsiteY135" fmla="*/ 280321 h 454818"/>
                <a:gd name="connsiteX136" fmla="*/ 646938 w 689609"/>
                <a:gd name="connsiteY136" fmla="*/ 278416 h 454818"/>
                <a:gd name="connsiteX137" fmla="*/ 661035 w 689609"/>
                <a:gd name="connsiteY137" fmla="*/ 301942 h 454818"/>
                <a:gd name="connsiteX138" fmla="*/ 670084 w 689609"/>
                <a:gd name="connsiteY138" fmla="*/ 315182 h 454818"/>
                <a:gd name="connsiteX139" fmla="*/ 668750 w 689609"/>
                <a:gd name="connsiteY139" fmla="*/ 318992 h 454818"/>
                <a:gd name="connsiteX140" fmla="*/ 672846 w 689609"/>
                <a:gd name="connsiteY140" fmla="*/ 322135 h 454818"/>
                <a:gd name="connsiteX141" fmla="*/ 681799 w 689609"/>
                <a:gd name="connsiteY141" fmla="*/ 320992 h 454818"/>
                <a:gd name="connsiteX142" fmla="*/ 680466 w 689609"/>
                <a:gd name="connsiteY142" fmla="*/ 324707 h 454818"/>
                <a:gd name="connsiteX143" fmla="*/ 680752 w 689609"/>
                <a:gd name="connsiteY143" fmla="*/ 326517 h 454818"/>
                <a:gd name="connsiteX144" fmla="*/ 678942 w 689609"/>
                <a:gd name="connsiteY144" fmla="*/ 326707 h 454818"/>
                <a:gd name="connsiteX145" fmla="*/ 679894 w 689609"/>
                <a:gd name="connsiteY145" fmla="*/ 333851 h 454818"/>
                <a:gd name="connsiteX146" fmla="*/ 689610 w 689609"/>
                <a:gd name="connsiteY146" fmla="*/ 352520 h 454818"/>
                <a:gd name="connsiteX147" fmla="*/ 680466 w 689609"/>
                <a:gd name="connsiteY147" fmla="*/ 351949 h 454818"/>
                <a:gd name="connsiteX148" fmla="*/ 675322 w 689609"/>
                <a:gd name="connsiteY148" fmla="*/ 354425 h 454818"/>
                <a:gd name="connsiteX149" fmla="*/ 667226 w 689609"/>
                <a:gd name="connsiteY149" fmla="*/ 362712 h 454818"/>
                <a:gd name="connsiteX150" fmla="*/ 668465 w 689609"/>
                <a:gd name="connsiteY150" fmla="*/ 371665 h 454818"/>
                <a:gd name="connsiteX151" fmla="*/ 650272 w 689609"/>
                <a:gd name="connsiteY151" fmla="*/ 372237 h 454818"/>
                <a:gd name="connsiteX152" fmla="*/ 645509 w 689609"/>
                <a:gd name="connsiteY152" fmla="*/ 378333 h 454818"/>
                <a:gd name="connsiteX153" fmla="*/ 645128 w 689609"/>
                <a:gd name="connsiteY153" fmla="*/ 389191 h 454818"/>
                <a:gd name="connsiteX154" fmla="*/ 638651 w 689609"/>
                <a:gd name="connsiteY154" fmla="*/ 395573 h 454818"/>
                <a:gd name="connsiteX155" fmla="*/ 629507 w 689609"/>
                <a:gd name="connsiteY155" fmla="*/ 394906 h 454818"/>
                <a:gd name="connsiteX156" fmla="*/ 622554 w 689609"/>
                <a:gd name="connsiteY156" fmla="*/ 397669 h 454818"/>
                <a:gd name="connsiteX157" fmla="*/ 618649 w 689609"/>
                <a:gd name="connsiteY157" fmla="*/ 396335 h 454818"/>
                <a:gd name="connsiteX158" fmla="*/ 608552 w 689609"/>
                <a:gd name="connsiteY158" fmla="*/ 388620 h 454818"/>
                <a:gd name="connsiteX159" fmla="*/ 601790 w 689609"/>
                <a:gd name="connsiteY159" fmla="*/ 393192 h 454818"/>
                <a:gd name="connsiteX160" fmla="*/ 608171 w 689609"/>
                <a:gd name="connsiteY160" fmla="*/ 399574 h 454818"/>
                <a:gd name="connsiteX161" fmla="*/ 606838 w 689609"/>
                <a:gd name="connsiteY161" fmla="*/ 403384 h 454818"/>
                <a:gd name="connsiteX162" fmla="*/ 601885 w 689609"/>
                <a:gd name="connsiteY162" fmla="*/ 407670 h 454818"/>
                <a:gd name="connsiteX163" fmla="*/ 594265 w 689609"/>
                <a:gd name="connsiteY163" fmla="*/ 405003 h 454818"/>
                <a:gd name="connsiteX164" fmla="*/ 584645 w 689609"/>
                <a:gd name="connsiteY164" fmla="*/ 415385 h 454818"/>
                <a:gd name="connsiteX165" fmla="*/ 577215 w 689609"/>
                <a:gd name="connsiteY165" fmla="*/ 414528 h 454818"/>
                <a:gd name="connsiteX166" fmla="*/ 574453 w 689609"/>
                <a:gd name="connsiteY166" fmla="*/ 407670 h 454818"/>
                <a:gd name="connsiteX167" fmla="*/ 576167 w 689609"/>
                <a:gd name="connsiteY167" fmla="*/ 392906 h 454818"/>
                <a:gd name="connsiteX168" fmla="*/ 573310 w 689609"/>
                <a:gd name="connsiteY168" fmla="*/ 398716 h 454818"/>
                <a:gd name="connsiteX169" fmla="*/ 571310 w 689609"/>
                <a:gd name="connsiteY169" fmla="*/ 397192 h 454818"/>
                <a:gd name="connsiteX170" fmla="*/ 568833 w 689609"/>
                <a:gd name="connsiteY170" fmla="*/ 406622 h 454818"/>
                <a:gd name="connsiteX171" fmla="*/ 568357 w 689609"/>
                <a:gd name="connsiteY171" fmla="*/ 403003 h 454818"/>
                <a:gd name="connsiteX172" fmla="*/ 566833 w 689609"/>
                <a:gd name="connsiteY172" fmla="*/ 405003 h 454818"/>
                <a:gd name="connsiteX173" fmla="*/ 562832 w 689609"/>
                <a:gd name="connsiteY173" fmla="*/ 401955 h 454818"/>
                <a:gd name="connsiteX174" fmla="*/ 541306 w 689609"/>
                <a:gd name="connsiteY174" fmla="*/ 377571 h 454818"/>
                <a:gd name="connsiteX175" fmla="*/ 537496 w 689609"/>
                <a:gd name="connsiteY175" fmla="*/ 376333 h 454818"/>
                <a:gd name="connsiteX176" fmla="*/ 514731 w 689609"/>
                <a:gd name="connsiteY176" fmla="*/ 370237 h 454818"/>
                <a:gd name="connsiteX177" fmla="*/ 506635 w 689609"/>
                <a:gd name="connsiteY177" fmla="*/ 378523 h 454818"/>
                <a:gd name="connsiteX178" fmla="*/ 507111 w 689609"/>
                <a:gd name="connsiteY178" fmla="*/ 382143 h 454818"/>
                <a:gd name="connsiteX179" fmla="*/ 499491 w 689609"/>
                <a:gd name="connsiteY179" fmla="*/ 379476 h 454818"/>
                <a:gd name="connsiteX180" fmla="*/ 495490 w 689609"/>
                <a:gd name="connsiteY180" fmla="*/ 390906 h 454818"/>
                <a:gd name="connsiteX181" fmla="*/ 492919 w 689609"/>
                <a:gd name="connsiteY181" fmla="*/ 398526 h 454818"/>
                <a:gd name="connsiteX182" fmla="*/ 485204 w 689609"/>
                <a:gd name="connsiteY182" fmla="*/ 395859 h 454818"/>
                <a:gd name="connsiteX183" fmla="*/ 480346 w 689609"/>
                <a:gd name="connsiteY183" fmla="*/ 400145 h 454818"/>
                <a:gd name="connsiteX184" fmla="*/ 470249 w 689609"/>
                <a:gd name="connsiteY184" fmla="*/ 406908 h 454818"/>
                <a:gd name="connsiteX185" fmla="*/ 464248 w 689609"/>
                <a:gd name="connsiteY185" fmla="*/ 416814 h 454818"/>
                <a:gd name="connsiteX186" fmla="*/ 460153 w 689609"/>
                <a:gd name="connsiteY186" fmla="*/ 413671 h 454818"/>
                <a:gd name="connsiteX187" fmla="*/ 454723 w 689609"/>
                <a:gd name="connsiteY187" fmla="*/ 414433 h 454818"/>
                <a:gd name="connsiteX188" fmla="*/ 448723 w 689609"/>
                <a:gd name="connsiteY188" fmla="*/ 409765 h 454818"/>
                <a:gd name="connsiteX189" fmla="*/ 433197 w 689609"/>
                <a:gd name="connsiteY189" fmla="*/ 417290 h 454818"/>
                <a:gd name="connsiteX190" fmla="*/ 426434 w 689609"/>
                <a:gd name="connsiteY190" fmla="*/ 407289 h 454818"/>
                <a:gd name="connsiteX191" fmla="*/ 422624 w 689609"/>
                <a:gd name="connsiteY191" fmla="*/ 406051 h 454818"/>
                <a:gd name="connsiteX192" fmla="*/ 420053 w 689609"/>
                <a:gd name="connsiteY192" fmla="*/ 400907 h 454818"/>
                <a:gd name="connsiteX193" fmla="*/ 404527 w 689609"/>
                <a:gd name="connsiteY193" fmla="*/ 393859 h 454818"/>
                <a:gd name="connsiteX194" fmla="*/ 397955 w 689609"/>
                <a:gd name="connsiteY194" fmla="*/ 385667 h 454818"/>
                <a:gd name="connsiteX195" fmla="*/ 396812 w 689609"/>
                <a:gd name="connsiteY195" fmla="*/ 376809 h 454818"/>
                <a:gd name="connsiteX196" fmla="*/ 394716 w 689609"/>
                <a:gd name="connsiteY196" fmla="*/ 375285 h 454818"/>
                <a:gd name="connsiteX197" fmla="*/ 386048 w 689609"/>
                <a:gd name="connsiteY197" fmla="*/ 378238 h 454818"/>
                <a:gd name="connsiteX198" fmla="*/ 378619 w 689609"/>
                <a:gd name="connsiteY198" fmla="*/ 377380 h 454818"/>
                <a:gd name="connsiteX199" fmla="*/ 374047 w 689609"/>
                <a:gd name="connsiteY199" fmla="*/ 370713 h 454818"/>
                <a:gd name="connsiteX200" fmla="*/ 358521 w 689609"/>
                <a:gd name="connsiteY200" fmla="*/ 363760 h 454818"/>
                <a:gd name="connsiteX201" fmla="*/ 355759 w 689609"/>
                <a:gd name="connsiteY201" fmla="*/ 356806 h 454818"/>
                <a:gd name="connsiteX202" fmla="*/ 348139 w 689609"/>
                <a:gd name="connsiteY202" fmla="*/ 354235 h 454818"/>
                <a:gd name="connsiteX203" fmla="*/ 339376 w 689609"/>
                <a:gd name="connsiteY203" fmla="*/ 357188 h 454818"/>
                <a:gd name="connsiteX204" fmla="*/ 333470 w 689609"/>
                <a:gd name="connsiteY204" fmla="*/ 354330 h 454818"/>
                <a:gd name="connsiteX205" fmla="*/ 323374 w 689609"/>
                <a:gd name="connsiteY205" fmla="*/ 346615 h 454818"/>
                <a:gd name="connsiteX206" fmla="*/ 316135 w 689609"/>
                <a:gd name="connsiteY206" fmla="*/ 347567 h 454818"/>
                <a:gd name="connsiteX207" fmla="*/ 308324 w 689609"/>
                <a:gd name="connsiteY207" fmla="*/ 343186 h 454818"/>
                <a:gd name="connsiteX208" fmla="*/ 301276 w 689609"/>
                <a:gd name="connsiteY208" fmla="*/ 345853 h 454818"/>
                <a:gd name="connsiteX209" fmla="*/ 291179 w 689609"/>
                <a:gd name="connsiteY209" fmla="*/ 338138 h 454818"/>
                <a:gd name="connsiteX210" fmla="*/ 285274 w 689609"/>
                <a:gd name="connsiteY210" fmla="*/ 335375 h 454818"/>
                <a:gd name="connsiteX211" fmla="*/ 278606 w 689609"/>
                <a:gd name="connsiteY211" fmla="*/ 339852 h 454818"/>
                <a:gd name="connsiteX212" fmla="*/ 264509 w 689609"/>
                <a:gd name="connsiteY212" fmla="*/ 358045 h 454818"/>
                <a:gd name="connsiteX213" fmla="*/ 259842 w 689609"/>
                <a:gd name="connsiteY213" fmla="*/ 364046 h 454818"/>
                <a:gd name="connsiteX214" fmla="*/ 249746 w 689609"/>
                <a:gd name="connsiteY214" fmla="*/ 370808 h 454818"/>
                <a:gd name="connsiteX215" fmla="*/ 244030 w 689609"/>
                <a:gd name="connsiteY215" fmla="*/ 382524 h 454818"/>
                <a:gd name="connsiteX216" fmla="*/ 235077 w 689609"/>
                <a:gd name="connsiteY216" fmla="*/ 383667 h 454818"/>
                <a:gd name="connsiteX217" fmla="*/ 204597 w 689609"/>
                <a:gd name="connsiteY217" fmla="*/ 402241 h 454818"/>
                <a:gd name="connsiteX218" fmla="*/ 200406 w 689609"/>
                <a:gd name="connsiteY218" fmla="*/ 411766 h 454818"/>
                <a:gd name="connsiteX219" fmla="*/ 201835 w 689609"/>
                <a:gd name="connsiteY219" fmla="*/ 422529 h 454818"/>
                <a:gd name="connsiteX220" fmla="*/ 200978 w 689609"/>
                <a:gd name="connsiteY220" fmla="*/ 429863 h 454818"/>
                <a:gd name="connsiteX221" fmla="*/ 193643 w 689609"/>
                <a:gd name="connsiteY221" fmla="*/ 443579 h 454818"/>
                <a:gd name="connsiteX222" fmla="*/ 188881 w 689609"/>
                <a:gd name="connsiteY222" fmla="*/ 449580 h 454818"/>
                <a:gd name="connsiteX223" fmla="*/ 176784 w 689609"/>
                <a:gd name="connsiteY223" fmla="*/ 454819 h 454818"/>
                <a:gd name="connsiteX224" fmla="*/ 166878 w 689609"/>
                <a:gd name="connsiteY224" fmla="*/ 448913 h 454818"/>
                <a:gd name="connsiteX225" fmla="*/ 163544 w 689609"/>
                <a:gd name="connsiteY225" fmla="*/ 451104 h 454818"/>
                <a:gd name="connsiteX226" fmla="*/ 152876 w 689609"/>
                <a:gd name="connsiteY226" fmla="*/ 439864 h 454818"/>
                <a:gd name="connsiteX227" fmla="*/ 138970 w 689609"/>
                <a:gd name="connsiteY227" fmla="*/ 430816 h 454818"/>
                <a:gd name="connsiteX228" fmla="*/ 142018 w 689609"/>
                <a:gd name="connsiteY228" fmla="*/ 426815 h 454818"/>
                <a:gd name="connsiteX229" fmla="*/ 122777 w 689609"/>
                <a:gd name="connsiteY229" fmla="*/ 405765 h 454818"/>
                <a:gd name="connsiteX230" fmla="*/ 110680 w 689609"/>
                <a:gd name="connsiteY230" fmla="*/ 411004 h 454818"/>
                <a:gd name="connsiteX231" fmla="*/ 92869 w 689609"/>
                <a:gd name="connsiteY231" fmla="*/ 427863 h 454818"/>
                <a:gd name="connsiteX232" fmla="*/ 89440 w 689609"/>
                <a:gd name="connsiteY232" fmla="*/ 430149 h 454818"/>
                <a:gd name="connsiteX233" fmla="*/ 75724 w 689609"/>
                <a:gd name="connsiteY233" fmla="*/ 422910 h 454818"/>
                <a:gd name="connsiteX234" fmla="*/ 64675 w 689609"/>
                <a:gd name="connsiteY234" fmla="*/ 422529 h 454818"/>
                <a:gd name="connsiteX235" fmla="*/ 62960 w 689609"/>
                <a:gd name="connsiteY235" fmla="*/ 395573 h 454818"/>
                <a:gd name="connsiteX236" fmla="*/ 59817 w 689609"/>
                <a:gd name="connsiteY236" fmla="*/ 385096 h 454818"/>
                <a:gd name="connsiteX237" fmla="*/ 55245 w 689609"/>
                <a:gd name="connsiteY237" fmla="*/ 378428 h 454818"/>
                <a:gd name="connsiteX238" fmla="*/ 52769 w 689609"/>
                <a:gd name="connsiteY238" fmla="*/ 373380 h 454818"/>
                <a:gd name="connsiteX239" fmla="*/ 46387 w 689609"/>
                <a:gd name="connsiteY239" fmla="*/ 366903 h 454818"/>
                <a:gd name="connsiteX240" fmla="*/ 32861 w 689609"/>
                <a:gd name="connsiteY240" fmla="*/ 361474 h 454818"/>
                <a:gd name="connsiteX241" fmla="*/ 22288 w 689609"/>
                <a:gd name="connsiteY241" fmla="*/ 350234 h 454818"/>
                <a:gd name="connsiteX242" fmla="*/ 18383 w 689609"/>
                <a:gd name="connsiteY242" fmla="*/ 348901 h 454818"/>
                <a:gd name="connsiteX243" fmla="*/ 21336 w 689609"/>
                <a:gd name="connsiteY243" fmla="*/ 343090 h 454818"/>
                <a:gd name="connsiteX244" fmla="*/ 24670 w 689609"/>
                <a:gd name="connsiteY244" fmla="*/ 340805 h 454818"/>
                <a:gd name="connsiteX245" fmla="*/ 24575 w 689609"/>
                <a:gd name="connsiteY245" fmla="*/ 326326 h 454818"/>
                <a:gd name="connsiteX246" fmla="*/ 22098 w 689609"/>
                <a:gd name="connsiteY246" fmla="*/ 321183 h 454818"/>
                <a:gd name="connsiteX247" fmla="*/ 23622 w 689609"/>
                <a:gd name="connsiteY247" fmla="*/ 319183 h 454818"/>
                <a:gd name="connsiteX248" fmla="*/ 23146 w 689609"/>
                <a:gd name="connsiteY248" fmla="*/ 315658 h 454818"/>
                <a:gd name="connsiteX249" fmla="*/ 19526 w 689609"/>
                <a:gd name="connsiteY249" fmla="*/ 316135 h 454818"/>
                <a:gd name="connsiteX250" fmla="*/ 15050 w 689609"/>
                <a:gd name="connsiteY250" fmla="*/ 309467 h 454818"/>
                <a:gd name="connsiteX251" fmla="*/ 22003 w 689609"/>
                <a:gd name="connsiteY251" fmla="*/ 306705 h 454818"/>
                <a:gd name="connsiteX252" fmla="*/ 25051 w 689609"/>
                <a:gd name="connsiteY252" fmla="*/ 302705 h 454818"/>
                <a:gd name="connsiteX253" fmla="*/ 12002 w 689609"/>
                <a:gd name="connsiteY253" fmla="*/ 286321 h 454818"/>
                <a:gd name="connsiteX254" fmla="*/ 23336 w 689609"/>
                <a:gd name="connsiteY254" fmla="*/ 275749 h 454818"/>
                <a:gd name="connsiteX255" fmla="*/ 36386 w 689609"/>
                <a:gd name="connsiteY255" fmla="*/ 277654 h 454818"/>
                <a:gd name="connsiteX256" fmla="*/ 39529 w 689609"/>
                <a:gd name="connsiteY256" fmla="*/ 273558 h 454818"/>
                <a:gd name="connsiteX257" fmla="*/ 51721 w 689609"/>
                <a:gd name="connsiteY257" fmla="*/ 282797 h 454818"/>
                <a:gd name="connsiteX258" fmla="*/ 56864 w 689609"/>
                <a:gd name="connsiteY258" fmla="*/ 280321 h 454818"/>
                <a:gd name="connsiteX259" fmla="*/ 56388 w 689609"/>
                <a:gd name="connsiteY259" fmla="*/ 276796 h 454818"/>
                <a:gd name="connsiteX260" fmla="*/ 52578 w 689609"/>
                <a:gd name="connsiteY260" fmla="*/ 275463 h 454818"/>
                <a:gd name="connsiteX261" fmla="*/ 51054 w 689609"/>
                <a:gd name="connsiteY261" fmla="*/ 277463 h 454818"/>
                <a:gd name="connsiteX262" fmla="*/ 49244 w 689609"/>
                <a:gd name="connsiteY262" fmla="*/ 277749 h 454818"/>
                <a:gd name="connsiteX263" fmla="*/ 48959 w 689609"/>
                <a:gd name="connsiteY263" fmla="*/ 275939 h 454818"/>
                <a:gd name="connsiteX264" fmla="*/ 52292 w 689609"/>
                <a:gd name="connsiteY264" fmla="*/ 273653 h 454818"/>
                <a:gd name="connsiteX265" fmla="*/ 54102 w 689609"/>
                <a:gd name="connsiteY265" fmla="*/ 273463 h 454818"/>
                <a:gd name="connsiteX266" fmla="*/ 57721 w 689609"/>
                <a:gd name="connsiteY266" fmla="*/ 272987 h 454818"/>
                <a:gd name="connsiteX267" fmla="*/ 57721 w 689609"/>
                <a:gd name="connsiteY267" fmla="*/ 272987 h 454818"/>
                <a:gd name="connsiteX268" fmla="*/ 60865 w 689609"/>
                <a:gd name="connsiteY268" fmla="*/ 268891 h 454818"/>
                <a:gd name="connsiteX269" fmla="*/ 57055 w 689609"/>
                <a:gd name="connsiteY269" fmla="*/ 267653 h 454818"/>
                <a:gd name="connsiteX270" fmla="*/ 53626 w 689609"/>
                <a:gd name="connsiteY270" fmla="*/ 269843 h 454818"/>
                <a:gd name="connsiteX271" fmla="*/ 49625 w 689609"/>
                <a:gd name="connsiteY271" fmla="*/ 266795 h 454818"/>
                <a:gd name="connsiteX272" fmla="*/ 38767 w 689609"/>
                <a:gd name="connsiteY272" fmla="*/ 268224 h 454818"/>
                <a:gd name="connsiteX273" fmla="*/ 41720 w 689609"/>
                <a:gd name="connsiteY273" fmla="*/ 262414 h 454818"/>
                <a:gd name="connsiteX274" fmla="*/ 41243 w 689609"/>
                <a:gd name="connsiteY274" fmla="*/ 258889 h 454818"/>
                <a:gd name="connsiteX275" fmla="*/ 28194 w 689609"/>
                <a:gd name="connsiteY275" fmla="*/ 256889 h 454818"/>
                <a:gd name="connsiteX276" fmla="*/ 30861 w 689609"/>
                <a:gd name="connsiteY276" fmla="*/ 249364 h 454818"/>
                <a:gd name="connsiteX277" fmla="*/ 33052 w 689609"/>
                <a:gd name="connsiteY277" fmla="*/ 252698 h 454818"/>
                <a:gd name="connsiteX278" fmla="*/ 33909 w 689609"/>
                <a:gd name="connsiteY278" fmla="*/ 245269 h 454818"/>
                <a:gd name="connsiteX279" fmla="*/ 43815 w 689609"/>
                <a:gd name="connsiteY279" fmla="*/ 236696 h 454818"/>
                <a:gd name="connsiteX280" fmla="*/ 40862 w 689609"/>
                <a:gd name="connsiteY280" fmla="*/ 228029 h 454818"/>
                <a:gd name="connsiteX281" fmla="*/ 43910 w 689609"/>
                <a:gd name="connsiteY281" fmla="*/ 224028 h 454818"/>
                <a:gd name="connsiteX282" fmla="*/ 41434 w 689609"/>
                <a:gd name="connsiteY282" fmla="*/ 218884 h 454818"/>
                <a:gd name="connsiteX283" fmla="*/ 42958 w 689609"/>
                <a:gd name="connsiteY283" fmla="*/ 216884 h 454818"/>
                <a:gd name="connsiteX284" fmla="*/ 40291 w 689609"/>
                <a:gd name="connsiteY284" fmla="*/ 210026 h 454818"/>
                <a:gd name="connsiteX285" fmla="*/ 43815 w 689609"/>
                <a:gd name="connsiteY285" fmla="*/ 209550 h 454818"/>
                <a:gd name="connsiteX286" fmla="*/ 48578 w 689609"/>
                <a:gd name="connsiteY286" fmla="*/ 203454 h 454818"/>
                <a:gd name="connsiteX287" fmla="*/ 44196 w 689609"/>
                <a:gd name="connsiteY287" fmla="*/ 198596 h 454818"/>
                <a:gd name="connsiteX288" fmla="*/ 47339 w 689609"/>
                <a:gd name="connsiteY288" fmla="*/ 194596 h 454818"/>
                <a:gd name="connsiteX289" fmla="*/ 34957 w 689609"/>
                <a:gd name="connsiteY289" fmla="*/ 183547 h 454818"/>
                <a:gd name="connsiteX290" fmla="*/ 36290 w 689609"/>
                <a:gd name="connsiteY290" fmla="*/ 179737 h 454818"/>
                <a:gd name="connsiteX291" fmla="*/ 34004 w 689609"/>
                <a:gd name="connsiteY291" fmla="*/ 176403 h 454818"/>
                <a:gd name="connsiteX292" fmla="*/ 22479 w 689609"/>
                <a:gd name="connsiteY292" fmla="*/ 172498 h 454818"/>
                <a:gd name="connsiteX293" fmla="*/ 10668 w 689609"/>
                <a:gd name="connsiteY293" fmla="*/ 179451 h 454818"/>
                <a:gd name="connsiteX294" fmla="*/ 7620 w 689609"/>
                <a:gd name="connsiteY294" fmla="*/ 170783 h 454818"/>
                <a:gd name="connsiteX295" fmla="*/ 17526 w 689609"/>
                <a:gd name="connsiteY295" fmla="*/ 162211 h 454818"/>
                <a:gd name="connsiteX296" fmla="*/ 14764 w 689609"/>
                <a:gd name="connsiteY296" fmla="*/ 155353 h 454818"/>
                <a:gd name="connsiteX297" fmla="*/ 6668 w 689609"/>
                <a:gd name="connsiteY297" fmla="*/ 149162 h 454818"/>
                <a:gd name="connsiteX298" fmla="*/ 6953 w 689609"/>
                <a:gd name="connsiteY298" fmla="*/ 138303 h 454818"/>
                <a:gd name="connsiteX299" fmla="*/ 2191 w 689609"/>
                <a:gd name="connsiteY299" fmla="*/ 129826 h 454818"/>
                <a:gd name="connsiteX300" fmla="*/ 0 w 689609"/>
                <a:gd name="connsiteY300" fmla="*/ 126492 h 454818"/>
                <a:gd name="connsiteX301" fmla="*/ 2381 w 689609"/>
                <a:gd name="connsiteY301" fmla="*/ 117157 h 454818"/>
                <a:gd name="connsiteX302" fmla="*/ 8001 w 689609"/>
                <a:gd name="connsiteY302" fmla="*/ 118205 h 454818"/>
                <a:gd name="connsiteX303" fmla="*/ 9811 w 689609"/>
                <a:gd name="connsiteY303" fmla="*/ 118015 h 454818"/>
                <a:gd name="connsiteX304" fmla="*/ 9525 w 689609"/>
                <a:gd name="connsiteY304" fmla="*/ 116205 h 454818"/>
                <a:gd name="connsiteX305" fmla="*/ 9525 w 689609"/>
                <a:gd name="connsiteY305" fmla="*/ 116205 h 454818"/>
                <a:gd name="connsiteX306" fmla="*/ 5048 w 689609"/>
                <a:gd name="connsiteY306" fmla="*/ 109538 h 454818"/>
                <a:gd name="connsiteX307" fmla="*/ 3810 w 689609"/>
                <a:gd name="connsiteY307" fmla="*/ 100584 h 454818"/>
                <a:gd name="connsiteX308" fmla="*/ 4667 w 689609"/>
                <a:gd name="connsiteY308" fmla="*/ 93250 h 45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</a:cxnLst>
              <a:rect l="l" t="t" r="r" b="b"/>
              <a:pathLst>
                <a:path w="689609" h="454818">
                  <a:moveTo>
                    <a:pt x="4667" y="93250"/>
                  </a:moveTo>
                  <a:lnTo>
                    <a:pt x="19907" y="84010"/>
                  </a:lnTo>
                  <a:lnTo>
                    <a:pt x="19240" y="78676"/>
                  </a:lnTo>
                  <a:lnTo>
                    <a:pt x="26384" y="77724"/>
                  </a:lnTo>
                  <a:lnTo>
                    <a:pt x="34004" y="65818"/>
                  </a:lnTo>
                  <a:lnTo>
                    <a:pt x="33719" y="64008"/>
                  </a:lnTo>
                  <a:lnTo>
                    <a:pt x="49625" y="60103"/>
                  </a:lnTo>
                  <a:lnTo>
                    <a:pt x="55721" y="64770"/>
                  </a:lnTo>
                  <a:lnTo>
                    <a:pt x="59055" y="62484"/>
                  </a:lnTo>
                  <a:lnTo>
                    <a:pt x="68104" y="61246"/>
                  </a:lnTo>
                  <a:lnTo>
                    <a:pt x="77914" y="52768"/>
                  </a:lnTo>
                  <a:lnTo>
                    <a:pt x="84011" y="57340"/>
                  </a:lnTo>
                  <a:lnTo>
                    <a:pt x="98870" y="59055"/>
                  </a:lnTo>
                  <a:lnTo>
                    <a:pt x="105346" y="52768"/>
                  </a:lnTo>
                  <a:lnTo>
                    <a:pt x="101155" y="62389"/>
                  </a:lnTo>
                  <a:lnTo>
                    <a:pt x="104965" y="63627"/>
                  </a:lnTo>
                  <a:lnTo>
                    <a:pt x="108109" y="59626"/>
                  </a:lnTo>
                  <a:lnTo>
                    <a:pt x="111919" y="60960"/>
                  </a:lnTo>
                  <a:lnTo>
                    <a:pt x="111347" y="42863"/>
                  </a:lnTo>
                  <a:lnTo>
                    <a:pt x="108585" y="36004"/>
                  </a:lnTo>
                  <a:lnTo>
                    <a:pt x="109442" y="28575"/>
                  </a:lnTo>
                  <a:lnTo>
                    <a:pt x="106489" y="19907"/>
                  </a:lnTo>
                  <a:lnTo>
                    <a:pt x="113824" y="6287"/>
                  </a:lnTo>
                  <a:lnTo>
                    <a:pt x="118967" y="3810"/>
                  </a:lnTo>
                  <a:lnTo>
                    <a:pt x="120301" y="0"/>
                  </a:lnTo>
                  <a:lnTo>
                    <a:pt x="125921" y="1048"/>
                  </a:lnTo>
                  <a:lnTo>
                    <a:pt x="126587" y="6382"/>
                  </a:lnTo>
                  <a:lnTo>
                    <a:pt x="132493" y="9239"/>
                  </a:lnTo>
                  <a:lnTo>
                    <a:pt x="134779" y="12573"/>
                  </a:lnTo>
                  <a:lnTo>
                    <a:pt x="141542" y="22574"/>
                  </a:lnTo>
                  <a:lnTo>
                    <a:pt x="144018" y="27622"/>
                  </a:lnTo>
                  <a:lnTo>
                    <a:pt x="141446" y="35242"/>
                  </a:lnTo>
                  <a:lnTo>
                    <a:pt x="152400" y="35623"/>
                  </a:lnTo>
                  <a:lnTo>
                    <a:pt x="158687" y="27527"/>
                  </a:lnTo>
                  <a:lnTo>
                    <a:pt x="165545" y="52006"/>
                  </a:lnTo>
                  <a:lnTo>
                    <a:pt x="169640" y="55054"/>
                  </a:lnTo>
                  <a:lnTo>
                    <a:pt x="170117" y="58674"/>
                  </a:lnTo>
                  <a:lnTo>
                    <a:pt x="175451" y="58007"/>
                  </a:lnTo>
                  <a:lnTo>
                    <a:pt x="185833" y="67532"/>
                  </a:lnTo>
                  <a:lnTo>
                    <a:pt x="189452" y="66961"/>
                  </a:lnTo>
                  <a:lnTo>
                    <a:pt x="202216" y="52578"/>
                  </a:lnTo>
                  <a:lnTo>
                    <a:pt x="201359" y="60007"/>
                  </a:lnTo>
                  <a:lnTo>
                    <a:pt x="194881" y="66294"/>
                  </a:lnTo>
                  <a:lnTo>
                    <a:pt x="215360" y="69056"/>
                  </a:lnTo>
                  <a:lnTo>
                    <a:pt x="220504" y="66484"/>
                  </a:lnTo>
                  <a:lnTo>
                    <a:pt x="226314" y="69342"/>
                  </a:lnTo>
                  <a:lnTo>
                    <a:pt x="230791" y="61531"/>
                  </a:lnTo>
                  <a:lnTo>
                    <a:pt x="236125" y="60865"/>
                  </a:lnTo>
                  <a:lnTo>
                    <a:pt x="237744" y="58769"/>
                  </a:lnTo>
                  <a:lnTo>
                    <a:pt x="243364" y="59817"/>
                  </a:lnTo>
                  <a:lnTo>
                    <a:pt x="248507" y="57340"/>
                  </a:lnTo>
                  <a:lnTo>
                    <a:pt x="262414" y="51911"/>
                  </a:lnTo>
                  <a:lnTo>
                    <a:pt x="275844" y="42863"/>
                  </a:lnTo>
                  <a:lnTo>
                    <a:pt x="286893" y="43243"/>
                  </a:lnTo>
                  <a:lnTo>
                    <a:pt x="288893" y="44767"/>
                  </a:lnTo>
                  <a:lnTo>
                    <a:pt x="293275" y="64103"/>
                  </a:lnTo>
                  <a:lnTo>
                    <a:pt x="298895" y="65246"/>
                  </a:lnTo>
                  <a:lnTo>
                    <a:pt x="302990" y="68294"/>
                  </a:lnTo>
                  <a:lnTo>
                    <a:pt x="302133" y="75629"/>
                  </a:lnTo>
                  <a:lnTo>
                    <a:pt x="304324" y="78962"/>
                  </a:lnTo>
                  <a:lnTo>
                    <a:pt x="306038" y="91440"/>
                  </a:lnTo>
                  <a:lnTo>
                    <a:pt x="303181" y="97250"/>
                  </a:lnTo>
                  <a:lnTo>
                    <a:pt x="298418" y="103346"/>
                  </a:lnTo>
                  <a:lnTo>
                    <a:pt x="298895" y="106871"/>
                  </a:lnTo>
                  <a:lnTo>
                    <a:pt x="294513" y="114776"/>
                  </a:lnTo>
                  <a:lnTo>
                    <a:pt x="294989" y="118300"/>
                  </a:lnTo>
                  <a:lnTo>
                    <a:pt x="297466" y="123444"/>
                  </a:lnTo>
                  <a:lnTo>
                    <a:pt x="300800" y="121158"/>
                  </a:lnTo>
                  <a:lnTo>
                    <a:pt x="303467" y="113538"/>
                  </a:lnTo>
                  <a:lnTo>
                    <a:pt x="323660" y="114490"/>
                  </a:lnTo>
                  <a:lnTo>
                    <a:pt x="324898" y="123444"/>
                  </a:lnTo>
                  <a:lnTo>
                    <a:pt x="333661" y="120396"/>
                  </a:lnTo>
                  <a:lnTo>
                    <a:pt x="338995" y="119729"/>
                  </a:lnTo>
                  <a:lnTo>
                    <a:pt x="341947" y="128397"/>
                  </a:lnTo>
                  <a:lnTo>
                    <a:pt x="346043" y="131445"/>
                  </a:lnTo>
                  <a:lnTo>
                    <a:pt x="346329" y="147733"/>
                  </a:lnTo>
                  <a:lnTo>
                    <a:pt x="351472" y="145256"/>
                  </a:lnTo>
                  <a:lnTo>
                    <a:pt x="351758" y="147066"/>
                  </a:lnTo>
                  <a:lnTo>
                    <a:pt x="354616" y="141256"/>
                  </a:lnTo>
                  <a:lnTo>
                    <a:pt x="360521" y="144018"/>
                  </a:lnTo>
                  <a:lnTo>
                    <a:pt x="360236" y="142304"/>
                  </a:lnTo>
                  <a:lnTo>
                    <a:pt x="367665" y="143065"/>
                  </a:lnTo>
                  <a:lnTo>
                    <a:pt x="372618" y="138874"/>
                  </a:lnTo>
                  <a:lnTo>
                    <a:pt x="378428" y="141732"/>
                  </a:lnTo>
                  <a:lnTo>
                    <a:pt x="381190" y="148590"/>
                  </a:lnTo>
                  <a:lnTo>
                    <a:pt x="386334" y="146113"/>
                  </a:lnTo>
                  <a:lnTo>
                    <a:pt x="390430" y="149162"/>
                  </a:lnTo>
                  <a:lnTo>
                    <a:pt x="400526" y="142399"/>
                  </a:lnTo>
                  <a:lnTo>
                    <a:pt x="408622" y="148590"/>
                  </a:lnTo>
                  <a:lnTo>
                    <a:pt x="407289" y="152400"/>
                  </a:lnTo>
                  <a:lnTo>
                    <a:pt x="413385" y="156972"/>
                  </a:lnTo>
                  <a:lnTo>
                    <a:pt x="416528" y="152971"/>
                  </a:lnTo>
                  <a:lnTo>
                    <a:pt x="424339" y="157353"/>
                  </a:lnTo>
                  <a:lnTo>
                    <a:pt x="421958" y="166783"/>
                  </a:lnTo>
                  <a:lnTo>
                    <a:pt x="422434" y="170307"/>
                  </a:lnTo>
                  <a:lnTo>
                    <a:pt x="421386" y="175927"/>
                  </a:lnTo>
                  <a:lnTo>
                    <a:pt x="421862" y="179451"/>
                  </a:lnTo>
                  <a:lnTo>
                    <a:pt x="417195" y="185547"/>
                  </a:lnTo>
                  <a:lnTo>
                    <a:pt x="419195" y="187071"/>
                  </a:lnTo>
                  <a:lnTo>
                    <a:pt x="417862" y="190881"/>
                  </a:lnTo>
                  <a:lnTo>
                    <a:pt x="418147" y="192691"/>
                  </a:lnTo>
                  <a:lnTo>
                    <a:pt x="420148" y="194215"/>
                  </a:lnTo>
                  <a:lnTo>
                    <a:pt x="428054" y="198596"/>
                  </a:lnTo>
                  <a:lnTo>
                    <a:pt x="431197" y="194596"/>
                  </a:lnTo>
                  <a:lnTo>
                    <a:pt x="435007" y="195834"/>
                  </a:lnTo>
                  <a:lnTo>
                    <a:pt x="438340" y="193643"/>
                  </a:lnTo>
                  <a:lnTo>
                    <a:pt x="439293" y="200692"/>
                  </a:lnTo>
                  <a:lnTo>
                    <a:pt x="443484" y="191071"/>
                  </a:lnTo>
                  <a:lnTo>
                    <a:pt x="455867" y="187642"/>
                  </a:lnTo>
                  <a:lnTo>
                    <a:pt x="459296" y="199930"/>
                  </a:lnTo>
                  <a:lnTo>
                    <a:pt x="467392" y="206121"/>
                  </a:lnTo>
                  <a:lnTo>
                    <a:pt x="478060" y="217360"/>
                  </a:lnTo>
                  <a:lnTo>
                    <a:pt x="481584" y="216884"/>
                  </a:lnTo>
                  <a:lnTo>
                    <a:pt x="492252" y="228219"/>
                  </a:lnTo>
                  <a:lnTo>
                    <a:pt x="507302" y="217170"/>
                  </a:lnTo>
                  <a:lnTo>
                    <a:pt x="509302" y="218694"/>
                  </a:lnTo>
                  <a:lnTo>
                    <a:pt x="514445" y="216217"/>
                  </a:lnTo>
                  <a:lnTo>
                    <a:pt x="516255" y="215932"/>
                  </a:lnTo>
                  <a:lnTo>
                    <a:pt x="521113" y="211646"/>
                  </a:lnTo>
                  <a:lnTo>
                    <a:pt x="523399" y="214979"/>
                  </a:lnTo>
                  <a:lnTo>
                    <a:pt x="526542" y="210979"/>
                  </a:lnTo>
                  <a:lnTo>
                    <a:pt x="534924" y="218884"/>
                  </a:lnTo>
                  <a:lnTo>
                    <a:pt x="550640" y="213170"/>
                  </a:lnTo>
                  <a:lnTo>
                    <a:pt x="551212" y="204025"/>
                  </a:lnTo>
                  <a:lnTo>
                    <a:pt x="558927" y="221171"/>
                  </a:lnTo>
                  <a:lnTo>
                    <a:pt x="561213" y="224504"/>
                  </a:lnTo>
                  <a:lnTo>
                    <a:pt x="573119" y="217456"/>
                  </a:lnTo>
                  <a:lnTo>
                    <a:pt x="592455" y="225742"/>
                  </a:lnTo>
                  <a:lnTo>
                    <a:pt x="600837" y="233743"/>
                  </a:lnTo>
                  <a:lnTo>
                    <a:pt x="597694" y="237839"/>
                  </a:lnTo>
                  <a:lnTo>
                    <a:pt x="596837" y="245173"/>
                  </a:lnTo>
                  <a:lnTo>
                    <a:pt x="588455" y="264414"/>
                  </a:lnTo>
                  <a:lnTo>
                    <a:pt x="598360" y="270320"/>
                  </a:lnTo>
                  <a:lnTo>
                    <a:pt x="606648" y="263842"/>
                  </a:lnTo>
                  <a:lnTo>
                    <a:pt x="611982" y="263080"/>
                  </a:lnTo>
                  <a:lnTo>
                    <a:pt x="632555" y="280321"/>
                  </a:lnTo>
                  <a:lnTo>
                    <a:pt x="646938" y="278416"/>
                  </a:lnTo>
                  <a:lnTo>
                    <a:pt x="661035" y="301942"/>
                  </a:lnTo>
                  <a:lnTo>
                    <a:pt x="670084" y="315182"/>
                  </a:lnTo>
                  <a:lnTo>
                    <a:pt x="668750" y="318992"/>
                  </a:lnTo>
                  <a:lnTo>
                    <a:pt x="672846" y="322135"/>
                  </a:lnTo>
                  <a:lnTo>
                    <a:pt x="681799" y="320992"/>
                  </a:lnTo>
                  <a:lnTo>
                    <a:pt x="680466" y="324707"/>
                  </a:lnTo>
                  <a:lnTo>
                    <a:pt x="680752" y="326517"/>
                  </a:lnTo>
                  <a:lnTo>
                    <a:pt x="678942" y="326707"/>
                  </a:lnTo>
                  <a:lnTo>
                    <a:pt x="679894" y="333851"/>
                  </a:lnTo>
                  <a:lnTo>
                    <a:pt x="689610" y="352520"/>
                  </a:lnTo>
                  <a:lnTo>
                    <a:pt x="680466" y="351949"/>
                  </a:lnTo>
                  <a:lnTo>
                    <a:pt x="675322" y="354425"/>
                  </a:lnTo>
                  <a:lnTo>
                    <a:pt x="667226" y="362712"/>
                  </a:lnTo>
                  <a:lnTo>
                    <a:pt x="668465" y="371665"/>
                  </a:lnTo>
                  <a:lnTo>
                    <a:pt x="650272" y="372237"/>
                  </a:lnTo>
                  <a:lnTo>
                    <a:pt x="645509" y="378333"/>
                  </a:lnTo>
                  <a:lnTo>
                    <a:pt x="645128" y="389191"/>
                  </a:lnTo>
                  <a:lnTo>
                    <a:pt x="638651" y="395573"/>
                  </a:lnTo>
                  <a:lnTo>
                    <a:pt x="629507" y="394906"/>
                  </a:lnTo>
                  <a:lnTo>
                    <a:pt x="622554" y="397669"/>
                  </a:lnTo>
                  <a:lnTo>
                    <a:pt x="618649" y="396335"/>
                  </a:lnTo>
                  <a:lnTo>
                    <a:pt x="608552" y="388620"/>
                  </a:lnTo>
                  <a:lnTo>
                    <a:pt x="601790" y="393192"/>
                  </a:lnTo>
                  <a:lnTo>
                    <a:pt x="608171" y="399574"/>
                  </a:lnTo>
                  <a:lnTo>
                    <a:pt x="606838" y="403384"/>
                  </a:lnTo>
                  <a:lnTo>
                    <a:pt x="601885" y="407670"/>
                  </a:lnTo>
                  <a:lnTo>
                    <a:pt x="594265" y="405003"/>
                  </a:lnTo>
                  <a:lnTo>
                    <a:pt x="584645" y="415385"/>
                  </a:lnTo>
                  <a:lnTo>
                    <a:pt x="577215" y="414528"/>
                  </a:lnTo>
                  <a:lnTo>
                    <a:pt x="574453" y="407670"/>
                  </a:lnTo>
                  <a:lnTo>
                    <a:pt x="576167" y="392906"/>
                  </a:lnTo>
                  <a:lnTo>
                    <a:pt x="573310" y="398716"/>
                  </a:lnTo>
                  <a:lnTo>
                    <a:pt x="571310" y="397192"/>
                  </a:lnTo>
                  <a:lnTo>
                    <a:pt x="568833" y="406622"/>
                  </a:lnTo>
                  <a:lnTo>
                    <a:pt x="568357" y="403003"/>
                  </a:lnTo>
                  <a:lnTo>
                    <a:pt x="566833" y="405003"/>
                  </a:lnTo>
                  <a:lnTo>
                    <a:pt x="562832" y="401955"/>
                  </a:lnTo>
                  <a:lnTo>
                    <a:pt x="541306" y="377571"/>
                  </a:lnTo>
                  <a:lnTo>
                    <a:pt x="537496" y="376333"/>
                  </a:lnTo>
                  <a:lnTo>
                    <a:pt x="514731" y="370237"/>
                  </a:lnTo>
                  <a:lnTo>
                    <a:pt x="506635" y="378523"/>
                  </a:lnTo>
                  <a:lnTo>
                    <a:pt x="507111" y="382143"/>
                  </a:lnTo>
                  <a:lnTo>
                    <a:pt x="499491" y="379476"/>
                  </a:lnTo>
                  <a:lnTo>
                    <a:pt x="495490" y="390906"/>
                  </a:lnTo>
                  <a:lnTo>
                    <a:pt x="492919" y="398526"/>
                  </a:lnTo>
                  <a:lnTo>
                    <a:pt x="485204" y="395859"/>
                  </a:lnTo>
                  <a:lnTo>
                    <a:pt x="480346" y="400145"/>
                  </a:lnTo>
                  <a:lnTo>
                    <a:pt x="470249" y="406908"/>
                  </a:lnTo>
                  <a:lnTo>
                    <a:pt x="464248" y="416814"/>
                  </a:lnTo>
                  <a:lnTo>
                    <a:pt x="460153" y="413671"/>
                  </a:lnTo>
                  <a:lnTo>
                    <a:pt x="454723" y="414433"/>
                  </a:lnTo>
                  <a:lnTo>
                    <a:pt x="448723" y="409765"/>
                  </a:lnTo>
                  <a:lnTo>
                    <a:pt x="433197" y="417290"/>
                  </a:lnTo>
                  <a:lnTo>
                    <a:pt x="426434" y="407289"/>
                  </a:lnTo>
                  <a:lnTo>
                    <a:pt x="422624" y="406051"/>
                  </a:lnTo>
                  <a:lnTo>
                    <a:pt x="420053" y="400907"/>
                  </a:lnTo>
                  <a:lnTo>
                    <a:pt x="404527" y="393859"/>
                  </a:lnTo>
                  <a:lnTo>
                    <a:pt x="397955" y="385667"/>
                  </a:lnTo>
                  <a:lnTo>
                    <a:pt x="396812" y="376809"/>
                  </a:lnTo>
                  <a:lnTo>
                    <a:pt x="394716" y="375285"/>
                  </a:lnTo>
                  <a:lnTo>
                    <a:pt x="386048" y="378238"/>
                  </a:lnTo>
                  <a:lnTo>
                    <a:pt x="378619" y="377380"/>
                  </a:lnTo>
                  <a:lnTo>
                    <a:pt x="374047" y="370713"/>
                  </a:lnTo>
                  <a:lnTo>
                    <a:pt x="358521" y="363760"/>
                  </a:lnTo>
                  <a:lnTo>
                    <a:pt x="355759" y="356806"/>
                  </a:lnTo>
                  <a:lnTo>
                    <a:pt x="348139" y="354235"/>
                  </a:lnTo>
                  <a:lnTo>
                    <a:pt x="339376" y="357188"/>
                  </a:lnTo>
                  <a:lnTo>
                    <a:pt x="333470" y="354330"/>
                  </a:lnTo>
                  <a:lnTo>
                    <a:pt x="323374" y="346615"/>
                  </a:lnTo>
                  <a:lnTo>
                    <a:pt x="316135" y="347567"/>
                  </a:lnTo>
                  <a:lnTo>
                    <a:pt x="308324" y="343186"/>
                  </a:lnTo>
                  <a:lnTo>
                    <a:pt x="301276" y="345853"/>
                  </a:lnTo>
                  <a:lnTo>
                    <a:pt x="291179" y="338138"/>
                  </a:lnTo>
                  <a:lnTo>
                    <a:pt x="285274" y="335375"/>
                  </a:lnTo>
                  <a:lnTo>
                    <a:pt x="278606" y="339852"/>
                  </a:lnTo>
                  <a:lnTo>
                    <a:pt x="264509" y="358045"/>
                  </a:lnTo>
                  <a:lnTo>
                    <a:pt x="259842" y="364046"/>
                  </a:lnTo>
                  <a:lnTo>
                    <a:pt x="249746" y="370808"/>
                  </a:lnTo>
                  <a:lnTo>
                    <a:pt x="244030" y="382524"/>
                  </a:lnTo>
                  <a:lnTo>
                    <a:pt x="235077" y="383667"/>
                  </a:lnTo>
                  <a:lnTo>
                    <a:pt x="204597" y="402241"/>
                  </a:lnTo>
                  <a:lnTo>
                    <a:pt x="200406" y="411766"/>
                  </a:lnTo>
                  <a:lnTo>
                    <a:pt x="201835" y="422529"/>
                  </a:lnTo>
                  <a:lnTo>
                    <a:pt x="200978" y="429863"/>
                  </a:lnTo>
                  <a:lnTo>
                    <a:pt x="193643" y="443579"/>
                  </a:lnTo>
                  <a:lnTo>
                    <a:pt x="188881" y="449580"/>
                  </a:lnTo>
                  <a:lnTo>
                    <a:pt x="176784" y="454819"/>
                  </a:lnTo>
                  <a:lnTo>
                    <a:pt x="166878" y="448913"/>
                  </a:lnTo>
                  <a:lnTo>
                    <a:pt x="163544" y="451104"/>
                  </a:lnTo>
                  <a:lnTo>
                    <a:pt x="152876" y="439864"/>
                  </a:lnTo>
                  <a:lnTo>
                    <a:pt x="138970" y="430816"/>
                  </a:lnTo>
                  <a:lnTo>
                    <a:pt x="142018" y="426815"/>
                  </a:lnTo>
                  <a:lnTo>
                    <a:pt x="122777" y="405765"/>
                  </a:lnTo>
                  <a:lnTo>
                    <a:pt x="110680" y="411004"/>
                  </a:lnTo>
                  <a:lnTo>
                    <a:pt x="92869" y="427863"/>
                  </a:lnTo>
                  <a:lnTo>
                    <a:pt x="89440" y="430149"/>
                  </a:lnTo>
                  <a:lnTo>
                    <a:pt x="75724" y="422910"/>
                  </a:lnTo>
                  <a:lnTo>
                    <a:pt x="64675" y="422529"/>
                  </a:lnTo>
                  <a:lnTo>
                    <a:pt x="62960" y="395573"/>
                  </a:lnTo>
                  <a:lnTo>
                    <a:pt x="59817" y="385096"/>
                  </a:lnTo>
                  <a:lnTo>
                    <a:pt x="55245" y="378428"/>
                  </a:lnTo>
                  <a:lnTo>
                    <a:pt x="52769" y="373380"/>
                  </a:lnTo>
                  <a:lnTo>
                    <a:pt x="46387" y="366903"/>
                  </a:lnTo>
                  <a:lnTo>
                    <a:pt x="32861" y="361474"/>
                  </a:lnTo>
                  <a:lnTo>
                    <a:pt x="22288" y="350234"/>
                  </a:lnTo>
                  <a:lnTo>
                    <a:pt x="18383" y="348901"/>
                  </a:lnTo>
                  <a:lnTo>
                    <a:pt x="21336" y="343090"/>
                  </a:lnTo>
                  <a:lnTo>
                    <a:pt x="24670" y="340805"/>
                  </a:lnTo>
                  <a:lnTo>
                    <a:pt x="24575" y="326326"/>
                  </a:lnTo>
                  <a:lnTo>
                    <a:pt x="22098" y="321183"/>
                  </a:lnTo>
                  <a:lnTo>
                    <a:pt x="23622" y="319183"/>
                  </a:lnTo>
                  <a:lnTo>
                    <a:pt x="23146" y="315658"/>
                  </a:lnTo>
                  <a:lnTo>
                    <a:pt x="19526" y="316135"/>
                  </a:lnTo>
                  <a:lnTo>
                    <a:pt x="15050" y="309467"/>
                  </a:lnTo>
                  <a:lnTo>
                    <a:pt x="22003" y="306705"/>
                  </a:lnTo>
                  <a:lnTo>
                    <a:pt x="25051" y="302705"/>
                  </a:lnTo>
                  <a:lnTo>
                    <a:pt x="12002" y="286321"/>
                  </a:lnTo>
                  <a:lnTo>
                    <a:pt x="23336" y="275749"/>
                  </a:lnTo>
                  <a:lnTo>
                    <a:pt x="36386" y="277654"/>
                  </a:lnTo>
                  <a:lnTo>
                    <a:pt x="39529" y="273558"/>
                  </a:lnTo>
                  <a:lnTo>
                    <a:pt x="51721" y="282797"/>
                  </a:lnTo>
                  <a:lnTo>
                    <a:pt x="56864" y="280321"/>
                  </a:lnTo>
                  <a:lnTo>
                    <a:pt x="56388" y="276796"/>
                  </a:lnTo>
                  <a:lnTo>
                    <a:pt x="52578" y="275463"/>
                  </a:lnTo>
                  <a:lnTo>
                    <a:pt x="51054" y="277463"/>
                  </a:lnTo>
                  <a:lnTo>
                    <a:pt x="49244" y="277749"/>
                  </a:lnTo>
                  <a:lnTo>
                    <a:pt x="48959" y="275939"/>
                  </a:lnTo>
                  <a:lnTo>
                    <a:pt x="52292" y="273653"/>
                  </a:lnTo>
                  <a:lnTo>
                    <a:pt x="54102" y="273463"/>
                  </a:lnTo>
                  <a:lnTo>
                    <a:pt x="57721" y="272987"/>
                  </a:lnTo>
                  <a:lnTo>
                    <a:pt x="57721" y="272987"/>
                  </a:lnTo>
                  <a:lnTo>
                    <a:pt x="60865" y="268891"/>
                  </a:lnTo>
                  <a:lnTo>
                    <a:pt x="57055" y="267653"/>
                  </a:lnTo>
                  <a:lnTo>
                    <a:pt x="53626" y="269843"/>
                  </a:lnTo>
                  <a:lnTo>
                    <a:pt x="49625" y="266795"/>
                  </a:lnTo>
                  <a:lnTo>
                    <a:pt x="38767" y="268224"/>
                  </a:lnTo>
                  <a:lnTo>
                    <a:pt x="41720" y="262414"/>
                  </a:lnTo>
                  <a:lnTo>
                    <a:pt x="41243" y="258889"/>
                  </a:lnTo>
                  <a:lnTo>
                    <a:pt x="28194" y="256889"/>
                  </a:lnTo>
                  <a:lnTo>
                    <a:pt x="30861" y="249364"/>
                  </a:lnTo>
                  <a:lnTo>
                    <a:pt x="33052" y="252698"/>
                  </a:lnTo>
                  <a:lnTo>
                    <a:pt x="33909" y="245269"/>
                  </a:lnTo>
                  <a:lnTo>
                    <a:pt x="43815" y="236696"/>
                  </a:lnTo>
                  <a:lnTo>
                    <a:pt x="40862" y="228029"/>
                  </a:lnTo>
                  <a:lnTo>
                    <a:pt x="43910" y="224028"/>
                  </a:lnTo>
                  <a:lnTo>
                    <a:pt x="41434" y="218884"/>
                  </a:lnTo>
                  <a:lnTo>
                    <a:pt x="42958" y="216884"/>
                  </a:lnTo>
                  <a:lnTo>
                    <a:pt x="40291" y="210026"/>
                  </a:lnTo>
                  <a:lnTo>
                    <a:pt x="43815" y="209550"/>
                  </a:lnTo>
                  <a:lnTo>
                    <a:pt x="48578" y="203454"/>
                  </a:lnTo>
                  <a:lnTo>
                    <a:pt x="44196" y="198596"/>
                  </a:lnTo>
                  <a:lnTo>
                    <a:pt x="47339" y="194596"/>
                  </a:lnTo>
                  <a:lnTo>
                    <a:pt x="34957" y="183547"/>
                  </a:lnTo>
                  <a:lnTo>
                    <a:pt x="36290" y="179737"/>
                  </a:lnTo>
                  <a:lnTo>
                    <a:pt x="34004" y="176403"/>
                  </a:lnTo>
                  <a:lnTo>
                    <a:pt x="22479" y="172498"/>
                  </a:lnTo>
                  <a:lnTo>
                    <a:pt x="10668" y="179451"/>
                  </a:lnTo>
                  <a:lnTo>
                    <a:pt x="7620" y="170783"/>
                  </a:lnTo>
                  <a:lnTo>
                    <a:pt x="17526" y="162211"/>
                  </a:lnTo>
                  <a:lnTo>
                    <a:pt x="14764" y="155353"/>
                  </a:lnTo>
                  <a:lnTo>
                    <a:pt x="6668" y="149162"/>
                  </a:lnTo>
                  <a:lnTo>
                    <a:pt x="6953" y="138303"/>
                  </a:lnTo>
                  <a:lnTo>
                    <a:pt x="2191" y="129826"/>
                  </a:lnTo>
                  <a:lnTo>
                    <a:pt x="0" y="126492"/>
                  </a:lnTo>
                  <a:lnTo>
                    <a:pt x="2381" y="117157"/>
                  </a:lnTo>
                  <a:lnTo>
                    <a:pt x="8001" y="118205"/>
                  </a:lnTo>
                  <a:lnTo>
                    <a:pt x="9811" y="118015"/>
                  </a:lnTo>
                  <a:lnTo>
                    <a:pt x="9525" y="116205"/>
                  </a:lnTo>
                  <a:lnTo>
                    <a:pt x="9525" y="116205"/>
                  </a:lnTo>
                  <a:lnTo>
                    <a:pt x="5048" y="109538"/>
                  </a:lnTo>
                  <a:lnTo>
                    <a:pt x="3810" y="100584"/>
                  </a:lnTo>
                  <a:lnTo>
                    <a:pt x="4667" y="9325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8" name="Volný tvar: obrazec 57">
              <a:extLst>
                <a:ext uri="{FF2B5EF4-FFF2-40B4-BE49-F238E27FC236}">
                  <a16:creationId xmlns:a16="http://schemas.microsoft.com/office/drawing/2014/main" id="{D2A40F4E-E946-6049-A217-451E5B51D9E5}"/>
                </a:ext>
              </a:extLst>
            </p:cNvPr>
            <p:cNvSpPr/>
            <p:nvPr userDrawn="1"/>
          </p:nvSpPr>
          <p:spPr>
            <a:xfrm>
              <a:off x="6954344" y="4410169"/>
              <a:ext cx="610362" cy="606647"/>
            </a:xfrm>
            <a:custGeom>
              <a:avLst/>
              <a:gdLst>
                <a:gd name="connsiteX0" fmla="*/ 40291 w 610362"/>
                <a:gd name="connsiteY0" fmla="*/ 95441 h 606647"/>
                <a:gd name="connsiteX1" fmla="*/ 54864 w 610362"/>
                <a:gd name="connsiteY1" fmla="*/ 95345 h 606647"/>
                <a:gd name="connsiteX2" fmla="*/ 79820 w 610362"/>
                <a:gd name="connsiteY2" fmla="*/ 90202 h 606647"/>
                <a:gd name="connsiteX3" fmla="*/ 89630 w 610362"/>
                <a:gd name="connsiteY3" fmla="*/ 81629 h 606647"/>
                <a:gd name="connsiteX4" fmla="*/ 87630 w 610362"/>
                <a:gd name="connsiteY4" fmla="*/ 80105 h 606647"/>
                <a:gd name="connsiteX5" fmla="*/ 99917 w 610362"/>
                <a:gd name="connsiteY5" fmla="*/ 76676 h 606647"/>
                <a:gd name="connsiteX6" fmla="*/ 113062 w 610362"/>
                <a:gd name="connsiteY6" fmla="*/ 65818 h 606647"/>
                <a:gd name="connsiteX7" fmla="*/ 117158 w 610362"/>
                <a:gd name="connsiteY7" fmla="*/ 68961 h 606647"/>
                <a:gd name="connsiteX8" fmla="*/ 118301 w 610362"/>
                <a:gd name="connsiteY8" fmla="*/ 63341 h 606647"/>
                <a:gd name="connsiteX9" fmla="*/ 125921 w 610362"/>
                <a:gd name="connsiteY9" fmla="*/ 66008 h 606647"/>
                <a:gd name="connsiteX10" fmla="*/ 124873 w 610362"/>
                <a:gd name="connsiteY10" fmla="*/ 71533 h 606647"/>
                <a:gd name="connsiteX11" fmla="*/ 126873 w 610362"/>
                <a:gd name="connsiteY11" fmla="*/ 73057 h 606647"/>
                <a:gd name="connsiteX12" fmla="*/ 124015 w 610362"/>
                <a:gd name="connsiteY12" fmla="*/ 78867 h 606647"/>
                <a:gd name="connsiteX13" fmla="*/ 122872 w 610362"/>
                <a:gd name="connsiteY13" fmla="*/ 84487 h 606647"/>
                <a:gd name="connsiteX14" fmla="*/ 128111 w 610362"/>
                <a:gd name="connsiteY14" fmla="*/ 96488 h 606647"/>
                <a:gd name="connsiteX15" fmla="*/ 122968 w 610362"/>
                <a:gd name="connsiteY15" fmla="*/ 98965 h 606647"/>
                <a:gd name="connsiteX16" fmla="*/ 125730 w 610362"/>
                <a:gd name="connsiteY16" fmla="*/ 105918 h 606647"/>
                <a:gd name="connsiteX17" fmla="*/ 145256 w 610362"/>
                <a:gd name="connsiteY17" fmla="*/ 101537 h 606647"/>
                <a:gd name="connsiteX18" fmla="*/ 152400 w 610362"/>
                <a:gd name="connsiteY18" fmla="*/ 100489 h 606647"/>
                <a:gd name="connsiteX19" fmla="*/ 162878 w 610362"/>
                <a:gd name="connsiteY19" fmla="*/ 110014 h 606647"/>
                <a:gd name="connsiteX20" fmla="*/ 166402 w 610362"/>
                <a:gd name="connsiteY20" fmla="*/ 109538 h 606647"/>
                <a:gd name="connsiteX21" fmla="*/ 167164 w 610362"/>
                <a:gd name="connsiteY21" fmla="*/ 114871 h 606647"/>
                <a:gd name="connsiteX22" fmla="*/ 180213 w 610362"/>
                <a:gd name="connsiteY22" fmla="*/ 116777 h 606647"/>
                <a:gd name="connsiteX23" fmla="*/ 193929 w 610362"/>
                <a:gd name="connsiteY23" fmla="*/ 124016 h 606647"/>
                <a:gd name="connsiteX24" fmla="*/ 195263 w 610362"/>
                <a:gd name="connsiteY24" fmla="*/ 120205 h 606647"/>
                <a:gd name="connsiteX25" fmla="*/ 196787 w 610362"/>
                <a:gd name="connsiteY25" fmla="*/ 118205 h 606647"/>
                <a:gd name="connsiteX26" fmla="*/ 198120 w 610362"/>
                <a:gd name="connsiteY26" fmla="*/ 114395 h 606647"/>
                <a:gd name="connsiteX27" fmla="*/ 203740 w 610362"/>
                <a:gd name="connsiteY27" fmla="*/ 115538 h 606647"/>
                <a:gd name="connsiteX28" fmla="*/ 207073 w 610362"/>
                <a:gd name="connsiteY28" fmla="*/ 113252 h 606647"/>
                <a:gd name="connsiteX29" fmla="*/ 210503 w 610362"/>
                <a:gd name="connsiteY29" fmla="*/ 110966 h 606647"/>
                <a:gd name="connsiteX30" fmla="*/ 205169 w 610362"/>
                <a:gd name="connsiteY30" fmla="*/ 98965 h 606647"/>
                <a:gd name="connsiteX31" fmla="*/ 206597 w 610362"/>
                <a:gd name="connsiteY31" fmla="*/ 95155 h 606647"/>
                <a:gd name="connsiteX32" fmla="*/ 208597 w 610362"/>
                <a:gd name="connsiteY32" fmla="*/ 96679 h 606647"/>
                <a:gd name="connsiteX33" fmla="*/ 209455 w 610362"/>
                <a:gd name="connsiteY33" fmla="*/ 89345 h 606647"/>
                <a:gd name="connsiteX34" fmla="*/ 212788 w 610362"/>
                <a:gd name="connsiteY34" fmla="*/ 87154 h 606647"/>
                <a:gd name="connsiteX35" fmla="*/ 212312 w 610362"/>
                <a:gd name="connsiteY35" fmla="*/ 83534 h 606647"/>
                <a:gd name="connsiteX36" fmla="*/ 214122 w 610362"/>
                <a:gd name="connsiteY36" fmla="*/ 83344 h 606647"/>
                <a:gd name="connsiteX37" fmla="*/ 217456 w 610362"/>
                <a:gd name="connsiteY37" fmla="*/ 81058 h 606647"/>
                <a:gd name="connsiteX38" fmla="*/ 219742 w 610362"/>
                <a:gd name="connsiteY38" fmla="*/ 84392 h 606647"/>
                <a:gd name="connsiteX39" fmla="*/ 223076 w 610362"/>
                <a:gd name="connsiteY39" fmla="*/ 82105 h 606647"/>
                <a:gd name="connsiteX40" fmla="*/ 222409 w 610362"/>
                <a:gd name="connsiteY40" fmla="*/ 76771 h 606647"/>
                <a:gd name="connsiteX41" fmla="*/ 232220 w 610362"/>
                <a:gd name="connsiteY41" fmla="*/ 68199 h 606647"/>
                <a:gd name="connsiteX42" fmla="*/ 233077 w 610362"/>
                <a:gd name="connsiteY42" fmla="*/ 60865 h 606647"/>
                <a:gd name="connsiteX43" fmla="*/ 243364 w 610362"/>
                <a:gd name="connsiteY43" fmla="*/ 55912 h 606647"/>
                <a:gd name="connsiteX44" fmla="*/ 246317 w 610362"/>
                <a:gd name="connsiteY44" fmla="*/ 50102 h 606647"/>
                <a:gd name="connsiteX45" fmla="*/ 241935 w 610362"/>
                <a:gd name="connsiteY45" fmla="*/ 45149 h 606647"/>
                <a:gd name="connsiteX46" fmla="*/ 241745 w 610362"/>
                <a:gd name="connsiteY46" fmla="*/ 43434 h 606647"/>
                <a:gd name="connsiteX47" fmla="*/ 246888 w 610362"/>
                <a:gd name="connsiteY47" fmla="*/ 40862 h 606647"/>
                <a:gd name="connsiteX48" fmla="*/ 250984 w 610362"/>
                <a:gd name="connsiteY48" fmla="*/ 44005 h 606647"/>
                <a:gd name="connsiteX49" fmla="*/ 263652 w 610362"/>
                <a:gd name="connsiteY49" fmla="*/ 29623 h 606647"/>
                <a:gd name="connsiteX50" fmla="*/ 268414 w 610362"/>
                <a:gd name="connsiteY50" fmla="*/ 38005 h 606647"/>
                <a:gd name="connsiteX51" fmla="*/ 270034 w 610362"/>
                <a:gd name="connsiteY51" fmla="*/ 36004 h 606647"/>
                <a:gd name="connsiteX52" fmla="*/ 286036 w 610362"/>
                <a:gd name="connsiteY52" fmla="*/ 46577 h 606647"/>
                <a:gd name="connsiteX53" fmla="*/ 299752 w 610362"/>
                <a:gd name="connsiteY53" fmla="*/ 53816 h 606647"/>
                <a:gd name="connsiteX54" fmla="*/ 316992 w 610362"/>
                <a:gd name="connsiteY54" fmla="*/ 46101 h 606647"/>
                <a:gd name="connsiteX55" fmla="*/ 320612 w 610362"/>
                <a:gd name="connsiteY55" fmla="*/ 45625 h 606647"/>
                <a:gd name="connsiteX56" fmla="*/ 322897 w 610362"/>
                <a:gd name="connsiteY56" fmla="*/ 48959 h 606647"/>
                <a:gd name="connsiteX57" fmla="*/ 326231 w 610362"/>
                <a:gd name="connsiteY57" fmla="*/ 46673 h 606647"/>
                <a:gd name="connsiteX58" fmla="*/ 329375 w 610362"/>
                <a:gd name="connsiteY58" fmla="*/ 42672 h 606647"/>
                <a:gd name="connsiteX59" fmla="*/ 331184 w 610362"/>
                <a:gd name="connsiteY59" fmla="*/ 42482 h 606647"/>
                <a:gd name="connsiteX60" fmla="*/ 330898 w 610362"/>
                <a:gd name="connsiteY60" fmla="*/ 40672 h 606647"/>
                <a:gd name="connsiteX61" fmla="*/ 331756 w 610362"/>
                <a:gd name="connsiteY61" fmla="*/ 33338 h 606647"/>
                <a:gd name="connsiteX62" fmla="*/ 336899 w 610362"/>
                <a:gd name="connsiteY62" fmla="*/ 30766 h 606647"/>
                <a:gd name="connsiteX63" fmla="*/ 338614 w 610362"/>
                <a:gd name="connsiteY63" fmla="*/ 16097 h 606647"/>
                <a:gd name="connsiteX64" fmla="*/ 344234 w 610362"/>
                <a:gd name="connsiteY64" fmla="*/ 17145 h 606647"/>
                <a:gd name="connsiteX65" fmla="*/ 348805 w 610362"/>
                <a:gd name="connsiteY65" fmla="*/ 23813 h 606647"/>
                <a:gd name="connsiteX66" fmla="*/ 360712 w 610362"/>
                <a:gd name="connsiteY66" fmla="*/ 31242 h 606647"/>
                <a:gd name="connsiteX67" fmla="*/ 371570 w 610362"/>
                <a:gd name="connsiteY67" fmla="*/ 29813 h 606647"/>
                <a:gd name="connsiteX68" fmla="*/ 386334 w 610362"/>
                <a:gd name="connsiteY68" fmla="*/ 17050 h 606647"/>
                <a:gd name="connsiteX69" fmla="*/ 393954 w 610362"/>
                <a:gd name="connsiteY69" fmla="*/ 19621 h 606647"/>
                <a:gd name="connsiteX70" fmla="*/ 393478 w 610362"/>
                <a:gd name="connsiteY70" fmla="*/ 16097 h 606647"/>
                <a:gd name="connsiteX71" fmla="*/ 400907 w 610362"/>
                <a:gd name="connsiteY71" fmla="*/ 16859 h 606647"/>
                <a:gd name="connsiteX72" fmla="*/ 400621 w 610362"/>
                <a:gd name="connsiteY72" fmla="*/ 15145 h 606647"/>
                <a:gd name="connsiteX73" fmla="*/ 404431 w 610362"/>
                <a:gd name="connsiteY73" fmla="*/ 16383 h 606647"/>
                <a:gd name="connsiteX74" fmla="*/ 404241 w 610362"/>
                <a:gd name="connsiteY74" fmla="*/ 14669 h 606647"/>
                <a:gd name="connsiteX75" fmla="*/ 407861 w 610362"/>
                <a:gd name="connsiteY75" fmla="*/ 14192 h 606647"/>
                <a:gd name="connsiteX76" fmla="*/ 407098 w 610362"/>
                <a:gd name="connsiteY76" fmla="*/ 8763 h 606647"/>
                <a:gd name="connsiteX77" fmla="*/ 412052 w 610362"/>
                <a:gd name="connsiteY77" fmla="*/ 4572 h 606647"/>
                <a:gd name="connsiteX78" fmla="*/ 418719 w 610362"/>
                <a:gd name="connsiteY78" fmla="*/ 0 h 606647"/>
                <a:gd name="connsiteX79" fmla="*/ 426148 w 610362"/>
                <a:gd name="connsiteY79" fmla="*/ 857 h 606647"/>
                <a:gd name="connsiteX80" fmla="*/ 425291 w 610362"/>
                <a:gd name="connsiteY80" fmla="*/ 8192 h 606647"/>
                <a:gd name="connsiteX81" fmla="*/ 426530 w 610362"/>
                <a:gd name="connsiteY81" fmla="*/ 17145 h 606647"/>
                <a:gd name="connsiteX82" fmla="*/ 431006 w 610362"/>
                <a:gd name="connsiteY82" fmla="*/ 23813 h 606647"/>
                <a:gd name="connsiteX83" fmla="*/ 431006 w 610362"/>
                <a:gd name="connsiteY83" fmla="*/ 23813 h 606647"/>
                <a:gd name="connsiteX84" fmla="*/ 431292 w 610362"/>
                <a:gd name="connsiteY84" fmla="*/ 25622 h 606647"/>
                <a:gd name="connsiteX85" fmla="*/ 429482 w 610362"/>
                <a:gd name="connsiteY85" fmla="*/ 25813 h 606647"/>
                <a:gd name="connsiteX86" fmla="*/ 423863 w 610362"/>
                <a:gd name="connsiteY86" fmla="*/ 24765 h 606647"/>
                <a:gd name="connsiteX87" fmla="*/ 421481 w 610362"/>
                <a:gd name="connsiteY87" fmla="*/ 34100 h 606647"/>
                <a:gd name="connsiteX88" fmla="*/ 423672 w 610362"/>
                <a:gd name="connsiteY88" fmla="*/ 37433 h 606647"/>
                <a:gd name="connsiteX89" fmla="*/ 428435 w 610362"/>
                <a:gd name="connsiteY89" fmla="*/ 45911 h 606647"/>
                <a:gd name="connsiteX90" fmla="*/ 428149 w 610362"/>
                <a:gd name="connsiteY90" fmla="*/ 56769 h 606647"/>
                <a:gd name="connsiteX91" fmla="*/ 436245 w 610362"/>
                <a:gd name="connsiteY91" fmla="*/ 62960 h 606647"/>
                <a:gd name="connsiteX92" fmla="*/ 439007 w 610362"/>
                <a:gd name="connsiteY92" fmla="*/ 69818 h 606647"/>
                <a:gd name="connsiteX93" fmla="*/ 429101 w 610362"/>
                <a:gd name="connsiteY93" fmla="*/ 78391 h 606647"/>
                <a:gd name="connsiteX94" fmla="*/ 432149 w 610362"/>
                <a:gd name="connsiteY94" fmla="*/ 87059 h 606647"/>
                <a:gd name="connsiteX95" fmla="*/ 443960 w 610362"/>
                <a:gd name="connsiteY95" fmla="*/ 80105 h 606647"/>
                <a:gd name="connsiteX96" fmla="*/ 455486 w 610362"/>
                <a:gd name="connsiteY96" fmla="*/ 84011 h 606647"/>
                <a:gd name="connsiteX97" fmla="*/ 457771 w 610362"/>
                <a:gd name="connsiteY97" fmla="*/ 87344 h 606647"/>
                <a:gd name="connsiteX98" fmla="*/ 456438 w 610362"/>
                <a:gd name="connsiteY98" fmla="*/ 91154 h 606647"/>
                <a:gd name="connsiteX99" fmla="*/ 468821 w 610362"/>
                <a:gd name="connsiteY99" fmla="*/ 102203 h 606647"/>
                <a:gd name="connsiteX100" fmla="*/ 465677 w 610362"/>
                <a:gd name="connsiteY100" fmla="*/ 106204 h 606647"/>
                <a:gd name="connsiteX101" fmla="*/ 470059 w 610362"/>
                <a:gd name="connsiteY101" fmla="*/ 111062 h 606647"/>
                <a:gd name="connsiteX102" fmla="*/ 465296 w 610362"/>
                <a:gd name="connsiteY102" fmla="*/ 117158 h 606647"/>
                <a:gd name="connsiteX103" fmla="*/ 461772 w 610362"/>
                <a:gd name="connsiteY103" fmla="*/ 117634 h 606647"/>
                <a:gd name="connsiteX104" fmla="*/ 464439 w 610362"/>
                <a:gd name="connsiteY104" fmla="*/ 124492 h 606647"/>
                <a:gd name="connsiteX105" fmla="*/ 462915 w 610362"/>
                <a:gd name="connsiteY105" fmla="*/ 126492 h 606647"/>
                <a:gd name="connsiteX106" fmla="*/ 465392 w 610362"/>
                <a:gd name="connsiteY106" fmla="*/ 131636 h 606647"/>
                <a:gd name="connsiteX107" fmla="*/ 462344 w 610362"/>
                <a:gd name="connsiteY107" fmla="*/ 135636 h 606647"/>
                <a:gd name="connsiteX108" fmla="*/ 465296 w 610362"/>
                <a:gd name="connsiteY108" fmla="*/ 144304 h 606647"/>
                <a:gd name="connsiteX109" fmla="*/ 455390 w 610362"/>
                <a:gd name="connsiteY109" fmla="*/ 152876 h 606647"/>
                <a:gd name="connsiteX110" fmla="*/ 454533 w 610362"/>
                <a:gd name="connsiteY110" fmla="*/ 160306 h 606647"/>
                <a:gd name="connsiteX111" fmla="*/ 452342 w 610362"/>
                <a:gd name="connsiteY111" fmla="*/ 156972 h 606647"/>
                <a:gd name="connsiteX112" fmla="*/ 449675 w 610362"/>
                <a:gd name="connsiteY112" fmla="*/ 164497 h 606647"/>
                <a:gd name="connsiteX113" fmla="*/ 462725 w 610362"/>
                <a:gd name="connsiteY113" fmla="*/ 166497 h 606647"/>
                <a:gd name="connsiteX114" fmla="*/ 463201 w 610362"/>
                <a:gd name="connsiteY114" fmla="*/ 170021 h 606647"/>
                <a:gd name="connsiteX115" fmla="*/ 460248 w 610362"/>
                <a:gd name="connsiteY115" fmla="*/ 175832 h 606647"/>
                <a:gd name="connsiteX116" fmla="*/ 471106 w 610362"/>
                <a:gd name="connsiteY116" fmla="*/ 174403 h 606647"/>
                <a:gd name="connsiteX117" fmla="*/ 475107 w 610362"/>
                <a:gd name="connsiteY117" fmla="*/ 177451 h 606647"/>
                <a:gd name="connsiteX118" fmla="*/ 478536 w 610362"/>
                <a:gd name="connsiteY118" fmla="*/ 175260 h 606647"/>
                <a:gd name="connsiteX119" fmla="*/ 482346 w 610362"/>
                <a:gd name="connsiteY119" fmla="*/ 176498 h 606647"/>
                <a:gd name="connsiteX120" fmla="*/ 479203 w 610362"/>
                <a:gd name="connsiteY120" fmla="*/ 180594 h 606647"/>
                <a:gd name="connsiteX121" fmla="*/ 479203 w 610362"/>
                <a:gd name="connsiteY121" fmla="*/ 180594 h 606647"/>
                <a:gd name="connsiteX122" fmla="*/ 475583 w 610362"/>
                <a:gd name="connsiteY122" fmla="*/ 181070 h 606647"/>
                <a:gd name="connsiteX123" fmla="*/ 473773 w 610362"/>
                <a:gd name="connsiteY123" fmla="*/ 181261 h 606647"/>
                <a:gd name="connsiteX124" fmla="*/ 470440 w 610362"/>
                <a:gd name="connsiteY124" fmla="*/ 183547 h 606647"/>
                <a:gd name="connsiteX125" fmla="*/ 470726 w 610362"/>
                <a:gd name="connsiteY125" fmla="*/ 185357 h 606647"/>
                <a:gd name="connsiteX126" fmla="*/ 472535 w 610362"/>
                <a:gd name="connsiteY126" fmla="*/ 185071 h 606647"/>
                <a:gd name="connsiteX127" fmla="*/ 474059 w 610362"/>
                <a:gd name="connsiteY127" fmla="*/ 183071 h 606647"/>
                <a:gd name="connsiteX128" fmla="*/ 477869 w 610362"/>
                <a:gd name="connsiteY128" fmla="*/ 184404 h 606647"/>
                <a:gd name="connsiteX129" fmla="*/ 478346 w 610362"/>
                <a:gd name="connsiteY129" fmla="*/ 187928 h 606647"/>
                <a:gd name="connsiteX130" fmla="*/ 473202 w 610362"/>
                <a:gd name="connsiteY130" fmla="*/ 190405 h 606647"/>
                <a:gd name="connsiteX131" fmla="*/ 461010 w 610362"/>
                <a:gd name="connsiteY131" fmla="*/ 181166 h 606647"/>
                <a:gd name="connsiteX132" fmla="*/ 457867 w 610362"/>
                <a:gd name="connsiteY132" fmla="*/ 185261 h 606647"/>
                <a:gd name="connsiteX133" fmla="*/ 444818 w 610362"/>
                <a:gd name="connsiteY133" fmla="*/ 183356 h 606647"/>
                <a:gd name="connsiteX134" fmla="*/ 433483 w 610362"/>
                <a:gd name="connsiteY134" fmla="*/ 193929 h 606647"/>
                <a:gd name="connsiteX135" fmla="*/ 446532 w 610362"/>
                <a:gd name="connsiteY135" fmla="*/ 210312 h 606647"/>
                <a:gd name="connsiteX136" fmla="*/ 443484 w 610362"/>
                <a:gd name="connsiteY136" fmla="*/ 214313 h 606647"/>
                <a:gd name="connsiteX137" fmla="*/ 436531 w 610362"/>
                <a:gd name="connsiteY137" fmla="*/ 217075 h 606647"/>
                <a:gd name="connsiteX138" fmla="*/ 441008 w 610362"/>
                <a:gd name="connsiteY138" fmla="*/ 223742 h 606647"/>
                <a:gd name="connsiteX139" fmla="*/ 444627 w 610362"/>
                <a:gd name="connsiteY139" fmla="*/ 223266 h 606647"/>
                <a:gd name="connsiteX140" fmla="*/ 445103 w 610362"/>
                <a:gd name="connsiteY140" fmla="*/ 226790 h 606647"/>
                <a:gd name="connsiteX141" fmla="*/ 443579 w 610362"/>
                <a:gd name="connsiteY141" fmla="*/ 228791 h 606647"/>
                <a:gd name="connsiteX142" fmla="*/ 446056 w 610362"/>
                <a:gd name="connsiteY142" fmla="*/ 233934 h 606647"/>
                <a:gd name="connsiteX143" fmla="*/ 446151 w 610362"/>
                <a:gd name="connsiteY143" fmla="*/ 248412 h 606647"/>
                <a:gd name="connsiteX144" fmla="*/ 442817 w 610362"/>
                <a:gd name="connsiteY144" fmla="*/ 250698 h 606647"/>
                <a:gd name="connsiteX145" fmla="*/ 439864 w 610362"/>
                <a:gd name="connsiteY145" fmla="*/ 256508 h 606647"/>
                <a:gd name="connsiteX146" fmla="*/ 443770 w 610362"/>
                <a:gd name="connsiteY146" fmla="*/ 257842 h 606647"/>
                <a:gd name="connsiteX147" fmla="*/ 454343 w 610362"/>
                <a:gd name="connsiteY147" fmla="*/ 269081 h 606647"/>
                <a:gd name="connsiteX148" fmla="*/ 467868 w 610362"/>
                <a:gd name="connsiteY148" fmla="*/ 274511 h 606647"/>
                <a:gd name="connsiteX149" fmla="*/ 474250 w 610362"/>
                <a:gd name="connsiteY149" fmla="*/ 280988 h 606647"/>
                <a:gd name="connsiteX150" fmla="*/ 476726 w 610362"/>
                <a:gd name="connsiteY150" fmla="*/ 286036 h 606647"/>
                <a:gd name="connsiteX151" fmla="*/ 481298 w 610362"/>
                <a:gd name="connsiteY151" fmla="*/ 292703 h 606647"/>
                <a:gd name="connsiteX152" fmla="*/ 484442 w 610362"/>
                <a:gd name="connsiteY152" fmla="*/ 303181 h 606647"/>
                <a:gd name="connsiteX153" fmla="*/ 486156 w 610362"/>
                <a:gd name="connsiteY153" fmla="*/ 330137 h 606647"/>
                <a:gd name="connsiteX154" fmla="*/ 497205 w 610362"/>
                <a:gd name="connsiteY154" fmla="*/ 330518 h 606647"/>
                <a:gd name="connsiteX155" fmla="*/ 510921 w 610362"/>
                <a:gd name="connsiteY155" fmla="*/ 337757 h 606647"/>
                <a:gd name="connsiteX156" fmla="*/ 514350 w 610362"/>
                <a:gd name="connsiteY156" fmla="*/ 335471 h 606647"/>
                <a:gd name="connsiteX157" fmla="*/ 532162 w 610362"/>
                <a:gd name="connsiteY157" fmla="*/ 318611 h 606647"/>
                <a:gd name="connsiteX158" fmla="*/ 544259 w 610362"/>
                <a:gd name="connsiteY158" fmla="*/ 313373 h 606647"/>
                <a:gd name="connsiteX159" fmla="*/ 563499 w 610362"/>
                <a:gd name="connsiteY159" fmla="*/ 334423 h 606647"/>
                <a:gd name="connsiteX160" fmla="*/ 560451 w 610362"/>
                <a:gd name="connsiteY160" fmla="*/ 338423 h 606647"/>
                <a:gd name="connsiteX161" fmla="*/ 574358 w 610362"/>
                <a:gd name="connsiteY161" fmla="*/ 347472 h 606647"/>
                <a:gd name="connsiteX162" fmla="*/ 585026 w 610362"/>
                <a:gd name="connsiteY162" fmla="*/ 358712 h 606647"/>
                <a:gd name="connsiteX163" fmla="*/ 588359 w 610362"/>
                <a:gd name="connsiteY163" fmla="*/ 356521 h 606647"/>
                <a:gd name="connsiteX164" fmla="*/ 598265 w 610362"/>
                <a:gd name="connsiteY164" fmla="*/ 362426 h 606647"/>
                <a:gd name="connsiteX165" fmla="*/ 610362 w 610362"/>
                <a:gd name="connsiteY165" fmla="*/ 357188 h 606647"/>
                <a:gd name="connsiteX166" fmla="*/ 608743 w 610362"/>
                <a:gd name="connsiteY166" fmla="*/ 371951 h 606647"/>
                <a:gd name="connsiteX167" fmla="*/ 593217 w 610362"/>
                <a:gd name="connsiteY167" fmla="*/ 379476 h 606647"/>
                <a:gd name="connsiteX168" fmla="*/ 580263 w 610362"/>
                <a:gd name="connsiteY168" fmla="*/ 392049 h 606647"/>
                <a:gd name="connsiteX169" fmla="*/ 568643 w 610362"/>
                <a:gd name="connsiteY169" fmla="*/ 400812 h 606647"/>
                <a:gd name="connsiteX170" fmla="*/ 564928 w 610362"/>
                <a:gd name="connsiteY170" fmla="*/ 413957 h 606647"/>
                <a:gd name="connsiteX171" fmla="*/ 543973 w 610362"/>
                <a:gd name="connsiteY171" fmla="*/ 449390 h 606647"/>
                <a:gd name="connsiteX172" fmla="*/ 540544 w 610362"/>
                <a:gd name="connsiteY172" fmla="*/ 464344 h 606647"/>
                <a:gd name="connsiteX173" fmla="*/ 539210 w 610362"/>
                <a:gd name="connsiteY173" fmla="*/ 468154 h 606647"/>
                <a:gd name="connsiteX174" fmla="*/ 529590 w 610362"/>
                <a:gd name="connsiteY174" fmla="*/ 478536 h 606647"/>
                <a:gd name="connsiteX175" fmla="*/ 529114 w 610362"/>
                <a:gd name="connsiteY175" fmla="*/ 502158 h 606647"/>
                <a:gd name="connsiteX176" fmla="*/ 517684 w 610362"/>
                <a:gd name="connsiteY176" fmla="*/ 512731 h 606647"/>
                <a:gd name="connsiteX177" fmla="*/ 504539 w 610362"/>
                <a:gd name="connsiteY177" fmla="*/ 537972 h 606647"/>
                <a:gd name="connsiteX178" fmla="*/ 503396 w 610362"/>
                <a:gd name="connsiteY178" fmla="*/ 570834 h 606647"/>
                <a:gd name="connsiteX179" fmla="*/ 500539 w 610362"/>
                <a:gd name="connsiteY179" fmla="*/ 576644 h 606647"/>
                <a:gd name="connsiteX180" fmla="*/ 499681 w 610362"/>
                <a:gd name="connsiteY180" fmla="*/ 583978 h 606647"/>
                <a:gd name="connsiteX181" fmla="*/ 495014 w 610362"/>
                <a:gd name="connsiteY181" fmla="*/ 590074 h 606647"/>
                <a:gd name="connsiteX182" fmla="*/ 494157 w 610362"/>
                <a:gd name="connsiteY182" fmla="*/ 597408 h 606647"/>
                <a:gd name="connsiteX183" fmla="*/ 487204 w 610362"/>
                <a:gd name="connsiteY183" fmla="*/ 600170 h 606647"/>
                <a:gd name="connsiteX184" fmla="*/ 478917 w 610362"/>
                <a:gd name="connsiteY184" fmla="*/ 606647 h 606647"/>
                <a:gd name="connsiteX185" fmla="*/ 476631 w 610362"/>
                <a:gd name="connsiteY185" fmla="*/ 603313 h 606647"/>
                <a:gd name="connsiteX186" fmla="*/ 467392 w 610362"/>
                <a:gd name="connsiteY186" fmla="*/ 602742 h 606647"/>
                <a:gd name="connsiteX187" fmla="*/ 459581 w 610362"/>
                <a:gd name="connsiteY187" fmla="*/ 598361 h 606647"/>
                <a:gd name="connsiteX188" fmla="*/ 460915 w 610362"/>
                <a:gd name="connsiteY188" fmla="*/ 594551 h 606647"/>
                <a:gd name="connsiteX189" fmla="*/ 466915 w 610362"/>
                <a:gd name="connsiteY189" fmla="*/ 584740 h 606647"/>
                <a:gd name="connsiteX190" fmla="*/ 465963 w 610362"/>
                <a:gd name="connsiteY190" fmla="*/ 577596 h 606647"/>
                <a:gd name="connsiteX191" fmla="*/ 467487 w 610362"/>
                <a:gd name="connsiteY191" fmla="*/ 575596 h 606647"/>
                <a:gd name="connsiteX192" fmla="*/ 467011 w 610362"/>
                <a:gd name="connsiteY192" fmla="*/ 571976 h 606647"/>
                <a:gd name="connsiteX193" fmla="*/ 463201 w 610362"/>
                <a:gd name="connsiteY193" fmla="*/ 570643 h 606647"/>
                <a:gd name="connsiteX194" fmla="*/ 460915 w 610362"/>
                <a:gd name="connsiteY194" fmla="*/ 567404 h 606647"/>
                <a:gd name="connsiteX195" fmla="*/ 462248 w 610362"/>
                <a:gd name="connsiteY195" fmla="*/ 563594 h 606647"/>
                <a:gd name="connsiteX196" fmla="*/ 459296 w 610362"/>
                <a:gd name="connsiteY196" fmla="*/ 554927 h 606647"/>
                <a:gd name="connsiteX197" fmla="*/ 462915 w 610362"/>
                <a:gd name="connsiteY197" fmla="*/ 554355 h 606647"/>
                <a:gd name="connsiteX198" fmla="*/ 462153 w 610362"/>
                <a:gd name="connsiteY198" fmla="*/ 549117 h 606647"/>
                <a:gd name="connsiteX199" fmla="*/ 459391 w 610362"/>
                <a:gd name="connsiteY199" fmla="*/ 542163 h 606647"/>
                <a:gd name="connsiteX200" fmla="*/ 462820 w 610362"/>
                <a:gd name="connsiteY200" fmla="*/ 539877 h 606647"/>
                <a:gd name="connsiteX201" fmla="*/ 458914 w 610362"/>
                <a:gd name="connsiteY201" fmla="*/ 538639 h 606647"/>
                <a:gd name="connsiteX202" fmla="*/ 462344 w 610362"/>
                <a:gd name="connsiteY202" fmla="*/ 536353 h 606647"/>
                <a:gd name="connsiteX203" fmla="*/ 459867 w 610362"/>
                <a:gd name="connsiteY203" fmla="*/ 531209 h 606647"/>
                <a:gd name="connsiteX204" fmla="*/ 450342 w 610362"/>
                <a:gd name="connsiteY204" fmla="*/ 528923 h 606647"/>
                <a:gd name="connsiteX205" fmla="*/ 449675 w 610362"/>
                <a:gd name="connsiteY205" fmla="*/ 523589 h 606647"/>
                <a:gd name="connsiteX206" fmla="*/ 452533 w 610362"/>
                <a:gd name="connsiteY206" fmla="*/ 517684 h 606647"/>
                <a:gd name="connsiteX207" fmla="*/ 452056 w 610362"/>
                <a:gd name="connsiteY207" fmla="*/ 514160 h 606647"/>
                <a:gd name="connsiteX208" fmla="*/ 455676 w 610362"/>
                <a:gd name="connsiteY208" fmla="*/ 513683 h 606647"/>
                <a:gd name="connsiteX209" fmla="*/ 453580 w 610362"/>
                <a:gd name="connsiteY209" fmla="*/ 512159 h 606647"/>
                <a:gd name="connsiteX210" fmla="*/ 457010 w 610362"/>
                <a:gd name="connsiteY210" fmla="*/ 509873 h 606647"/>
                <a:gd name="connsiteX211" fmla="*/ 454914 w 610362"/>
                <a:gd name="connsiteY211" fmla="*/ 508349 h 606647"/>
                <a:gd name="connsiteX212" fmla="*/ 456057 w 610362"/>
                <a:gd name="connsiteY212" fmla="*/ 502730 h 606647"/>
                <a:gd name="connsiteX213" fmla="*/ 453580 w 610362"/>
                <a:gd name="connsiteY213" fmla="*/ 497681 h 606647"/>
                <a:gd name="connsiteX214" fmla="*/ 454628 w 610362"/>
                <a:gd name="connsiteY214" fmla="*/ 492062 h 606647"/>
                <a:gd name="connsiteX215" fmla="*/ 446532 w 610362"/>
                <a:gd name="connsiteY215" fmla="*/ 485870 h 606647"/>
                <a:gd name="connsiteX216" fmla="*/ 449866 w 610362"/>
                <a:gd name="connsiteY216" fmla="*/ 483584 h 606647"/>
                <a:gd name="connsiteX217" fmla="*/ 443770 w 610362"/>
                <a:gd name="connsiteY217" fmla="*/ 479012 h 606647"/>
                <a:gd name="connsiteX218" fmla="*/ 441484 w 610362"/>
                <a:gd name="connsiteY218" fmla="*/ 475679 h 606647"/>
                <a:gd name="connsiteX219" fmla="*/ 444818 w 610362"/>
                <a:gd name="connsiteY219" fmla="*/ 473393 h 606647"/>
                <a:gd name="connsiteX220" fmla="*/ 440817 w 610362"/>
                <a:gd name="connsiteY220" fmla="*/ 470345 h 606647"/>
                <a:gd name="connsiteX221" fmla="*/ 437388 w 610362"/>
                <a:gd name="connsiteY221" fmla="*/ 472630 h 606647"/>
                <a:gd name="connsiteX222" fmla="*/ 426434 w 610362"/>
                <a:gd name="connsiteY222" fmla="*/ 472250 h 606647"/>
                <a:gd name="connsiteX223" fmla="*/ 419862 w 610362"/>
                <a:gd name="connsiteY223" fmla="*/ 464058 h 606647"/>
                <a:gd name="connsiteX224" fmla="*/ 410718 w 610362"/>
                <a:gd name="connsiteY224" fmla="*/ 477965 h 606647"/>
                <a:gd name="connsiteX225" fmla="*/ 385381 w 610362"/>
                <a:gd name="connsiteY225" fmla="*/ 479488 h 606647"/>
                <a:gd name="connsiteX226" fmla="*/ 379000 w 610362"/>
                <a:gd name="connsiteY226" fmla="*/ 473012 h 606647"/>
                <a:gd name="connsiteX227" fmla="*/ 372713 w 610362"/>
                <a:gd name="connsiteY227" fmla="*/ 481108 h 606647"/>
                <a:gd name="connsiteX228" fmla="*/ 359950 w 610362"/>
                <a:gd name="connsiteY228" fmla="*/ 481013 h 606647"/>
                <a:gd name="connsiteX229" fmla="*/ 354330 w 610362"/>
                <a:gd name="connsiteY229" fmla="*/ 479965 h 606647"/>
                <a:gd name="connsiteX230" fmla="*/ 348044 w 610362"/>
                <a:gd name="connsiteY230" fmla="*/ 487966 h 606647"/>
                <a:gd name="connsiteX231" fmla="*/ 347377 w 610362"/>
                <a:gd name="connsiteY231" fmla="*/ 482632 h 606647"/>
                <a:gd name="connsiteX232" fmla="*/ 339471 w 610362"/>
                <a:gd name="connsiteY232" fmla="*/ 478250 h 606647"/>
                <a:gd name="connsiteX233" fmla="*/ 332327 w 610362"/>
                <a:gd name="connsiteY233" fmla="*/ 479203 h 606647"/>
                <a:gd name="connsiteX234" fmla="*/ 328422 w 610362"/>
                <a:gd name="connsiteY234" fmla="*/ 477965 h 606647"/>
                <a:gd name="connsiteX235" fmla="*/ 327184 w 610362"/>
                <a:gd name="connsiteY235" fmla="*/ 481679 h 606647"/>
                <a:gd name="connsiteX236" fmla="*/ 325088 w 610362"/>
                <a:gd name="connsiteY236" fmla="*/ 480155 h 606647"/>
                <a:gd name="connsiteX237" fmla="*/ 314992 w 610362"/>
                <a:gd name="connsiteY237" fmla="*/ 472440 h 606647"/>
                <a:gd name="connsiteX238" fmla="*/ 309848 w 610362"/>
                <a:gd name="connsiteY238" fmla="*/ 474917 h 606647"/>
                <a:gd name="connsiteX239" fmla="*/ 309277 w 610362"/>
                <a:gd name="connsiteY239" fmla="*/ 471392 h 606647"/>
                <a:gd name="connsiteX240" fmla="*/ 305562 w 610362"/>
                <a:gd name="connsiteY240" fmla="*/ 470059 h 606647"/>
                <a:gd name="connsiteX241" fmla="*/ 304610 w 610362"/>
                <a:gd name="connsiteY241" fmla="*/ 462915 h 606647"/>
                <a:gd name="connsiteX242" fmla="*/ 299752 w 610362"/>
                <a:gd name="connsiteY242" fmla="*/ 454533 h 606647"/>
                <a:gd name="connsiteX243" fmla="*/ 289274 w 610362"/>
                <a:gd name="connsiteY243" fmla="*/ 457771 h 606647"/>
                <a:gd name="connsiteX244" fmla="*/ 288798 w 610362"/>
                <a:gd name="connsiteY244" fmla="*/ 454152 h 606647"/>
                <a:gd name="connsiteX245" fmla="*/ 286798 w 610362"/>
                <a:gd name="connsiteY245" fmla="*/ 452628 h 606647"/>
                <a:gd name="connsiteX246" fmla="*/ 283178 w 610362"/>
                <a:gd name="connsiteY246" fmla="*/ 453104 h 606647"/>
                <a:gd name="connsiteX247" fmla="*/ 281083 w 610362"/>
                <a:gd name="connsiteY247" fmla="*/ 451580 h 606647"/>
                <a:gd name="connsiteX248" fmla="*/ 284512 w 610362"/>
                <a:gd name="connsiteY248" fmla="*/ 449294 h 606647"/>
                <a:gd name="connsiteX249" fmla="*/ 280892 w 610362"/>
                <a:gd name="connsiteY249" fmla="*/ 449771 h 606647"/>
                <a:gd name="connsiteX250" fmla="*/ 278606 w 610362"/>
                <a:gd name="connsiteY250" fmla="*/ 446437 h 606647"/>
                <a:gd name="connsiteX251" fmla="*/ 271463 w 610362"/>
                <a:gd name="connsiteY251" fmla="*/ 447389 h 606647"/>
                <a:gd name="connsiteX252" fmla="*/ 262414 w 610362"/>
                <a:gd name="connsiteY252" fmla="*/ 448628 h 606647"/>
                <a:gd name="connsiteX253" fmla="*/ 260890 w 610362"/>
                <a:gd name="connsiteY253" fmla="*/ 450628 h 606647"/>
                <a:gd name="connsiteX254" fmla="*/ 257080 w 610362"/>
                <a:gd name="connsiteY254" fmla="*/ 449294 h 606647"/>
                <a:gd name="connsiteX255" fmla="*/ 245650 w 610362"/>
                <a:gd name="connsiteY255" fmla="*/ 459867 h 606647"/>
                <a:gd name="connsiteX256" fmla="*/ 242316 w 610362"/>
                <a:gd name="connsiteY256" fmla="*/ 462153 h 606647"/>
                <a:gd name="connsiteX257" fmla="*/ 237554 w 610362"/>
                <a:gd name="connsiteY257" fmla="*/ 453676 h 606647"/>
                <a:gd name="connsiteX258" fmla="*/ 232791 w 610362"/>
                <a:gd name="connsiteY258" fmla="*/ 445294 h 606647"/>
                <a:gd name="connsiteX259" fmla="*/ 233839 w 610362"/>
                <a:gd name="connsiteY259" fmla="*/ 439674 h 606647"/>
                <a:gd name="connsiteX260" fmla="*/ 238315 w 610362"/>
                <a:gd name="connsiteY260" fmla="*/ 431863 h 606647"/>
                <a:gd name="connsiteX261" fmla="*/ 236887 w 610362"/>
                <a:gd name="connsiteY261" fmla="*/ 421100 h 606647"/>
                <a:gd name="connsiteX262" fmla="*/ 234505 w 610362"/>
                <a:gd name="connsiteY262" fmla="*/ 403384 h 606647"/>
                <a:gd name="connsiteX263" fmla="*/ 224600 w 610362"/>
                <a:gd name="connsiteY263" fmla="*/ 397383 h 606647"/>
                <a:gd name="connsiteX264" fmla="*/ 219837 w 610362"/>
                <a:gd name="connsiteY264" fmla="*/ 389001 h 606647"/>
                <a:gd name="connsiteX265" fmla="*/ 211931 w 610362"/>
                <a:gd name="connsiteY265" fmla="*/ 384524 h 606647"/>
                <a:gd name="connsiteX266" fmla="*/ 204502 w 610362"/>
                <a:gd name="connsiteY266" fmla="*/ 383762 h 606647"/>
                <a:gd name="connsiteX267" fmla="*/ 204311 w 610362"/>
                <a:gd name="connsiteY267" fmla="*/ 381953 h 606647"/>
                <a:gd name="connsiteX268" fmla="*/ 195548 w 610362"/>
                <a:gd name="connsiteY268" fmla="*/ 384905 h 606647"/>
                <a:gd name="connsiteX269" fmla="*/ 192691 w 610362"/>
                <a:gd name="connsiteY269" fmla="*/ 390716 h 606647"/>
                <a:gd name="connsiteX270" fmla="*/ 190881 w 610362"/>
                <a:gd name="connsiteY270" fmla="*/ 391001 h 606647"/>
                <a:gd name="connsiteX271" fmla="*/ 179642 w 610362"/>
                <a:gd name="connsiteY271" fmla="*/ 388811 h 606647"/>
                <a:gd name="connsiteX272" fmla="*/ 172688 w 610362"/>
                <a:gd name="connsiteY272" fmla="*/ 391573 h 606647"/>
                <a:gd name="connsiteX273" fmla="*/ 157829 w 610362"/>
                <a:gd name="connsiteY273" fmla="*/ 389954 h 606647"/>
                <a:gd name="connsiteX274" fmla="*/ 158687 w 610362"/>
                <a:gd name="connsiteY274" fmla="*/ 382524 h 606647"/>
                <a:gd name="connsiteX275" fmla="*/ 146971 w 610362"/>
                <a:gd name="connsiteY275" fmla="*/ 376809 h 606647"/>
                <a:gd name="connsiteX276" fmla="*/ 133731 w 610362"/>
                <a:gd name="connsiteY276" fmla="*/ 373190 h 606647"/>
                <a:gd name="connsiteX277" fmla="*/ 125349 w 610362"/>
                <a:gd name="connsiteY277" fmla="*/ 365188 h 606647"/>
                <a:gd name="connsiteX278" fmla="*/ 122777 w 610362"/>
                <a:gd name="connsiteY278" fmla="*/ 360140 h 606647"/>
                <a:gd name="connsiteX279" fmla="*/ 108299 w 610362"/>
                <a:gd name="connsiteY279" fmla="*/ 347472 h 606647"/>
                <a:gd name="connsiteX280" fmla="*/ 101918 w 610362"/>
                <a:gd name="connsiteY280" fmla="*/ 353759 h 606647"/>
                <a:gd name="connsiteX281" fmla="*/ 96107 w 610362"/>
                <a:gd name="connsiteY281" fmla="*/ 365474 h 606647"/>
                <a:gd name="connsiteX282" fmla="*/ 89345 w 610362"/>
                <a:gd name="connsiteY282" fmla="*/ 369951 h 606647"/>
                <a:gd name="connsiteX283" fmla="*/ 86678 w 610362"/>
                <a:gd name="connsiteY283" fmla="*/ 363093 h 606647"/>
                <a:gd name="connsiteX284" fmla="*/ 72295 w 610362"/>
                <a:gd name="connsiteY284" fmla="*/ 364998 h 606647"/>
                <a:gd name="connsiteX285" fmla="*/ 54102 w 610362"/>
                <a:gd name="connsiteY285" fmla="*/ 365570 h 606647"/>
                <a:gd name="connsiteX286" fmla="*/ 39910 w 610362"/>
                <a:gd name="connsiteY286" fmla="*/ 354711 h 606647"/>
                <a:gd name="connsiteX287" fmla="*/ 35528 w 610362"/>
                <a:gd name="connsiteY287" fmla="*/ 349853 h 606647"/>
                <a:gd name="connsiteX288" fmla="*/ 23813 w 610362"/>
                <a:gd name="connsiteY288" fmla="*/ 344138 h 606647"/>
                <a:gd name="connsiteX289" fmla="*/ 6953 w 610362"/>
                <a:gd name="connsiteY289" fmla="*/ 340995 h 606647"/>
                <a:gd name="connsiteX290" fmla="*/ 6477 w 610362"/>
                <a:gd name="connsiteY290" fmla="*/ 337376 h 606647"/>
                <a:gd name="connsiteX291" fmla="*/ 9144 w 610362"/>
                <a:gd name="connsiteY291" fmla="*/ 329755 h 606647"/>
                <a:gd name="connsiteX292" fmla="*/ 9811 w 610362"/>
                <a:gd name="connsiteY292" fmla="*/ 320612 h 606647"/>
                <a:gd name="connsiteX293" fmla="*/ 4096 w 610362"/>
                <a:gd name="connsiteY293" fmla="*/ 305086 h 606647"/>
                <a:gd name="connsiteX294" fmla="*/ 0 w 610362"/>
                <a:gd name="connsiteY294" fmla="*/ 302038 h 606647"/>
                <a:gd name="connsiteX295" fmla="*/ 3143 w 610362"/>
                <a:gd name="connsiteY295" fmla="*/ 297942 h 606647"/>
                <a:gd name="connsiteX296" fmla="*/ 10478 w 610362"/>
                <a:gd name="connsiteY296" fmla="*/ 284321 h 606647"/>
                <a:gd name="connsiteX297" fmla="*/ 7906 w 610362"/>
                <a:gd name="connsiteY297" fmla="*/ 279178 h 606647"/>
                <a:gd name="connsiteX298" fmla="*/ 11716 w 610362"/>
                <a:gd name="connsiteY298" fmla="*/ 280511 h 606647"/>
                <a:gd name="connsiteX299" fmla="*/ 17050 w 610362"/>
                <a:gd name="connsiteY299" fmla="*/ 265271 h 606647"/>
                <a:gd name="connsiteX300" fmla="*/ 10954 w 610362"/>
                <a:gd name="connsiteY300" fmla="*/ 260699 h 606647"/>
                <a:gd name="connsiteX301" fmla="*/ 19812 w 610362"/>
                <a:gd name="connsiteY301" fmla="*/ 244983 h 606647"/>
                <a:gd name="connsiteX302" fmla="*/ 25813 w 610362"/>
                <a:gd name="connsiteY302" fmla="*/ 235172 h 606647"/>
                <a:gd name="connsiteX303" fmla="*/ 48006 w 610362"/>
                <a:gd name="connsiteY303" fmla="*/ 223171 h 606647"/>
                <a:gd name="connsiteX304" fmla="*/ 46768 w 610362"/>
                <a:gd name="connsiteY304" fmla="*/ 199739 h 606647"/>
                <a:gd name="connsiteX305" fmla="*/ 40672 w 610362"/>
                <a:gd name="connsiteY305" fmla="*/ 195072 h 606647"/>
                <a:gd name="connsiteX306" fmla="*/ 36386 w 610362"/>
                <a:gd name="connsiteY306" fmla="*/ 190214 h 606647"/>
                <a:gd name="connsiteX307" fmla="*/ 13621 w 610362"/>
                <a:gd name="connsiteY307" fmla="*/ 184213 h 606647"/>
                <a:gd name="connsiteX308" fmla="*/ 17336 w 610362"/>
                <a:gd name="connsiteY308" fmla="*/ 170974 h 606647"/>
                <a:gd name="connsiteX309" fmla="*/ 24955 w 610362"/>
                <a:gd name="connsiteY309" fmla="*/ 159068 h 606647"/>
                <a:gd name="connsiteX310" fmla="*/ 31052 w 610362"/>
                <a:gd name="connsiteY310" fmla="*/ 163735 h 606647"/>
                <a:gd name="connsiteX311" fmla="*/ 40196 w 610362"/>
                <a:gd name="connsiteY311" fmla="*/ 149828 h 606647"/>
                <a:gd name="connsiteX312" fmla="*/ 30766 w 610362"/>
                <a:gd name="connsiteY312" fmla="*/ 147447 h 606647"/>
                <a:gd name="connsiteX313" fmla="*/ 27718 w 610362"/>
                <a:gd name="connsiteY313" fmla="*/ 138779 h 606647"/>
                <a:gd name="connsiteX314" fmla="*/ 40291 w 610362"/>
                <a:gd name="connsiteY314" fmla="*/ 137160 h 606647"/>
                <a:gd name="connsiteX315" fmla="*/ 39814 w 610362"/>
                <a:gd name="connsiteY315" fmla="*/ 133541 h 606647"/>
                <a:gd name="connsiteX316" fmla="*/ 44958 w 610362"/>
                <a:gd name="connsiteY316" fmla="*/ 131064 h 606647"/>
                <a:gd name="connsiteX317" fmla="*/ 50959 w 610362"/>
                <a:gd name="connsiteY317" fmla="*/ 121253 h 606647"/>
                <a:gd name="connsiteX318" fmla="*/ 43148 w 610362"/>
                <a:gd name="connsiteY318" fmla="*/ 116777 h 606647"/>
                <a:gd name="connsiteX319" fmla="*/ 46006 w 610362"/>
                <a:gd name="connsiteY319" fmla="*/ 110966 h 606647"/>
                <a:gd name="connsiteX320" fmla="*/ 32195 w 610362"/>
                <a:gd name="connsiteY320" fmla="*/ 103727 h 606647"/>
                <a:gd name="connsiteX321" fmla="*/ 40291 w 610362"/>
                <a:gd name="connsiteY321" fmla="*/ 95441 h 60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</a:cxnLst>
              <a:rect l="l" t="t" r="r" b="b"/>
              <a:pathLst>
                <a:path w="610362" h="606647">
                  <a:moveTo>
                    <a:pt x="40291" y="95441"/>
                  </a:moveTo>
                  <a:lnTo>
                    <a:pt x="54864" y="95345"/>
                  </a:lnTo>
                  <a:lnTo>
                    <a:pt x="79820" y="90202"/>
                  </a:lnTo>
                  <a:lnTo>
                    <a:pt x="89630" y="81629"/>
                  </a:lnTo>
                  <a:lnTo>
                    <a:pt x="87630" y="80105"/>
                  </a:lnTo>
                  <a:lnTo>
                    <a:pt x="99917" y="76676"/>
                  </a:lnTo>
                  <a:lnTo>
                    <a:pt x="113062" y="65818"/>
                  </a:lnTo>
                  <a:lnTo>
                    <a:pt x="117158" y="68961"/>
                  </a:lnTo>
                  <a:lnTo>
                    <a:pt x="118301" y="63341"/>
                  </a:lnTo>
                  <a:lnTo>
                    <a:pt x="125921" y="66008"/>
                  </a:lnTo>
                  <a:lnTo>
                    <a:pt x="124873" y="71533"/>
                  </a:lnTo>
                  <a:lnTo>
                    <a:pt x="126873" y="73057"/>
                  </a:lnTo>
                  <a:lnTo>
                    <a:pt x="124015" y="78867"/>
                  </a:lnTo>
                  <a:lnTo>
                    <a:pt x="122872" y="84487"/>
                  </a:lnTo>
                  <a:lnTo>
                    <a:pt x="128111" y="96488"/>
                  </a:lnTo>
                  <a:lnTo>
                    <a:pt x="122968" y="98965"/>
                  </a:lnTo>
                  <a:lnTo>
                    <a:pt x="125730" y="105918"/>
                  </a:lnTo>
                  <a:lnTo>
                    <a:pt x="145256" y="101537"/>
                  </a:lnTo>
                  <a:lnTo>
                    <a:pt x="152400" y="100489"/>
                  </a:lnTo>
                  <a:lnTo>
                    <a:pt x="162878" y="110014"/>
                  </a:lnTo>
                  <a:lnTo>
                    <a:pt x="166402" y="109538"/>
                  </a:lnTo>
                  <a:lnTo>
                    <a:pt x="167164" y="114871"/>
                  </a:lnTo>
                  <a:lnTo>
                    <a:pt x="180213" y="116777"/>
                  </a:lnTo>
                  <a:lnTo>
                    <a:pt x="193929" y="124016"/>
                  </a:lnTo>
                  <a:lnTo>
                    <a:pt x="195263" y="120205"/>
                  </a:lnTo>
                  <a:lnTo>
                    <a:pt x="196787" y="118205"/>
                  </a:lnTo>
                  <a:lnTo>
                    <a:pt x="198120" y="114395"/>
                  </a:lnTo>
                  <a:lnTo>
                    <a:pt x="203740" y="115538"/>
                  </a:lnTo>
                  <a:lnTo>
                    <a:pt x="207073" y="113252"/>
                  </a:lnTo>
                  <a:lnTo>
                    <a:pt x="210503" y="110966"/>
                  </a:lnTo>
                  <a:lnTo>
                    <a:pt x="205169" y="98965"/>
                  </a:lnTo>
                  <a:lnTo>
                    <a:pt x="206597" y="95155"/>
                  </a:lnTo>
                  <a:lnTo>
                    <a:pt x="208597" y="96679"/>
                  </a:lnTo>
                  <a:lnTo>
                    <a:pt x="209455" y="89345"/>
                  </a:lnTo>
                  <a:lnTo>
                    <a:pt x="212788" y="87154"/>
                  </a:lnTo>
                  <a:lnTo>
                    <a:pt x="212312" y="83534"/>
                  </a:lnTo>
                  <a:lnTo>
                    <a:pt x="214122" y="83344"/>
                  </a:lnTo>
                  <a:lnTo>
                    <a:pt x="217456" y="81058"/>
                  </a:lnTo>
                  <a:lnTo>
                    <a:pt x="219742" y="84392"/>
                  </a:lnTo>
                  <a:lnTo>
                    <a:pt x="223076" y="82105"/>
                  </a:lnTo>
                  <a:lnTo>
                    <a:pt x="222409" y="76771"/>
                  </a:lnTo>
                  <a:lnTo>
                    <a:pt x="232220" y="68199"/>
                  </a:lnTo>
                  <a:lnTo>
                    <a:pt x="233077" y="60865"/>
                  </a:lnTo>
                  <a:lnTo>
                    <a:pt x="243364" y="55912"/>
                  </a:lnTo>
                  <a:lnTo>
                    <a:pt x="246317" y="50102"/>
                  </a:lnTo>
                  <a:lnTo>
                    <a:pt x="241935" y="45149"/>
                  </a:lnTo>
                  <a:lnTo>
                    <a:pt x="241745" y="43434"/>
                  </a:lnTo>
                  <a:lnTo>
                    <a:pt x="246888" y="40862"/>
                  </a:lnTo>
                  <a:lnTo>
                    <a:pt x="250984" y="44005"/>
                  </a:lnTo>
                  <a:lnTo>
                    <a:pt x="263652" y="29623"/>
                  </a:lnTo>
                  <a:lnTo>
                    <a:pt x="268414" y="38005"/>
                  </a:lnTo>
                  <a:lnTo>
                    <a:pt x="270034" y="36004"/>
                  </a:lnTo>
                  <a:lnTo>
                    <a:pt x="286036" y="46577"/>
                  </a:lnTo>
                  <a:lnTo>
                    <a:pt x="299752" y="53816"/>
                  </a:lnTo>
                  <a:lnTo>
                    <a:pt x="316992" y="46101"/>
                  </a:lnTo>
                  <a:lnTo>
                    <a:pt x="320612" y="45625"/>
                  </a:lnTo>
                  <a:lnTo>
                    <a:pt x="322897" y="48959"/>
                  </a:lnTo>
                  <a:lnTo>
                    <a:pt x="326231" y="46673"/>
                  </a:lnTo>
                  <a:lnTo>
                    <a:pt x="329375" y="42672"/>
                  </a:lnTo>
                  <a:lnTo>
                    <a:pt x="331184" y="42482"/>
                  </a:lnTo>
                  <a:lnTo>
                    <a:pt x="330898" y="40672"/>
                  </a:lnTo>
                  <a:lnTo>
                    <a:pt x="331756" y="33338"/>
                  </a:lnTo>
                  <a:lnTo>
                    <a:pt x="336899" y="30766"/>
                  </a:lnTo>
                  <a:lnTo>
                    <a:pt x="338614" y="16097"/>
                  </a:lnTo>
                  <a:lnTo>
                    <a:pt x="344234" y="17145"/>
                  </a:lnTo>
                  <a:lnTo>
                    <a:pt x="348805" y="23813"/>
                  </a:lnTo>
                  <a:lnTo>
                    <a:pt x="360712" y="31242"/>
                  </a:lnTo>
                  <a:lnTo>
                    <a:pt x="371570" y="29813"/>
                  </a:lnTo>
                  <a:lnTo>
                    <a:pt x="386334" y="17050"/>
                  </a:lnTo>
                  <a:lnTo>
                    <a:pt x="393954" y="19621"/>
                  </a:lnTo>
                  <a:lnTo>
                    <a:pt x="393478" y="16097"/>
                  </a:lnTo>
                  <a:lnTo>
                    <a:pt x="400907" y="16859"/>
                  </a:lnTo>
                  <a:lnTo>
                    <a:pt x="400621" y="15145"/>
                  </a:lnTo>
                  <a:lnTo>
                    <a:pt x="404431" y="16383"/>
                  </a:lnTo>
                  <a:lnTo>
                    <a:pt x="404241" y="14669"/>
                  </a:lnTo>
                  <a:lnTo>
                    <a:pt x="407861" y="14192"/>
                  </a:lnTo>
                  <a:lnTo>
                    <a:pt x="407098" y="8763"/>
                  </a:lnTo>
                  <a:lnTo>
                    <a:pt x="412052" y="4572"/>
                  </a:lnTo>
                  <a:lnTo>
                    <a:pt x="418719" y="0"/>
                  </a:lnTo>
                  <a:lnTo>
                    <a:pt x="426148" y="857"/>
                  </a:lnTo>
                  <a:lnTo>
                    <a:pt x="425291" y="8192"/>
                  </a:lnTo>
                  <a:lnTo>
                    <a:pt x="426530" y="17145"/>
                  </a:lnTo>
                  <a:lnTo>
                    <a:pt x="431006" y="23813"/>
                  </a:lnTo>
                  <a:lnTo>
                    <a:pt x="431006" y="23813"/>
                  </a:lnTo>
                  <a:lnTo>
                    <a:pt x="431292" y="25622"/>
                  </a:lnTo>
                  <a:lnTo>
                    <a:pt x="429482" y="25813"/>
                  </a:lnTo>
                  <a:lnTo>
                    <a:pt x="423863" y="24765"/>
                  </a:lnTo>
                  <a:lnTo>
                    <a:pt x="421481" y="34100"/>
                  </a:lnTo>
                  <a:lnTo>
                    <a:pt x="423672" y="37433"/>
                  </a:lnTo>
                  <a:lnTo>
                    <a:pt x="428435" y="45911"/>
                  </a:lnTo>
                  <a:lnTo>
                    <a:pt x="428149" y="56769"/>
                  </a:lnTo>
                  <a:lnTo>
                    <a:pt x="436245" y="62960"/>
                  </a:lnTo>
                  <a:lnTo>
                    <a:pt x="439007" y="69818"/>
                  </a:lnTo>
                  <a:lnTo>
                    <a:pt x="429101" y="78391"/>
                  </a:lnTo>
                  <a:lnTo>
                    <a:pt x="432149" y="87059"/>
                  </a:lnTo>
                  <a:lnTo>
                    <a:pt x="443960" y="80105"/>
                  </a:lnTo>
                  <a:lnTo>
                    <a:pt x="455486" y="84011"/>
                  </a:lnTo>
                  <a:lnTo>
                    <a:pt x="457771" y="87344"/>
                  </a:lnTo>
                  <a:lnTo>
                    <a:pt x="456438" y="91154"/>
                  </a:lnTo>
                  <a:lnTo>
                    <a:pt x="468821" y="102203"/>
                  </a:lnTo>
                  <a:lnTo>
                    <a:pt x="465677" y="106204"/>
                  </a:lnTo>
                  <a:lnTo>
                    <a:pt x="470059" y="111062"/>
                  </a:lnTo>
                  <a:lnTo>
                    <a:pt x="465296" y="117158"/>
                  </a:lnTo>
                  <a:lnTo>
                    <a:pt x="461772" y="117634"/>
                  </a:lnTo>
                  <a:lnTo>
                    <a:pt x="464439" y="124492"/>
                  </a:lnTo>
                  <a:lnTo>
                    <a:pt x="462915" y="126492"/>
                  </a:lnTo>
                  <a:lnTo>
                    <a:pt x="465392" y="131636"/>
                  </a:lnTo>
                  <a:lnTo>
                    <a:pt x="462344" y="135636"/>
                  </a:lnTo>
                  <a:lnTo>
                    <a:pt x="465296" y="144304"/>
                  </a:lnTo>
                  <a:lnTo>
                    <a:pt x="455390" y="152876"/>
                  </a:lnTo>
                  <a:lnTo>
                    <a:pt x="454533" y="160306"/>
                  </a:lnTo>
                  <a:lnTo>
                    <a:pt x="452342" y="156972"/>
                  </a:lnTo>
                  <a:lnTo>
                    <a:pt x="449675" y="164497"/>
                  </a:lnTo>
                  <a:lnTo>
                    <a:pt x="462725" y="166497"/>
                  </a:lnTo>
                  <a:lnTo>
                    <a:pt x="463201" y="170021"/>
                  </a:lnTo>
                  <a:lnTo>
                    <a:pt x="460248" y="175832"/>
                  </a:lnTo>
                  <a:lnTo>
                    <a:pt x="471106" y="174403"/>
                  </a:lnTo>
                  <a:lnTo>
                    <a:pt x="475107" y="177451"/>
                  </a:lnTo>
                  <a:lnTo>
                    <a:pt x="478536" y="175260"/>
                  </a:lnTo>
                  <a:lnTo>
                    <a:pt x="482346" y="176498"/>
                  </a:lnTo>
                  <a:lnTo>
                    <a:pt x="479203" y="180594"/>
                  </a:lnTo>
                  <a:lnTo>
                    <a:pt x="479203" y="180594"/>
                  </a:lnTo>
                  <a:lnTo>
                    <a:pt x="475583" y="181070"/>
                  </a:lnTo>
                  <a:lnTo>
                    <a:pt x="473773" y="181261"/>
                  </a:lnTo>
                  <a:lnTo>
                    <a:pt x="470440" y="183547"/>
                  </a:lnTo>
                  <a:lnTo>
                    <a:pt x="470726" y="185357"/>
                  </a:lnTo>
                  <a:lnTo>
                    <a:pt x="472535" y="185071"/>
                  </a:lnTo>
                  <a:lnTo>
                    <a:pt x="474059" y="183071"/>
                  </a:lnTo>
                  <a:lnTo>
                    <a:pt x="477869" y="184404"/>
                  </a:lnTo>
                  <a:lnTo>
                    <a:pt x="478346" y="187928"/>
                  </a:lnTo>
                  <a:lnTo>
                    <a:pt x="473202" y="190405"/>
                  </a:lnTo>
                  <a:lnTo>
                    <a:pt x="461010" y="181166"/>
                  </a:lnTo>
                  <a:lnTo>
                    <a:pt x="457867" y="185261"/>
                  </a:lnTo>
                  <a:lnTo>
                    <a:pt x="444818" y="183356"/>
                  </a:lnTo>
                  <a:lnTo>
                    <a:pt x="433483" y="193929"/>
                  </a:lnTo>
                  <a:lnTo>
                    <a:pt x="446532" y="210312"/>
                  </a:lnTo>
                  <a:lnTo>
                    <a:pt x="443484" y="214313"/>
                  </a:lnTo>
                  <a:lnTo>
                    <a:pt x="436531" y="217075"/>
                  </a:lnTo>
                  <a:lnTo>
                    <a:pt x="441008" y="223742"/>
                  </a:lnTo>
                  <a:lnTo>
                    <a:pt x="444627" y="223266"/>
                  </a:lnTo>
                  <a:lnTo>
                    <a:pt x="445103" y="226790"/>
                  </a:lnTo>
                  <a:lnTo>
                    <a:pt x="443579" y="228791"/>
                  </a:lnTo>
                  <a:lnTo>
                    <a:pt x="446056" y="233934"/>
                  </a:lnTo>
                  <a:lnTo>
                    <a:pt x="446151" y="248412"/>
                  </a:lnTo>
                  <a:lnTo>
                    <a:pt x="442817" y="250698"/>
                  </a:lnTo>
                  <a:lnTo>
                    <a:pt x="439864" y="256508"/>
                  </a:lnTo>
                  <a:lnTo>
                    <a:pt x="443770" y="257842"/>
                  </a:lnTo>
                  <a:lnTo>
                    <a:pt x="454343" y="269081"/>
                  </a:lnTo>
                  <a:lnTo>
                    <a:pt x="467868" y="274511"/>
                  </a:lnTo>
                  <a:lnTo>
                    <a:pt x="474250" y="280988"/>
                  </a:lnTo>
                  <a:lnTo>
                    <a:pt x="476726" y="286036"/>
                  </a:lnTo>
                  <a:lnTo>
                    <a:pt x="481298" y="292703"/>
                  </a:lnTo>
                  <a:lnTo>
                    <a:pt x="484442" y="303181"/>
                  </a:lnTo>
                  <a:lnTo>
                    <a:pt x="486156" y="330137"/>
                  </a:lnTo>
                  <a:lnTo>
                    <a:pt x="497205" y="330518"/>
                  </a:lnTo>
                  <a:lnTo>
                    <a:pt x="510921" y="337757"/>
                  </a:lnTo>
                  <a:lnTo>
                    <a:pt x="514350" y="335471"/>
                  </a:lnTo>
                  <a:lnTo>
                    <a:pt x="532162" y="318611"/>
                  </a:lnTo>
                  <a:lnTo>
                    <a:pt x="544259" y="313373"/>
                  </a:lnTo>
                  <a:lnTo>
                    <a:pt x="563499" y="334423"/>
                  </a:lnTo>
                  <a:lnTo>
                    <a:pt x="560451" y="338423"/>
                  </a:lnTo>
                  <a:lnTo>
                    <a:pt x="574358" y="347472"/>
                  </a:lnTo>
                  <a:lnTo>
                    <a:pt x="585026" y="358712"/>
                  </a:lnTo>
                  <a:lnTo>
                    <a:pt x="588359" y="356521"/>
                  </a:lnTo>
                  <a:lnTo>
                    <a:pt x="598265" y="362426"/>
                  </a:lnTo>
                  <a:lnTo>
                    <a:pt x="610362" y="357188"/>
                  </a:lnTo>
                  <a:lnTo>
                    <a:pt x="608743" y="371951"/>
                  </a:lnTo>
                  <a:lnTo>
                    <a:pt x="593217" y="379476"/>
                  </a:lnTo>
                  <a:lnTo>
                    <a:pt x="580263" y="392049"/>
                  </a:lnTo>
                  <a:lnTo>
                    <a:pt x="568643" y="400812"/>
                  </a:lnTo>
                  <a:lnTo>
                    <a:pt x="564928" y="413957"/>
                  </a:lnTo>
                  <a:lnTo>
                    <a:pt x="543973" y="449390"/>
                  </a:lnTo>
                  <a:lnTo>
                    <a:pt x="540544" y="464344"/>
                  </a:lnTo>
                  <a:lnTo>
                    <a:pt x="539210" y="468154"/>
                  </a:lnTo>
                  <a:lnTo>
                    <a:pt x="529590" y="478536"/>
                  </a:lnTo>
                  <a:lnTo>
                    <a:pt x="529114" y="502158"/>
                  </a:lnTo>
                  <a:lnTo>
                    <a:pt x="517684" y="512731"/>
                  </a:lnTo>
                  <a:lnTo>
                    <a:pt x="504539" y="537972"/>
                  </a:lnTo>
                  <a:lnTo>
                    <a:pt x="503396" y="570834"/>
                  </a:lnTo>
                  <a:lnTo>
                    <a:pt x="500539" y="576644"/>
                  </a:lnTo>
                  <a:lnTo>
                    <a:pt x="499681" y="583978"/>
                  </a:lnTo>
                  <a:lnTo>
                    <a:pt x="495014" y="590074"/>
                  </a:lnTo>
                  <a:lnTo>
                    <a:pt x="494157" y="597408"/>
                  </a:lnTo>
                  <a:lnTo>
                    <a:pt x="487204" y="600170"/>
                  </a:lnTo>
                  <a:lnTo>
                    <a:pt x="478917" y="606647"/>
                  </a:lnTo>
                  <a:lnTo>
                    <a:pt x="476631" y="603313"/>
                  </a:lnTo>
                  <a:lnTo>
                    <a:pt x="467392" y="602742"/>
                  </a:lnTo>
                  <a:lnTo>
                    <a:pt x="459581" y="598361"/>
                  </a:lnTo>
                  <a:lnTo>
                    <a:pt x="460915" y="594551"/>
                  </a:lnTo>
                  <a:lnTo>
                    <a:pt x="466915" y="584740"/>
                  </a:lnTo>
                  <a:lnTo>
                    <a:pt x="465963" y="577596"/>
                  </a:lnTo>
                  <a:lnTo>
                    <a:pt x="467487" y="575596"/>
                  </a:lnTo>
                  <a:lnTo>
                    <a:pt x="467011" y="571976"/>
                  </a:lnTo>
                  <a:lnTo>
                    <a:pt x="463201" y="570643"/>
                  </a:lnTo>
                  <a:lnTo>
                    <a:pt x="460915" y="567404"/>
                  </a:lnTo>
                  <a:lnTo>
                    <a:pt x="462248" y="563594"/>
                  </a:lnTo>
                  <a:lnTo>
                    <a:pt x="459296" y="554927"/>
                  </a:lnTo>
                  <a:lnTo>
                    <a:pt x="462915" y="554355"/>
                  </a:lnTo>
                  <a:lnTo>
                    <a:pt x="462153" y="549117"/>
                  </a:lnTo>
                  <a:lnTo>
                    <a:pt x="459391" y="542163"/>
                  </a:lnTo>
                  <a:lnTo>
                    <a:pt x="462820" y="539877"/>
                  </a:lnTo>
                  <a:lnTo>
                    <a:pt x="458914" y="538639"/>
                  </a:lnTo>
                  <a:lnTo>
                    <a:pt x="462344" y="536353"/>
                  </a:lnTo>
                  <a:lnTo>
                    <a:pt x="459867" y="531209"/>
                  </a:lnTo>
                  <a:lnTo>
                    <a:pt x="450342" y="528923"/>
                  </a:lnTo>
                  <a:lnTo>
                    <a:pt x="449675" y="523589"/>
                  </a:lnTo>
                  <a:lnTo>
                    <a:pt x="452533" y="517684"/>
                  </a:lnTo>
                  <a:lnTo>
                    <a:pt x="452056" y="514160"/>
                  </a:lnTo>
                  <a:lnTo>
                    <a:pt x="455676" y="513683"/>
                  </a:lnTo>
                  <a:lnTo>
                    <a:pt x="453580" y="512159"/>
                  </a:lnTo>
                  <a:lnTo>
                    <a:pt x="457010" y="509873"/>
                  </a:lnTo>
                  <a:lnTo>
                    <a:pt x="454914" y="508349"/>
                  </a:lnTo>
                  <a:lnTo>
                    <a:pt x="456057" y="502730"/>
                  </a:lnTo>
                  <a:lnTo>
                    <a:pt x="453580" y="497681"/>
                  </a:lnTo>
                  <a:lnTo>
                    <a:pt x="454628" y="492062"/>
                  </a:lnTo>
                  <a:lnTo>
                    <a:pt x="446532" y="485870"/>
                  </a:lnTo>
                  <a:lnTo>
                    <a:pt x="449866" y="483584"/>
                  </a:lnTo>
                  <a:lnTo>
                    <a:pt x="443770" y="479012"/>
                  </a:lnTo>
                  <a:lnTo>
                    <a:pt x="441484" y="475679"/>
                  </a:lnTo>
                  <a:lnTo>
                    <a:pt x="444818" y="473393"/>
                  </a:lnTo>
                  <a:lnTo>
                    <a:pt x="440817" y="470345"/>
                  </a:lnTo>
                  <a:lnTo>
                    <a:pt x="437388" y="472630"/>
                  </a:lnTo>
                  <a:lnTo>
                    <a:pt x="426434" y="472250"/>
                  </a:lnTo>
                  <a:lnTo>
                    <a:pt x="419862" y="464058"/>
                  </a:lnTo>
                  <a:lnTo>
                    <a:pt x="410718" y="477965"/>
                  </a:lnTo>
                  <a:lnTo>
                    <a:pt x="385381" y="479488"/>
                  </a:lnTo>
                  <a:lnTo>
                    <a:pt x="379000" y="473012"/>
                  </a:lnTo>
                  <a:lnTo>
                    <a:pt x="372713" y="481108"/>
                  </a:lnTo>
                  <a:lnTo>
                    <a:pt x="359950" y="481013"/>
                  </a:lnTo>
                  <a:lnTo>
                    <a:pt x="354330" y="479965"/>
                  </a:lnTo>
                  <a:lnTo>
                    <a:pt x="348044" y="487966"/>
                  </a:lnTo>
                  <a:lnTo>
                    <a:pt x="347377" y="482632"/>
                  </a:lnTo>
                  <a:lnTo>
                    <a:pt x="339471" y="478250"/>
                  </a:lnTo>
                  <a:lnTo>
                    <a:pt x="332327" y="479203"/>
                  </a:lnTo>
                  <a:lnTo>
                    <a:pt x="328422" y="477965"/>
                  </a:lnTo>
                  <a:lnTo>
                    <a:pt x="327184" y="481679"/>
                  </a:lnTo>
                  <a:lnTo>
                    <a:pt x="325088" y="480155"/>
                  </a:lnTo>
                  <a:lnTo>
                    <a:pt x="314992" y="472440"/>
                  </a:lnTo>
                  <a:lnTo>
                    <a:pt x="309848" y="474917"/>
                  </a:lnTo>
                  <a:lnTo>
                    <a:pt x="309277" y="471392"/>
                  </a:lnTo>
                  <a:lnTo>
                    <a:pt x="305562" y="470059"/>
                  </a:lnTo>
                  <a:lnTo>
                    <a:pt x="304610" y="462915"/>
                  </a:lnTo>
                  <a:lnTo>
                    <a:pt x="299752" y="454533"/>
                  </a:lnTo>
                  <a:lnTo>
                    <a:pt x="289274" y="457771"/>
                  </a:lnTo>
                  <a:lnTo>
                    <a:pt x="288798" y="454152"/>
                  </a:lnTo>
                  <a:lnTo>
                    <a:pt x="286798" y="452628"/>
                  </a:lnTo>
                  <a:lnTo>
                    <a:pt x="283178" y="453104"/>
                  </a:lnTo>
                  <a:lnTo>
                    <a:pt x="281083" y="451580"/>
                  </a:lnTo>
                  <a:lnTo>
                    <a:pt x="284512" y="449294"/>
                  </a:lnTo>
                  <a:lnTo>
                    <a:pt x="280892" y="449771"/>
                  </a:lnTo>
                  <a:lnTo>
                    <a:pt x="278606" y="446437"/>
                  </a:lnTo>
                  <a:lnTo>
                    <a:pt x="271463" y="447389"/>
                  </a:lnTo>
                  <a:lnTo>
                    <a:pt x="262414" y="448628"/>
                  </a:lnTo>
                  <a:lnTo>
                    <a:pt x="260890" y="450628"/>
                  </a:lnTo>
                  <a:lnTo>
                    <a:pt x="257080" y="449294"/>
                  </a:lnTo>
                  <a:lnTo>
                    <a:pt x="245650" y="459867"/>
                  </a:lnTo>
                  <a:lnTo>
                    <a:pt x="242316" y="462153"/>
                  </a:lnTo>
                  <a:lnTo>
                    <a:pt x="237554" y="453676"/>
                  </a:lnTo>
                  <a:lnTo>
                    <a:pt x="232791" y="445294"/>
                  </a:lnTo>
                  <a:lnTo>
                    <a:pt x="233839" y="439674"/>
                  </a:lnTo>
                  <a:lnTo>
                    <a:pt x="238315" y="431863"/>
                  </a:lnTo>
                  <a:lnTo>
                    <a:pt x="236887" y="421100"/>
                  </a:lnTo>
                  <a:lnTo>
                    <a:pt x="234505" y="403384"/>
                  </a:lnTo>
                  <a:lnTo>
                    <a:pt x="224600" y="397383"/>
                  </a:lnTo>
                  <a:lnTo>
                    <a:pt x="219837" y="389001"/>
                  </a:lnTo>
                  <a:lnTo>
                    <a:pt x="211931" y="384524"/>
                  </a:lnTo>
                  <a:lnTo>
                    <a:pt x="204502" y="383762"/>
                  </a:lnTo>
                  <a:lnTo>
                    <a:pt x="204311" y="381953"/>
                  </a:lnTo>
                  <a:lnTo>
                    <a:pt x="195548" y="384905"/>
                  </a:lnTo>
                  <a:lnTo>
                    <a:pt x="192691" y="390716"/>
                  </a:lnTo>
                  <a:lnTo>
                    <a:pt x="190881" y="391001"/>
                  </a:lnTo>
                  <a:lnTo>
                    <a:pt x="179642" y="388811"/>
                  </a:lnTo>
                  <a:lnTo>
                    <a:pt x="172688" y="391573"/>
                  </a:lnTo>
                  <a:lnTo>
                    <a:pt x="157829" y="389954"/>
                  </a:lnTo>
                  <a:lnTo>
                    <a:pt x="158687" y="382524"/>
                  </a:lnTo>
                  <a:lnTo>
                    <a:pt x="146971" y="376809"/>
                  </a:lnTo>
                  <a:lnTo>
                    <a:pt x="133731" y="373190"/>
                  </a:lnTo>
                  <a:lnTo>
                    <a:pt x="125349" y="365188"/>
                  </a:lnTo>
                  <a:lnTo>
                    <a:pt x="122777" y="360140"/>
                  </a:lnTo>
                  <a:lnTo>
                    <a:pt x="108299" y="347472"/>
                  </a:lnTo>
                  <a:lnTo>
                    <a:pt x="101918" y="353759"/>
                  </a:lnTo>
                  <a:lnTo>
                    <a:pt x="96107" y="365474"/>
                  </a:lnTo>
                  <a:lnTo>
                    <a:pt x="89345" y="369951"/>
                  </a:lnTo>
                  <a:lnTo>
                    <a:pt x="86678" y="363093"/>
                  </a:lnTo>
                  <a:lnTo>
                    <a:pt x="72295" y="364998"/>
                  </a:lnTo>
                  <a:lnTo>
                    <a:pt x="54102" y="365570"/>
                  </a:lnTo>
                  <a:lnTo>
                    <a:pt x="39910" y="354711"/>
                  </a:lnTo>
                  <a:lnTo>
                    <a:pt x="35528" y="349853"/>
                  </a:lnTo>
                  <a:lnTo>
                    <a:pt x="23813" y="344138"/>
                  </a:lnTo>
                  <a:lnTo>
                    <a:pt x="6953" y="340995"/>
                  </a:lnTo>
                  <a:lnTo>
                    <a:pt x="6477" y="337376"/>
                  </a:lnTo>
                  <a:lnTo>
                    <a:pt x="9144" y="329755"/>
                  </a:lnTo>
                  <a:lnTo>
                    <a:pt x="9811" y="320612"/>
                  </a:lnTo>
                  <a:lnTo>
                    <a:pt x="4096" y="305086"/>
                  </a:lnTo>
                  <a:lnTo>
                    <a:pt x="0" y="302038"/>
                  </a:lnTo>
                  <a:lnTo>
                    <a:pt x="3143" y="297942"/>
                  </a:lnTo>
                  <a:lnTo>
                    <a:pt x="10478" y="284321"/>
                  </a:lnTo>
                  <a:lnTo>
                    <a:pt x="7906" y="279178"/>
                  </a:lnTo>
                  <a:lnTo>
                    <a:pt x="11716" y="280511"/>
                  </a:lnTo>
                  <a:lnTo>
                    <a:pt x="17050" y="265271"/>
                  </a:lnTo>
                  <a:lnTo>
                    <a:pt x="10954" y="260699"/>
                  </a:lnTo>
                  <a:lnTo>
                    <a:pt x="19812" y="244983"/>
                  </a:lnTo>
                  <a:lnTo>
                    <a:pt x="25813" y="235172"/>
                  </a:lnTo>
                  <a:lnTo>
                    <a:pt x="48006" y="223171"/>
                  </a:lnTo>
                  <a:lnTo>
                    <a:pt x="46768" y="199739"/>
                  </a:lnTo>
                  <a:lnTo>
                    <a:pt x="40672" y="195072"/>
                  </a:lnTo>
                  <a:lnTo>
                    <a:pt x="36386" y="190214"/>
                  </a:lnTo>
                  <a:lnTo>
                    <a:pt x="13621" y="184213"/>
                  </a:lnTo>
                  <a:lnTo>
                    <a:pt x="17336" y="170974"/>
                  </a:lnTo>
                  <a:lnTo>
                    <a:pt x="24955" y="159068"/>
                  </a:lnTo>
                  <a:lnTo>
                    <a:pt x="31052" y="163735"/>
                  </a:lnTo>
                  <a:lnTo>
                    <a:pt x="40196" y="149828"/>
                  </a:lnTo>
                  <a:lnTo>
                    <a:pt x="30766" y="147447"/>
                  </a:lnTo>
                  <a:lnTo>
                    <a:pt x="27718" y="138779"/>
                  </a:lnTo>
                  <a:lnTo>
                    <a:pt x="40291" y="137160"/>
                  </a:lnTo>
                  <a:lnTo>
                    <a:pt x="39814" y="133541"/>
                  </a:lnTo>
                  <a:lnTo>
                    <a:pt x="44958" y="131064"/>
                  </a:lnTo>
                  <a:lnTo>
                    <a:pt x="50959" y="121253"/>
                  </a:lnTo>
                  <a:lnTo>
                    <a:pt x="43148" y="116777"/>
                  </a:lnTo>
                  <a:lnTo>
                    <a:pt x="46006" y="110966"/>
                  </a:lnTo>
                  <a:lnTo>
                    <a:pt x="32195" y="103727"/>
                  </a:lnTo>
                  <a:lnTo>
                    <a:pt x="40291" y="9544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25623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A14C61-2793-4917-88DD-5CD5C82E5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19" y="136525"/>
            <a:ext cx="10515600" cy="1325563"/>
          </a:xfr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>
            <a:lvl1pPr>
              <a:defRPr sz="3200" b="1">
                <a:solidFill>
                  <a:srgbClr val="308297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977F3AE-8EFE-4486-A3CD-CCE34B32D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53B24-F7DF-4006-BC3B-7282789923AD}" type="datetimeFigureOut">
              <a:rPr lang="cs-CZ" smtClean="0"/>
              <a:t>14.05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6347C51-18A4-4805-9CBF-C3B721C5A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352435F-934C-4AD5-89DD-70A45E7E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5C928-8E11-4BEA-8628-EA31CD02D37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14624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386173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2E5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rgbClr val="2E59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rgbClr val="2E598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0082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001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CF276C58-AD7A-1982-817B-ECF389FFC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813" y="4102873"/>
            <a:ext cx="10795606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396126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2" name="Skupina 1">
            <a:extLst>
              <a:ext uri="{FF2B5EF4-FFF2-40B4-BE49-F238E27FC236}">
                <a16:creationId xmlns:a16="http://schemas.microsoft.com/office/drawing/2014/main" id="{01769977-EAC1-0A1A-0320-5D231AEEDB3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3" name="Volný tvar: obrazec 2">
              <a:extLst>
                <a:ext uri="{FF2B5EF4-FFF2-40B4-BE49-F238E27FC236}">
                  <a16:creationId xmlns:a16="http://schemas.microsoft.com/office/drawing/2014/main" id="{3F866420-7F59-37B1-7966-B66BFF64A8F8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" name="Volný tvar: obrazec 4">
              <a:extLst>
                <a:ext uri="{FF2B5EF4-FFF2-40B4-BE49-F238E27FC236}">
                  <a16:creationId xmlns:a16="http://schemas.microsoft.com/office/drawing/2014/main" id="{CEB3EDC2-8C07-521C-4474-9E72939B20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" name="Volný tvar: obrazec 5">
              <a:extLst>
                <a:ext uri="{FF2B5EF4-FFF2-40B4-BE49-F238E27FC236}">
                  <a16:creationId xmlns:a16="http://schemas.microsoft.com/office/drawing/2014/main" id="{0A07D671-1D20-9995-C5EF-15DFFDBC6E5D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0" name="Volný tvar: obrazec 9">
              <a:extLst>
                <a:ext uri="{FF2B5EF4-FFF2-40B4-BE49-F238E27FC236}">
                  <a16:creationId xmlns:a16="http://schemas.microsoft.com/office/drawing/2014/main" id="{AFECD3F8-1415-3955-B8A2-655BB42AF3D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4" name="Volný tvar: obrazec 13">
              <a:extLst>
                <a:ext uri="{FF2B5EF4-FFF2-40B4-BE49-F238E27FC236}">
                  <a16:creationId xmlns:a16="http://schemas.microsoft.com/office/drawing/2014/main" id="{599E658A-DFCA-93E1-E387-4863816139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5" name="Volný tvar: obrazec 14">
              <a:extLst>
                <a:ext uri="{FF2B5EF4-FFF2-40B4-BE49-F238E27FC236}">
                  <a16:creationId xmlns:a16="http://schemas.microsoft.com/office/drawing/2014/main" id="{D9DC0987-6537-AB5E-31EB-CBB0B79643D0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6" name="Volný tvar: obrazec 15">
              <a:extLst>
                <a:ext uri="{FF2B5EF4-FFF2-40B4-BE49-F238E27FC236}">
                  <a16:creationId xmlns:a16="http://schemas.microsoft.com/office/drawing/2014/main" id="{8BB1C7CB-F5AB-301C-4B3F-F6DE77CAFFB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7" name="Volný tvar: obrazec 16">
              <a:extLst>
                <a:ext uri="{FF2B5EF4-FFF2-40B4-BE49-F238E27FC236}">
                  <a16:creationId xmlns:a16="http://schemas.microsoft.com/office/drawing/2014/main" id="{D8154373-51A0-97BC-3493-B9DDE463CA3D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18" name="Volný tvar: obrazec 17">
              <a:extLst>
                <a:ext uri="{FF2B5EF4-FFF2-40B4-BE49-F238E27FC236}">
                  <a16:creationId xmlns:a16="http://schemas.microsoft.com/office/drawing/2014/main" id="{A7626A28-5919-4E32-FC55-D13155C6BCE1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9" name="Volný tvar: obrazec 18">
              <a:extLst>
                <a:ext uri="{FF2B5EF4-FFF2-40B4-BE49-F238E27FC236}">
                  <a16:creationId xmlns:a16="http://schemas.microsoft.com/office/drawing/2014/main" id="{BAD8960E-EA18-A6E4-1368-CA1093E0D5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0" name="Volný tvar: obrazec 19">
              <a:extLst>
                <a:ext uri="{FF2B5EF4-FFF2-40B4-BE49-F238E27FC236}">
                  <a16:creationId xmlns:a16="http://schemas.microsoft.com/office/drawing/2014/main" id="{90BD359B-3D47-C6CC-1723-73EA731F69DB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Volný tvar: obrazec 20">
              <a:extLst>
                <a:ext uri="{FF2B5EF4-FFF2-40B4-BE49-F238E27FC236}">
                  <a16:creationId xmlns:a16="http://schemas.microsoft.com/office/drawing/2014/main" id="{F7E88035-DF8D-315F-9750-83B960E062C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2" name="Volný tvar: obrazec 21">
              <a:extLst>
                <a:ext uri="{FF2B5EF4-FFF2-40B4-BE49-F238E27FC236}">
                  <a16:creationId xmlns:a16="http://schemas.microsoft.com/office/drawing/2014/main" id="{5D0CAC26-0469-D056-662C-8AD653260E10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3" name="Volný tvar: obrazec 22">
              <a:extLst>
                <a:ext uri="{FF2B5EF4-FFF2-40B4-BE49-F238E27FC236}">
                  <a16:creationId xmlns:a16="http://schemas.microsoft.com/office/drawing/2014/main" id="{4CD14E1F-FEEE-ABBE-CA6A-2D16C49986D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454517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BA5EBB89-E91C-BB10-15CB-7C7941BFFD6E}"/>
              </a:ext>
            </a:extLst>
          </p:cNvPr>
          <p:cNvGrpSpPr/>
          <p:nvPr userDrawn="1"/>
        </p:nvGrpSpPr>
        <p:grpSpPr>
          <a:xfrm>
            <a:off x="9573906" y="3928002"/>
            <a:ext cx="1256444" cy="1928695"/>
            <a:chOff x="9573906" y="3928002"/>
            <a:chExt cx="1256444" cy="1928695"/>
          </a:xfrm>
        </p:grpSpPr>
        <p:sp>
          <p:nvSpPr>
            <p:cNvPr id="41" name="Rovnoramenný trojúhelník 4">
              <a:extLst>
                <a:ext uri="{FF2B5EF4-FFF2-40B4-BE49-F238E27FC236}">
                  <a16:creationId xmlns:a16="http://schemas.microsoft.com/office/drawing/2014/main" id="{D1640524-7777-AD0D-FBF2-06457FEC5E76}"/>
                </a:ext>
              </a:extLst>
            </p:cNvPr>
            <p:cNvSpPr/>
            <p:nvPr userDrawn="1"/>
          </p:nvSpPr>
          <p:spPr>
            <a:xfrm rot="1106797">
              <a:off x="9867890" y="3928002"/>
              <a:ext cx="962460" cy="1278762"/>
            </a:xfrm>
            <a:prstGeom prst="triangle">
              <a:avLst>
                <a:gd name="adj" fmla="val 34545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8" name="Skupina 7">
              <a:extLst>
                <a:ext uri="{FF2B5EF4-FFF2-40B4-BE49-F238E27FC236}">
                  <a16:creationId xmlns:a16="http://schemas.microsoft.com/office/drawing/2014/main" id="{AF34A1B2-C591-290E-6B22-0B239091FEA4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2" name="Ovál 22">
                <a:extLst>
                  <a:ext uri="{FF2B5EF4-FFF2-40B4-BE49-F238E27FC236}">
                    <a16:creationId xmlns:a16="http://schemas.microsoft.com/office/drawing/2014/main" id="{3108DAF1-0649-F266-BACC-D1666C80EDCE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43" name="Ovál 23">
                <a:extLst>
                  <a:ext uri="{FF2B5EF4-FFF2-40B4-BE49-F238E27FC236}">
                    <a16:creationId xmlns:a16="http://schemas.microsoft.com/office/drawing/2014/main" id="{2B669EB3-862A-F447-12A2-4D4A2AFB0675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pic>
        <p:nvPicPr>
          <p:cNvPr id="2" name="Obrázek 1">
            <a:extLst>
              <a:ext uri="{FF2B5EF4-FFF2-40B4-BE49-F238E27FC236}">
                <a16:creationId xmlns:a16="http://schemas.microsoft.com/office/drawing/2014/main" id="{E10523C9-60C8-0A70-8521-95A80488F49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6000" y="126490"/>
            <a:ext cx="1268338" cy="37016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Skupina 3">
            <a:extLst>
              <a:ext uri="{FF2B5EF4-FFF2-40B4-BE49-F238E27FC236}">
                <a16:creationId xmlns:a16="http://schemas.microsoft.com/office/drawing/2014/main" id="{18BFC130-2D71-2AB9-010A-AC57EC98CC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2565" y="4970531"/>
            <a:ext cx="591416" cy="742730"/>
            <a:chOff x="7858389" y="1899701"/>
            <a:chExt cx="2035175" cy="2555875"/>
          </a:xfrm>
          <a:solidFill>
            <a:srgbClr val="D71440"/>
          </a:solidFill>
        </p:grpSpPr>
        <p:sp>
          <p:nvSpPr>
            <p:cNvPr id="5" name="Freeform 104">
              <a:extLst>
                <a:ext uri="{FF2B5EF4-FFF2-40B4-BE49-F238E27FC236}">
                  <a16:creationId xmlns:a16="http://schemas.microsoft.com/office/drawing/2014/main" id="{BFED1FAD-9A33-19FE-3016-2E4144637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9526" y="2899826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" name="Freeform 105">
              <a:extLst>
                <a:ext uri="{FF2B5EF4-FFF2-40B4-BE49-F238E27FC236}">
                  <a16:creationId xmlns:a16="http://schemas.microsoft.com/office/drawing/2014/main" id="{65A4807C-F403-2641-FB49-159C6053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814" y="3152238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7" name="Freeform 106">
              <a:extLst>
                <a:ext uri="{FF2B5EF4-FFF2-40B4-BE49-F238E27FC236}">
                  <a16:creationId xmlns:a16="http://schemas.microsoft.com/office/drawing/2014/main" id="{E1CF6703-66E1-2213-5965-5DC893539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1401" y="2547401"/>
              <a:ext cx="422275" cy="420688"/>
            </a:xfrm>
            <a:custGeom>
              <a:avLst/>
              <a:gdLst>
                <a:gd name="T0" fmla="*/ 103 w 266"/>
                <a:gd name="T1" fmla="*/ 7 h 265"/>
                <a:gd name="T2" fmla="*/ 112 w 266"/>
                <a:gd name="T3" fmla="*/ 13 h 265"/>
                <a:gd name="T4" fmla="*/ 120 w 266"/>
                <a:gd name="T5" fmla="*/ 26 h 265"/>
                <a:gd name="T6" fmla="*/ 127 w 266"/>
                <a:gd name="T7" fmla="*/ 40 h 265"/>
                <a:gd name="T8" fmla="*/ 135 w 266"/>
                <a:gd name="T9" fmla="*/ 39 h 265"/>
                <a:gd name="T10" fmla="*/ 140 w 266"/>
                <a:gd name="T11" fmla="*/ 42 h 265"/>
                <a:gd name="T12" fmla="*/ 145 w 266"/>
                <a:gd name="T13" fmla="*/ 48 h 265"/>
                <a:gd name="T14" fmla="*/ 150 w 266"/>
                <a:gd name="T15" fmla="*/ 47 h 265"/>
                <a:gd name="T16" fmla="*/ 169 w 266"/>
                <a:gd name="T17" fmla="*/ 23 h 265"/>
                <a:gd name="T18" fmla="*/ 194 w 266"/>
                <a:gd name="T19" fmla="*/ 5 h 265"/>
                <a:gd name="T20" fmla="*/ 202 w 266"/>
                <a:gd name="T21" fmla="*/ 0 h 265"/>
                <a:gd name="T22" fmla="*/ 205 w 266"/>
                <a:gd name="T23" fmla="*/ 7 h 265"/>
                <a:gd name="T24" fmla="*/ 211 w 266"/>
                <a:gd name="T25" fmla="*/ 30 h 265"/>
                <a:gd name="T26" fmla="*/ 226 w 266"/>
                <a:gd name="T27" fmla="*/ 46 h 265"/>
                <a:gd name="T28" fmla="*/ 229 w 266"/>
                <a:gd name="T29" fmla="*/ 57 h 265"/>
                <a:gd name="T30" fmla="*/ 217 w 266"/>
                <a:gd name="T31" fmla="*/ 73 h 265"/>
                <a:gd name="T32" fmla="*/ 204 w 266"/>
                <a:gd name="T33" fmla="*/ 90 h 265"/>
                <a:gd name="T34" fmla="*/ 202 w 266"/>
                <a:gd name="T35" fmla="*/ 100 h 265"/>
                <a:gd name="T36" fmla="*/ 213 w 266"/>
                <a:gd name="T37" fmla="*/ 111 h 265"/>
                <a:gd name="T38" fmla="*/ 239 w 266"/>
                <a:gd name="T39" fmla="*/ 134 h 265"/>
                <a:gd name="T40" fmla="*/ 239 w 266"/>
                <a:gd name="T41" fmla="*/ 139 h 265"/>
                <a:gd name="T42" fmla="*/ 234 w 266"/>
                <a:gd name="T43" fmla="*/ 149 h 265"/>
                <a:gd name="T44" fmla="*/ 240 w 266"/>
                <a:gd name="T45" fmla="*/ 159 h 265"/>
                <a:gd name="T46" fmla="*/ 259 w 266"/>
                <a:gd name="T47" fmla="*/ 169 h 265"/>
                <a:gd name="T48" fmla="*/ 263 w 266"/>
                <a:gd name="T49" fmla="*/ 177 h 265"/>
                <a:gd name="T50" fmla="*/ 249 w 266"/>
                <a:gd name="T51" fmla="*/ 203 h 265"/>
                <a:gd name="T52" fmla="*/ 245 w 266"/>
                <a:gd name="T53" fmla="*/ 220 h 265"/>
                <a:gd name="T54" fmla="*/ 232 w 266"/>
                <a:gd name="T55" fmla="*/ 238 h 265"/>
                <a:gd name="T56" fmla="*/ 207 w 266"/>
                <a:gd name="T57" fmla="*/ 256 h 265"/>
                <a:gd name="T58" fmla="*/ 189 w 266"/>
                <a:gd name="T59" fmla="*/ 263 h 265"/>
                <a:gd name="T60" fmla="*/ 177 w 266"/>
                <a:gd name="T61" fmla="*/ 265 h 265"/>
                <a:gd name="T62" fmla="*/ 164 w 266"/>
                <a:gd name="T63" fmla="*/ 257 h 265"/>
                <a:gd name="T64" fmla="*/ 143 w 266"/>
                <a:gd name="T65" fmla="*/ 238 h 265"/>
                <a:gd name="T66" fmla="*/ 122 w 266"/>
                <a:gd name="T67" fmla="*/ 230 h 265"/>
                <a:gd name="T68" fmla="*/ 116 w 266"/>
                <a:gd name="T69" fmla="*/ 222 h 265"/>
                <a:gd name="T70" fmla="*/ 121 w 266"/>
                <a:gd name="T71" fmla="*/ 212 h 265"/>
                <a:gd name="T72" fmla="*/ 126 w 266"/>
                <a:gd name="T73" fmla="*/ 202 h 265"/>
                <a:gd name="T74" fmla="*/ 126 w 266"/>
                <a:gd name="T75" fmla="*/ 189 h 265"/>
                <a:gd name="T76" fmla="*/ 120 w 266"/>
                <a:gd name="T77" fmla="*/ 180 h 265"/>
                <a:gd name="T78" fmla="*/ 102 w 266"/>
                <a:gd name="T79" fmla="*/ 171 h 265"/>
                <a:gd name="T80" fmla="*/ 80 w 266"/>
                <a:gd name="T81" fmla="*/ 174 h 265"/>
                <a:gd name="T82" fmla="*/ 49 w 266"/>
                <a:gd name="T83" fmla="*/ 176 h 265"/>
                <a:gd name="T84" fmla="*/ 32 w 266"/>
                <a:gd name="T85" fmla="*/ 171 h 265"/>
                <a:gd name="T86" fmla="*/ 25 w 266"/>
                <a:gd name="T87" fmla="*/ 163 h 265"/>
                <a:gd name="T88" fmla="*/ 21 w 266"/>
                <a:gd name="T89" fmla="*/ 154 h 265"/>
                <a:gd name="T90" fmla="*/ 20 w 266"/>
                <a:gd name="T91" fmla="*/ 141 h 265"/>
                <a:gd name="T92" fmla="*/ 20 w 266"/>
                <a:gd name="T93" fmla="*/ 107 h 265"/>
                <a:gd name="T94" fmla="*/ 14 w 266"/>
                <a:gd name="T95" fmla="*/ 97 h 265"/>
                <a:gd name="T96" fmla="*/ 10 w 266"/>
                <a:gd name="T97" fmla="*/ 84 h 265"/>
                <a:gd name="T98" fmla="*/ 7 w 266"/>
                <a:gd name="T99" fmla="*/ 60 h 265"/>
                <a:gd name="T100" fmla="*/ 0 w 266"/>
                <a:gd name="T101" fmla="*/ 46 h 265"/>
                <a:gd name="T102" fmla="*/ 1 w 266"/>
                <a:gd name="T103" fmla="*/ 37 h 265"/>
                <a:gd name="T104" fmla="*/ 8 w 266"/>
                <a:gd name="T105" fmla="*/ 27 h 265"/>
                <a:gd name="T106" fmla="*/ 17 w 266"/>
                <a:gd name="T107" fmla="*/ 26 h 265"/>
                <a:gd name="T108" fmla="*/ 41 w 266"/>
                <a:gd name="T109" fmla="*/ 37 h 265"/>
                <a:gd name="T110" fmla="*/ 59 w 266"/>
                <a:gd name="T111" fmla="*/ 41 h 265"/>
                <a:gd name="T112" fmla="*/ 69 w 266"/>
                <a:gd name="T113" fmla="*/ 36 h 265"/>
                <a:gd name="T114" fmla="*/ 80 w 266"/>
                <a:gd name="T115" fmla="*/ 19 h 265"/>
                <a:gd name="T116" fmla="*/ 91 w 266"/>
                <a:gd name="T117" fmla="*/ 1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265">
                  <a:moveTo>
                    <a:pt x="97" y="7"/>
                  </a:moveTo>
                  <a:lnTo>
                    <a:pt x="97" y="7"/>
                  </a:lnTo>
                  <a:lnTo>
                    <a:pt x="98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5" y="9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2"/>
                  </a:lnTo>
                  <a:lnTo>
                    <a:pt x="112" y="13"/>
                  </a:lnTo>
                  <a:lnTo>
                    <a:pt x="115" y="16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8" y="22"/>
                  </a:lnTo>
                  <a:lnTo>
                    <a:pt x="120" y="26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3" y="37"/>
                  </a:lnTo>
                  <a:lnTo>
                    <a:pt x="125" y="39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3" y="39"/>
                  </a:lnTo>
                  <a:lnTo>
                    <a:pt x="135" y="39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8" y="40"/>
                  </a:lnTo>
                  <a:lnTo>
                    <a:pt x="139" y="41"/>
                  </a:lnTo>
                  <a:lnTo>
                    <a:pt x="140" y="42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3" y="47"/>
                  </a:lnTo>
                  <a:lnTo>
                    <a:pt x="145" y="48"/>
                  </a:lnTo>
                  <a:lnTo>
                    <a:pt x="146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51" y="46"/>
                  </a:lnTo>
                  <a:lnTo>
                    <a:pt x="164" y="29"/>
                  </a:lnTo>
                  <a:lnTo>
                    <a:pt x="166" y="27"/>
                  </a:lnTo>
                  <a:lnTo>
                    <a:pt x="168" y="25"/>
                  </a:lnTo>
                  <a:lnTo>
                    <a:pt x="169" y="23"/>
                  </a:lnTo>
                  <a:lnTo>
                    <a:pt x="172" y="22"/>
                  </a:lnTo>
                  <a:lnTo>
                    <a:pt x="180" y="17"/>
                  </a:lnTo>
                  <a:lnTo>
                    <a:pt x="184" y="14"/>
                  </a:lnTo>
                  <a:lnTo>
                    <a:pt x="189" y="10"/>
                  </a:lnTo>
                  <a:lnTo>
                    <a:pt x="194" y="5"/>
                  </a:lnTo>
                  <a:lnTo>
                    <a:pt x="196" y="3"/>
                  </a:lnTo>
                  <a:lnTo>
                    <a:pt x="199" y="1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4" y="2"/>
                  </a:lnTo>
                  <a:lnTo>
                    <a:pt x="204" y="4"/>
                  </a:lnTo>
                  <a:lnTo>
                    <a:pt x="205" y="7"/>
                  </a:lnTo>
                  <a:lnTo>
                    <a:pt x="206" y="15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9" y="24"/>
                  </a:lnTo>
                  <a:lnTo>
                    <a:pt x="211" y="30"/>
                  </a:lnTo>
                  <a:lnTo>
                    <a:pt x="212" y="32"/>
                  </a:lnTo>
                  <a:lnTo>
                    <a:pt x="213" y="33"/>
                  </a:lnTo>
                  <a:lnTo>
                    <a:pt x="220" y="39"/>
                  </a:lnTo>
                  <a:lnTo>
                    <a:pt x="224" y="43"/>
                  </a:lnTo>
                  <a:lnTo>
                    <a:pt x="226" y="46"/>
                  </a:lnTo>
                  <a:lnTo>
                    <a:pt x="227" y="48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9" y="55"/>
                  </a:lnTo>
                  <a:lnTo>
                    <a:pt x="229" y="57"/>
                  </a:lnTo>
                  <a:lnTo>
                    <a:pt x="228" y="60"/>
                  </a:lnTo>
                  <a:lnTo>
                    <a:pt x="227" y="62"/>
                  </a:lnTo>
                  <a:lnTo>
                    <a:pt x="225" y="65"/>
                  </a:lnTo>
                  <a:lnTo>
                    <a:pt x="223" y="67"/>
                  </a:lnTo>
                  <a:lnTo>
                    <a:pt x="217" y="73"/>
                  </a:lnTo>
                  <a:lnTo>
                    <a:pt x="210" y="80"/>
                  </a:lnTo>
                  <a:lnTo>
                    <a:pt x="208" y="82"/>
                  </a:lnTo>
                  <a:lnTo>
                    <a:pt x="206" y="85"/>
                  </a:lnTo>
                  <a:lnTo>
                    <a:pt x="205" y="87"/>
                  </a:lnTo>
                  <a:lnTo>
                    <a:pt x="204" y="90"/>
                  </a:lnTo>
                  <a:lnTo>
                    <a:pt x="203" y="92"/>
                  </a:lnTo>
                  <a:lnTo>
                    <a:pt x="202" y="95"/>
                  </a:lnTo>
                  <a:lnTo>
                    <a:pt x="202" y="97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3" y="102"/>
                  </a:lnTo>
                  <a:lnTo>
                    <a:pt x="204" y="104"/>
                  </a:lnTo>
                  <a:lnTo>
                    <a:pt x="205" y="105"/>
                  </a:lnTo>
                  <a:lnTo>
                    <a:pt x="207" y="107"/>
                  </a:lnTo>
                  <a:lnTo>
                    <a:pt x="213" y="111"/>
                  </a:lnTo>
                  <a:lnTo>
                    <a:pt x="220" y="116"/>
                  </a:lnTo>
                  <a:lnTo>
                    <a:pt x="227" y="122"/>
                  </a:lnTo>
                  <a:lnTo>
                    <a:pt x="231" y="126"/>
                  </a:lnTo>
                  <a:lnTo>
                    <a:pt x="238" y="132"/>
                  </a:lnTo>
                  <a:lnTo>
                    <a:pt x="239" y="134"/>
                  </a:lnTo>
                  <a:lnTo>
                    <a:pt x="240" y="134"/>
                  </a:lnTo>
                  <a:lnTo>
                    <a:pt x="240" y="135"/>
                  </a:lnTo>
                  <a:lnTo>
                    <a:pt x="240" y="137"/>
                  </a:lnTo>
                  <a:lnTo>
                    <a:pt x="239" y="137"/>
                  </a:lnTo>
                  <a:lnTo>
                    <a:pt x="239" y="139"/>
                  </a:lnTo>
                  <a:lnTo>
                    <a:pt x="236" y="143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49"/>
                  </a:lnTo>
                  <a:lnTo>
                    <a:pt x="234" y="150"/>
                  </a:lnTo>
                  <a:lnTo>
                    <a:pt x="234" y="152"/>
                  </a:lnTo>
                  <a:lnTo>
                    <a:pt x="236" y="154"/>
                  </a:lnTo>
                  <a:lnTo>
                    <a:pt x="238" y="157"/>
                  </a:lnTo>
                  <a:lnTo>
                    <a:pt x="240" y="159"/>
                  </a:lnTo>
                  <a:lnTo>
                    <a:pt x="243" y="162"/>
                  </a:lnTo>
                  <a:lnTo>
                    <a:pt x="246" y="163"/>
                  </a:lnTo>
                  <a:lnTo>
                    <a:pt x="254" y="166"/>
                  </a:lnTo>
                  <a:lnTo>
                    <a:pt x="257" y="167"/>
                  </a:lnTo>
                  <a:lnTo>
                    <a:pt x="259" y="169"/>
                  </a:lnTo>
                  <a:lnTo>
                    <a:pt x="264" y="172"/>
                  </a:lnTo>
                  <a:lnTo>
                    <a:pt x="265" y="173"/>
                  </a:lnTo>
                  <a:lnTo>
                    <a:pt x="266" y="173"/>
                  </a:lnTo>
                  <a:lnTo>
                    <a:pt x="265" y="174"/>
                  </a:lnTo>
                  <a:lnTo>
                    <a:pt x="263" y="177"/>
                  </a:lnTo>
                  <a:lnTo>
                    <a:pt x="259" y="184"/>
                  </a:lnTo>
                  <a:lnTo>
                    <a:pt x="255" y="189"/>
                  </a:lnTo>
                  <a:lnTo>
                    <a:pt x="253" y="194"/>
                  </a:lnTo>
                  <a:lnTo>
                    <a:pt x="250" y="199"/>
                  </a:lnTo>
                  <a:lnTo>
                    <a:pt x="249" y="203"/>
                  </a:lnTo>
                  <a:lnTo>
                    <a:pt x="248" y="207"/>
                  </a:lnTo>
                  <a:lnTo>
                    <a:pt x="247" y="211"/>
                  </a:lnTo>
                  <a:lnTo>
                    <a:pt x="247" y="217"/>
                  </a:lnTo>
                  <a:lnTo>
                    <a:pt x="246" y="219"/>
                  </a:lnTo>
                  <a:lnTo>
                    <a:pt x="245" y="220"/>
                  </a:lnTo>
                  <a:lnTo>
                    <a:pt x="244" y="224"/>
                  </a:lnTo>
                  <a:lnTo>
                    <a:pt x="242" y="227"/>
                  </a:lnTo>
                  <a:lnTo>
                    <a:pt x="239" y="231"/>
                  </a:lnTo>
                  <a:lnTo>
                    <a:pt x="237" y="234"/>
                  </a:lnTo>
                  <a:lnTo>
                    <a:pt x="232" y="238"/>
                  </a:lnTo>
                  <a:lnTo>
                    <a:pt x="227" y="242"/>
                  </a:lnTo>
                  <a:lnTo>
                    <a:pt x="224" y="244"/>
                  </a:lnTo>
                  <a:lnTo>
                    <a:pt x="216" y="249"/>
                  </a:lnTo>
                  <a:lnTo>
                    <a:pt x="213" y="251"/>
                  </a:lnTo>
                  <a:lnTo>
                    <a:pt x="207" y="256"/>
                  </a:lnTo>
                  <a:lnTo>
                    <a:pt x="206" y="257"/>
                  </a:lnTo>
                  <a:lnTo>
                    <a:pt x="204" y="257"/>
                  </a:lnTo>
                  <a:lnTo>
                    <a:pt x="202" y="259"/>
                  </a:lnTo>
                  <a:lnTo>
                    <a:pt x="195" y="261"/>
                  </a:lnTo>
                  <a:lnTo>
                    <a:pt x="189" y="263"/>
                  </a:lnTo>
                  <a:lnTo>
                    <a:pt x="187" y="264"/>
                  </a:lnTo>
                  <a:lnTo>
                    <a:pt x="184" y="264"/>
                  </a:lnTo>
                  <a:lnTo>
                    <a:pt x="182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4"/>
                  </a:lnTo>
                  <a:lnTo>
                    <a:pt x="173" y="264"/>
                  </a:lnTo>
                  <a:lnTo>
                    <a:pt x="170" y="262"/>
                  </a:lnTo>
                  <a:lnTo>
                    <a:pt x="167" y="260"/>
                  </a:lnTo>
                  <a:lnTo>
                    <a:pt x="164" y="257"/>
                  </a:lnTo>
                  <a:lnTo>
                    <a:pt x="156" y="249"/>
                  </a:lnTo>
                  <a:lnTo>
                    <a:pt x="153" y="245"/>
                  </a:lnTo>
                  <a:lnTo>
                    <a:pt x="150" y="242"/>
                  </a:lnTo>
                  <a:lnTo>
                    <a:pt x="146" y="239"/>
                  </a:lnTo>
                  <a:lnTo>
                    <a:pt x="143" y="238"/>
                  </a:lnTo>
                  <a:lnTo>
                    <a:pt x="140" y="237"/>
                  </a:lnTo>
                  <a:lnTo>
                    <a:pt x="136" y="235"/>
                  </a:lnTo>
                  <a:lnTo>
                    <a:pt x="127" y="233"/>
                  </a:lnTo>
                  <a:lnTo>
                    <a:pt x="124" y="232"/>
                  </a:lnTo>
                  <a:lnTo>
                    <a:pt x="122" y="230"/>
                  </a:lnTo>
                  <a:lnTo>
                    <a:pt x="120" y="229"/>
                  </a:lnTo>
                  <a:lnTo>
                    <a:pt x="119" y="228"/>
                  </a:lnTo>
                  <a:lnTo>
                    <a:pt x="117" y="227"/>
                  </a:lnTo>
                  <a:lnTo>
                    <a:pt x="117" y="224"/>
                  </a:lnTo>
                  <a:lnTo>
                    <a:pt x="116" y="222"/>
                  </a:lnTo>
                  <a:lnTo>
                    <a:pt x="116" y="220"/>
                  </a:lnTo>
                  <a:lnTo>
                    <a:pt x="116" y="219"/>
                  </a:lnTo>
                  <a:lnTo>
                    <a:pt x="117" y="217"/>
                  </a:lnTo>
                  <a:lnTo>
                    <a:pt x="117" y="216"/>
                  </a:lnTo>
                  <a:lnTo>
                    <a:pt x="121" y="212"/>
                  </a:lnTo>
                  <a:lnTo>
                    <a:pt x="122" y="210"/>
                  </a:lnTo>
                  <a:lnTo>
                    <a:pt x="124" y="209"/>
                  </a:lnTo>
                  <a:lnTo>
                    <a:pt x="125" y="207"/>
                  </a:lnTo>
                  <a:lnTo>
                    <a:pt x="125" y="204"/>
                  </a:lnTo>
                  <a:lnTo>
                    <a:pt x="126" y="202"/>
                  </a:lnTo>
                  <a:lnTo>
                    <a:pt x="127" y="199"/>
                  </a:lnTo>
                  <a:lnTo>
                    <a:pt x="127" y="197"/>
                  </a:lnTo>
                  <a:lnTo>
                    <a:pt x="127" y="194"/>
                  </a:lnTo>
                  <a:lnTo>
                    <a:pt x="127" y="191"/>
                  </a:lnTo>
                  <a:lnTo>
                    <a:pt x="126" y="189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3" y="184"/>
                  </a:lnTo>
                  <a:lnTo>
                    <a:pt x="122" y="182"/>
                  </a:lnTo>
                  <a:lnTo>
                    <a:pt x="120" y="180"/>
                  </a:lnTo>
                  <a:lnTo>
                    <a:pt x="112" y="174"/>
                  </a:lnTo>
                  <a:lnTo>
                    <a:pt x="108" y="173"/>
                  </a:lnTo>
                  <a:lnTo>
                    <a:pt x="107" y="172"/>
                  </a:lnTo>
                  <a:lnTo>
                    <a:pt x="105" y="172"/>
                  </a:lnTo>
                  <a:lnTo>
                    <a:pt x="102" y="171"/>
                  </a:lnTo>
                  <a:lnTo>
                    <a:pt x="100" y="171"/>
                  </a:lnTo>
                  <a:lnTo>
                    <a:pt x="95" y="171"/>
                  </a:lnTo>
                  <a:lnTo>
                    <a:pt x="92" y="171"/>
                  </a:lnTo>
                  <a:lnTo>
                    <a:pt x="90" y="172"/>
                  </a:lnTo>
                  <a:lnTo>
                    <a:pt x="80" y="174"/>
                  </a:lnTo>
                  <a:lnTo>
                    <a:pt x="76" y="174"/>
                  </a:lnTo>
                  <a:lnTo>
                    <a:pt x="70" y="175"/>
                  </a:lnTo>
                  <a:lnTo>
                    <a:pt x="60" y="176"/>
                  </a:lnTo>
                  <a:lnTo>
                    <a:pt x="53" y="176"/>
                  </a:lnTo>
                  <a:lnTo>
                    <a:pt x="49" y="176"/>
                  </a:lnTo>
                  <a:lnTo>
                    <a:pt x="45" y="175"/>
                  </a:lnTo>
                  <a:lnTo>
                    <a:pt x="40" y="174"/>
                  </a:lnTo>
                  <a:lnTo>
                    <a:pt x="35" y="172"/>
                  </a:lnTo>
                  <a:lnTo>
                    <a:pt x="33" y="172"/>
                  </a:lnTo>
                  <a:lnTo>
                    <a:pt x="32" y="171"/>
                  </a:lnTo>
                  <a:lnTo>
                    <a:pt x="30" y="169"/>
                  </a:lnTo>
                  <a:lnTo>
                    <a:pt x="29" y="168"/>
                  </a:lnTo>
                  <a:lnTo>
                    <a:pt x="27" y="167"/>
                  </a:lnTo>
                  <a:lnTo>
                    <a:pt x="26" y="165"/>
                  </a:lnTo>
                  <a:lnTo>
                    <a:pt x="25" y="163"/>
                  </a:lnTo>
                  <a:lnTo>
                    <a:pt x="24" y="162"/>
                  </a:lnTo>
                  <a:lnTo>
                    <a:pt x="23" y="160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1" y="154"/>
                  </a:lnTo>
                  <a:lnTo>
                    <a:pt x="21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0" y="147"/>
                  </a:lnTo>
                  <a:lnTo>
                    <a:pt x="20" y="141"/>
                  </a:lnTo>
                  <a:lnTo>
                    <a:pt x="20" y="136"/>
                  </a:lnTo>
                  <a:lnTo>
                    <a:pt x="20" y="125"/>
                  </a:lnTo>
                  <a:lnTo>
                    <a:pt x="20" y="121"/>
                  </a:lnTo>
                  <a:lnTo>
                    <a:pt x="20" y="114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5" y="100"/>
                  </a:lnTo>
                  <a:lnTo>
                    <a:pt x="14" y="97"/>
                  </a:lnTo>
                  <a:lnTo>
                    <a:pt x="12" y="95"/>
                  </a:lnTo>
                  <a:lnTo>
                    <a:pt x="12" y="92"/>
                  </a:lnTo>
                  <a:lnTo>
                    <a:pt x="11" y="90"/>
                  </a:lnTo>
                  <a:lnTo>
                    <a:pt x="10" y="87"/>
                  </a:lnTo>
                  <a:lnTo>
                    <a:pt x="10" y="84"/>
                  </a:lnTo>
                  <a:lnTo>
                    <a:pt x="10" y="72"/>
                  </a:lnTo>
                  <a:lnTo>
                    <a:pt x="9" y="68"/>
                  </a:lnTo>
                  <a:lnTo>
                    <a:pt x="8" y="65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5" y="57"/>
                  </a:lnTo>
                  <a:lnTo>
                    <a:pt x="1" y="52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1" y="37"/>
                  </a:lnTo>
                  <a:lnTo>
                    <a:pt x="2" y="34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22" y="28"/>
                  </a:lnTo>
                  <a:lnTo>
                    <a:pt x="25" y="29"/>
                  </a:lnTo>
                  <a:lnTo>
                    <a:pt x="33" y="34"/>
                  </a:lnTo>
                  <a:lnTo>
                    <a:pt x="41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5" y="40"/>
                  </a:lnTo>
                  <a:lnTo>
                    <a:pt x="59" y="41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5" y="40"/>
                  </a:lnTo>
                  <a:lnTo>
                    <a:pt x="67" y="38"/>
                  </a:lnTo>
                  <a:lnTo>
                    <a:pt x="69" y="36"/>
                  </a:lnTo>
                  <a:lnTo>
                    <a:pt x="71" y="34"/>
                  </a:lnTo>
                  <a:lnTo>
                    <a:pt x="72" y="32"/>
                  </a:lnTo>
                  <a:lnTo>
                    <a:pt x="74" y="30"/>
                  </a:lnTo>
                  <a:lnTo>
                    <a:pt x="77" y="22"/>
                  </a:lnTo>
                  <a:lnTo>
                    <a:pt x="80" y="19"/>
                  </a:lnTo>
                  <a:lnTo>
                    <a:pt x="81" y="17"/>
                  </a:lnTo>
                  <a:lnTo>
                    <a:pt x="83" y="15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7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" name="Freeform 107">
              <a:extLst>
                <a:ext uri="{FF2B5EF4-FFF2-40B4-BE49-F238E27FC236}">
                  <a16:creationId xmlns:a16="http://schemas.microsoft.com/office/drawing/2014/main" id="{6822DE13-D339-F578-2E45-621BE1F37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6114" y="2783938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1" name="Freeform 108">
              <a:extLst>
                <a:ext uri="{FF2B5EF4-FFF2-40B4-BE49-F238E27FC236}">
                  <a16:creationId xmlns:a16="http://schemas.microsoft.com/office/drawing/2014/main" id="{1858B317-8B17-F2C6-9750-407A38AD3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6901" y="1899701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2" name="Freeform 109">
              <a:extLst>
                <a:ext uri="{FF2B5EF4-FFF2-40B4-BE49-F238E27FC236}">
                  <a16:creationId xmlns:a16="http://schemas.microsoft.com/office/drawing/2014/main" id="{A6DAEB92-3DBC-7D63-65D4-3D58CB2E6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0489" y="2210851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3" name="Freeform 110">
              <a:extLst>
                <a:ext uri="{FF2B5EF4-FFF2-40B4-BE49-F238E27FC236}">
                  <a16:creationId xmlns:a16="http://schemas.microsoft.com/office/drawing/2014/main" id="{DE601014-2948-908A-74D7-4A5AAA149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389" y="2239426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625778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délník 2">
            <a:extLst>
              <a:ext uri="{FF2B5EF4-FFF2-40B4-BE49-F238E27FC236}">
                <a16:creationId xmlns:a16="http://schemas.microsoft.com/office/drawing/2014/main" id="{D51D8113-868B-23EE-5B54-BD2D149F78D0}"/>
              </a:ext>
            </a:extLst>
          </p:cNvPr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44A97CBE-9CCD-5588-1D54-EBFF1CA0FE4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6000" y="251999"/>
            <a:ext cx="1268338" cy="3701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85714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659FED70-EDE0-3070-DCFA-98AE1B94BBB8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6000" y="251999"/>
            <a:ext cx="1268338" cy="3701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03426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2" name="Skupina 1">
            <a:extLst>
              <a:ext uri="{FF2B5EF4-FFF2-40B4-BE49-F238E27FC236}">
                <a16:creationId xmlns:a16="http://schemas.microsoft.com/office/drawing/2014/main" id="{BA0BD173-7D0D-4199-B0CB-E2A7C1D449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3" name="Volný tvar: obrazec 2">
              <a:extLst>
                <a:ext uri="{FF2B5EF4-FFF2-40B4-BE49-F238E27FC236}">
                  <a16:creationId xmlns:a16="http://schemas.microsoft.com/office/drawing/2014/main" id="{D264996D-2167-1F64-1E49-0D6D9923E478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" name="Volný tvar: obrazec 3">
              <a:extLst>
                <a:ext uri="{FF2B5EF4-FFF2-40B4-BE49-F238E27FC236}">
                  <a16:creationId xmlns:a16="http://schemas.microsoft.com/office/drawing/2014/main" id="{C6B4C5D5-B53E-D9E9-FFFE-9A6C7F42330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" name="Volný tvar: obrazec 4">
              <a:extLst>
                <a:ext uri="{FF2B5EF4-FFF2-40B4-BE49-F238E27FC236}">
                  <a16:creationId xmlns:a16="http://schemas.microsoft.com/office/drawing/2014/main" id="{7244A0B8-BA6E-1FCF-35E6-DF6D75F55D84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" name="Volný tvar: obrazec 5">
              <a:extLst>
                <a:ext uri="{FF2B5EF4-FFF2-40B4-BE49-F238E27FC236}">
                  <a16:creationId xmlns:a16="http://schemas.microsoft.com/office/drawing/2014/main" id="{58B8EE35-74AC-7596-F22D-B3088E96962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0" name="Volný tvar: obrazec 9">
              <a:extLst>
                <a:ext uri="{FF2B5EF4-FFF2-40B4-BE49-F238E27FC236}">
                  <a16:creationId xmlns:a16="http://schemas.microsoft.com/office/drawing/2014/main" id="{041D4F5B-4A5A-9B42-BD84-EF768BF948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4" name="Volný tvar: obrazec 13">
              <a:extLst>
                <a:ext uri="{FF2B5EF4-FFF2-40B4-BE49-F238E27FC236}">
                  <a16:creationId xmlns:a16="http://schemas.microsoft.com/office/drawing/2014/main" id="{9CBA78DD-1191-E0CD-7D41-7354977B18F5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5" name="Volný tvar: obrazec 14">
              <a:extLst>
                <a:ext uri="{FF2B5EF4-FFF2-40B4-BE49-F238E27FC236}">
                  <a16:creationId xmlns:a16="http://schemas.microsoft.com/office/drawing/2014/main" id="{112061D0-FEE5-FBF3-21E2-C35256053BA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6" name="Volný tvar: obrazec 15">
              <a:extLst>
                <a:ext uri="{FF2B5EF4-FFF2-40B4-BE49-F238E27FC236}">
                  <a16:creationId xmlns:a16="http://schemas.microsoft.com/office/drawing/2014/main" id="{B164DD30-8304-4541-FF7B-C1B769CF30C9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17" name="Volný tvar: obrazec 16">
              <a:extLst>
                <a:ext uri="{FF2B5EF4-FFF2-40B4-BE49-F238E27FC236}">
                  <a16:creationId xmlns:a16="http://schemas.microsoft.com/office/drawing/2014/main" id="{E357CFCF-5F5E-4DE8-5B95-5606351BFB3B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8" name="Volný tvar: obrazec 17">
              <a:extLst>
                <a:ext uri="{FF2B5EF4-FFF2-40B4-BE49-F238E27FC236}">
                  <a16:creationId xmlns:a16="http://schemas.microsoft.com/office/drawing/2014/main" id="{86660F99-CE27-2EC5-5DFA-D0B7250FA20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9" name="Volný tvar: obrazec 18">
              <a:extLst>
                <a:ext uri="{FF2B5EF4-FFF2-40B4-BE49-F238E27FC236}">
                  <a16:creationId xmlns:a16="http://schemas.microsoft.com/office/drawing/2014/main" id="{9792121D-744F-261A-0134-A1B59B929D76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0" name="Volný tvar: obrazec 19">
              <a:extLst>
                <a:ext uri="{FF2B5EF4-FFF2-40B4-BE49-F238E27FC236}">
                  <a16:creationId xmlns:a16="http://schemas.microsoft.com/office/drawing/2014/main" id="{569253A5-EB09-E9E0-5B6E-01031374A3B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Volný tvar: obrazec 20">
              <a:extLst>
                <a:ext uri="{FF2B5EF4-FFF2-40B4-BE49-F238E27FC236}">
                  <a16:creationId xmlns:a16="http://schemas.microsoft.com/office/drawing/2014/main" id="{3A32676F-0E13-359D-4BC5-C7C6D66744D8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2" name="Volný tvar: obrazec 21">
              <a:extLst>
                <a:ext uri="{FF2B5EF4-FFF2-40B4-BE49-F238E27FC236}">
                  <a16:creationId xmlns:a16="http://schemas.microsoft.com/office/drawing/2014/main" id="{395B2C31-C851-1128-1A1D-B41D21AF6D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5017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2" name="Skupina 1">
            <a:extLst>
              <a:ext uri="{FF2B5EF4-FFF2-40B4-BE49-F238E27FC236}">
                <a16:creationId xmlns:a16="http://schemas.microsoft.com/office/drawing/2014/main" id="{589B9D5F-1976-73A7-1779-8C4A65C3C5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3" name="Volný tvar: obrazec 2">
              <a:extLst>
                <a:ext uri="{FF2B5EF4-FFF2-40B4-BE49-F238E27FC236}">
                  <a16:creationId xmlns:a16="http://schemas.microsoft.com/office/drawing/2014/main" id="{D6CF9023-A89E-4FB1-163B-589B9643E609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4" name="Volný tvar: obrazec 3">
              <a:extLst>
                <a:ext uri="{FF2B5EF4-FFF2-40B4-BE49-F238E27FC236}">
                  <a16:creationId xmlns:a16="http://schemas.microsoft.com/office/drawing/2014/main" id="{8880903E-205A-E266-CDFF-E033D20D79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" name="Volný tvar: obrazec 4">
              <a:extLst>
                <a:ext uri="{FF2B5EF4-FFF2-40B4-BE49-F238E27FC236}">
                  <a16:creationId xmlns:a16="http://schemas.microsoft.com/office/drawing/2014/main" id="{75CD10B0-B7CC-AA06-FA15-E5D8FF1D4633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" name="Volný tvar: obrazec 5">
              <a:extLst>
                <a:ext uri="{FF2B5EF4-FFF2-40B4-BE49-F238E27FC236}">
                  <a16:creationId xmlns:a16="http://schemas.microsoft.com/office/drawing/2014/main" id="{A0AA476F-D094-66D0-969E-0FF03DCB2A8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0" name="Volný tvar: obrazec 9">
              <a:extLst>
                <a:ext uri="{FF2B5EF4-FFF2-40B4-BE49-F238E27FC236}">
                  <a16:creationId xmlns:a16="http://schemas.microsoft.com/office/drawing/2014/main" id="{73FFA58B-E7F2-E38C-7DAA-F5E4A07E4C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4" name="Volný tvar: obrazec 13">
              <a:extLst>
                <a:ext uri="{FF2B5EF4-FFF2-40B4-BE49-F238E27FC236}">
                  <a16:creationId xmlns:a16="http://schemas.microsoft.com/office/drawing/2014/main" id="{4B6A8F31-EFD1-3EEC-7517-DBA6F50546E4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5" name="Volný tvar: obrazec 14">
              <a:extLst>
                <a:ext uri="{FF2B5EF4-FFF2-40B4-BE49-F238E27FC236}">
                  <a16:creationId xmlns:a16="http://schemas.microsoft.com/office/drawing/2014/main" id="{8FD5C596-BBE0-D704-773E-CFD2E05A51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6" name="Volný tvar: obrazec 15">
              <a:extLst>
                <a:ext uri="{FF2B5EF4-FFF2-40B4-BE49-F238E27FC236}">
                  <a16:creationId xmlns:a16="http://schemas.microsoft.com/office/drawing/2014/main" id="{CDB562BB-6A0D-720C-C769-FBB3C0046014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17" name="Volný tvar: obrazec 16">
              <a:extLst>
                <a:ext uri="{FF2B5EF4-FFF2-40B4-BE49-F238E27FC236}">
                  <a16:creationId xmlns:a16="http://schemas.microsoft.com/office/drawing/2014/main" id="{16EB5CED-E896-753B-8CC7-9FD6ECD40B94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solidFill>
              <a:srgbClr val="D71440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8" name="Volný tvar: obrazec 17">
              <a:extLst>
                <a:ext uri="{FF2B5EF4-FFF2-40B4-BE49-F238E27FC236}">
                  <a16:creationId xmlns:a16="http://schemas.microsoft.com/office/drawing/2014/main" id="{C857B7A8-75AD-EB59-583B-7D4F84EAE5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19" name="Volný tvar: obrazec 18">
              <a:extLst>
                <a:ext uri="{FF2B5EF4-FFF2-40B4-BE49-F238E27FC236}">
                  <a16:creationId xmlns:a16="http://schemas.microsoft.com/office/drawing/2014/main" id="{A638F894-7A7D-40A9-4D0B-5047FED95F1F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0" name="Volný tvar: obrazec 19">
              <a:extLst>
                <a:ext uri="{FF2B5EF4-FFF2-40B4-BE49-F238E27FC236}">
                  <a16:creationId xmlns:a16="http://schemas.microsoft.com/office/drawing/2014/main" id="{10BA5CE0-05DE-77B5-0B0F-1E0739DE10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Volný tvar: obrazec 20">
              <a:extLst>
                <a:ext uri="{FF2B5EF4-FFF2-40B4-BE49-F238E27FC236}">
                  <a16:creationId xmlns:a16="http://schemas.microsoft.com/office/drawing/2014/main" id="{E078466C-7BCF-2C9B-7FD7-42BC8F6FF007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2" name="Volný tvar: obrazec 21">
              <a:extLst>
                <a:ext uri="{FF2B5EF4-FFF2-40B4-BE49-F238E27FC236}">
                  <a16:creationId xmlns:a16="http://schemas.microsoft.com/office/drawing/2014/main" id="{A828794E-7AA2-6632-AC9D-0E2C53AC809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418407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4" name="Zástupný text 8">
            <a:extLst>
              <a:ext uri="{FF2B5EF4-FFF2-40B4-BE49-F238E27FC236}">
                <a16:creationId xmlns:a16="http://schemas.microsoft.com/office/drawing/2014/main" id="{334C7CB7-DCE5-6074-63A1-2EE2E54004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470160F-6A45-07BE-0604-077F038631C9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</p:spTree>
    <p:extLst>
      <p:ext uri="{BB962C8B-B14F-4D97-AF65-F5344CB8AC3E}">
        <p14:creationId xmlns:p14="http://schemas.microsoft.com/office/powerpoint/2010/main" val="301216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3999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193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20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14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313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737" r:id="rId2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14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3722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14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7465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4" r:id="rId18"/>
    <p:sldLayoutId id="2147483735" r:id="rId19"/>
    <p:sldLayoutId id="2147483736" r:id="rId20"/>
    <p:sldLayoutId id="2147483738" r:id="rId21"/>
    <p:sldLayoutId id="2147483740" r:id="rId22"/>
    <p:sldLayoutId id="2147483748" r:id="rId2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05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487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tags" Target="../tags/tag36.xml"/><Relationship Id="rId7" Type="http://schemas.openxmlformats.org/officeDocument/2006/relationships/image" Target="../media/image35.sv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1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2.xml"/><Relationship Id="rId4" Type="http://schemas.openxmlformats.org/officeDocument/2006/relationships/tags" Target="../tags/tag1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chart" Target="../charts/chart1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chart" Target="../charts/chart12.xml"/><Relationship Id="rId5" Type="http://schemas.openxmlformats.org/officeDocument/2006/relationships/tags" Target="../tags/tag120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119.xml"/><Relationship Id="rId9" Type="http://schemas.openxmlformats.org/officeDocument/2006/relationships/slideLayout" Target="../slideLayouts/slideLayout7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126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72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chart" Target="../charts/chart17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chart" Target="../charts/chart16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chart" Target="../charts/chart15.xml"/><Relationship Id="rId5" Type="http://schemas.openxmlformats.org/officeDocument/2006/relationships/tags" Target="../tags/tag133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32.xml"/><Relationship Id="rId9" Type="http://schemas.openxmlformats.org/officeDocument/2006/relationships/slideLayout" Target="../slideLayouts/slideLayout72.xml"/><Relationship Id="rId14" Type="http://schemas.openxmlformats.org/officeDocument/2006/relationships/chart" Target="../charts/char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36.jpg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9.xml"/><Relationship Id="rId4" Type="http://schemas.openxmlformats.org/officeDocument/2006/relationships/chart" Target="../charts/char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4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44.xml"/><Relationship Id="rId4" Type="http://schemas.openxmlformats.org/officeDocument/2006/relationships/chart" Target="../charts/char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45.xml"/><Relationship Id="rId4" Type="http://schemas.openxmlformats.org/officeDocument/2006/relationships/chart" Target="../charts/chart2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chart" Target="../charts/chart25.xml"/><Relationship Id="rId5" Type="http://schemas.openxmlformats.org/officeDocument/2006/relationships/tags" Target="../tags/tag150.xml"/><Relationship Id="rId10" Type="http://schemas.openxmlformats.org/officeDocument/2006/relationships/notesSlide" Target="../notesSlides/notesSlide24.xml"/><Relationship Id="rId4" Type="http://schemas.openxmlformats.org/officeDocument/2006/relationships/tags" Target="../tags/tag149.xml"/><Relationship Id="rId9" Type="http://schemas.openxmlformats.org/officeDocument/2006/relationships/slideLayout" Target="../slideLayouts/slideLayout7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26" Type="http://schemas.openxmlformats.org/officeDocument/2006/relationships/chart" Target="../charts/chart27.xml"/><Relationship Id="rId3" Type="http://schemas.openxmlformats.org/officeDocument/2006/relationships/tags" Target="../tags/tag156.xml"/><Relationship Id="rId21" Type="http://schemas.openxmlformats.org/officeDocument/2006/relationships/tags" Target="../tags/tag174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chart" Target="../charts/chart26.xm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20" Type="http://schemas.openxmlformats.org/officeDocument/2006/relationships/tags" Target="../tags/tag173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24" Type="http://schemas.openxmlformats.org/officeDocument/2006/relationships/notesSlide" Target="../notesSlides/notesSlide25.xml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23" Type="http://schemas.openxmlformats.org/officeDocument/2006/relationships/slideLayout" Target="../slideLayouts/slideLayout72.xml"/><Relationship Id="rId10" Type="http://schemas.openxmlformats.org/officeDocument/2006/relationships/tags" Target="../tags/tag163.xml"/><Relationship Id="rId19" Type="http://schemas.openxmlformats.org/officeDocument/2006/relationships/tags" Target="../tags/tag172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tags" Target="../tags/tag175.xml"/><Relationship Id="rId27" Type="http://schemas.openxmlformats.org/officeDocument/2006/relationships/chart" Target="../charts/chart2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chart" Target="../charts/chart29.xml"/><Relationship Id="rId5" Type="http://schemas.openxmlformats.org/officeDocument/2006/relationships/tags" Target="../tags/tag180.xml"/><Relationship Id="rId10" Type="http://schemas.openxmlformats.org/officeDocument/2006/relationships/notesSlide" Target="../notesSlides/notesSlide26.xml"/><Relationship Id="rId4" Type="http://schemas.openxmlformats.org/officeDocument/2006/relationships/tags" Target="../tags/tag179.xml"/><Relationship Id="rId9" Type="http://schemas.openxmlformats.org/officeDocument/2006/relationships/slideLayout" Target="../slideLayouts/slideLayout7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26" Type="http://schemas.openxmlformats.org/officeDocument/2006/relationships/chart" Target="../charts/chart31.xml"/><Relationship Id="rId3" Type="http://schemas.openxmlformats.org/officeDocument/2006/relationships/tags" Target="../tags/tag186.xml"/><Relationship Id="rId21" Type="http://schemas.openxmlformats.org/officeDocument/2006/relationships/tags" Target="../tags/tag204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5" Type="http://schemas.openxmlformats.org/officeDocument/2006/relationships/chart" Target="../charts/chart30.xml"/><Relationship Id="rId2" Type="http://schemas.openxmlformats.org/officeDocument/2006/relationships/tags" Target="../tags/tag185.xml"/><Relationship Id="rId16" Type="http://schemas.openxmlformats.org/officeDocument/2006/relationships/tags" Target="../tags/tag199.xml"/><Relationship Id="rId20" Type="http://schemas.openxmlformats.org/officeDocument/2006/relationships/tags" Target="../tags/tag203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24" Type="http://schemas.openxmlformats.org/officeDocument/2006/relationships/notesSlide" Target="../notesSlides/notesSlide27.xml"/><Relationship Id="rId5" Type="http://schemas.openxmlformats.org/officeDocument/2006/relationships/tags" Target="../tags/tag188.xml"/><Relationship Id="rId15" Type="http://schemas.openxmlformats.org/officeDocument/2006/relationships/tags" Target="../tags/tag198.xml"/><Relationship Id="rId23" Type="http://schemas.openxmlformats.org/officeDocument/2006/relationships/slideLayout" Target="../slideLayouts/slideLayout72.xml"/><Relationship Id="rId10" Type="http://schemas.openxmlformats.org/officeDocument/2006/relationships/tags" Target="../tags/tag193.xml"/><Relationship Id="rId19" Type="http://schemas.openxmlformats.org/officeDocument/2006/relationships/tags" Target="../tags/tag202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Relationship Id="rId22" Type="http://schemas.openxmlformats.org/officeDocument/2006/relationships/tags" Target="../tags/tag205.xml"/><Relationship Id="rId27" Type="http://schemas.openxmlformats.org/officeDocument/2006/relationships/chart" Target="../charts/chart3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chart" Target="../charts/chart33.xml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7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chart" Target="../charts/chart34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notesSlide" Target="../notesSlides/notesSlide29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slideLayout" Target="../slideLayouts/slideLayout72.xml"/><Relationship Id="rId5" Type="http://schemas.openxmlformats.org/officeDocument/2006/relationships/tags" Target="../tags/tag213.xml"/><Relationship Id="rId10" Type="http://schemas.openxmlformats.org/officeDocument/2006/relationships/tags" Target="../tags/tag218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7" Type="http://schemas.openxmlformats.org/officeDocument/2006/relationships/chart" Target="../charts/chart35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72.xml"/><Relationship Id="rId4" Type="http://schemas.openxmlformats.org/officeDocument/2006/relationships/tags" Target="../tags/tag22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chart" Target="../charts/chart37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chart" Target="../charts/chart36.xml"/><Relationship Id="rId5" Type="http://schemas.openxmlformats.org/officeDocument/2006/relationships/tags" Target="../tags/tag227.xml"/><Relationship Id="rId10" Type="http://schemas.openxmlformats.org/officeDocument/2006/relationships/notesSlide" Target="../notesSlides/notesSlide31.xml"/><Relationship Id="rId4" Type="http://schemas.openxmlformats.org/officeDocument/2006/relationships/tags" Target="../tags/tag226.xml"/><Relationship Id="rId9" Type="http://schemas.openxmlformats.org/officeDocument/2006/relationships/slideLayout" Target="../slideLayouts/slideLayout7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8.xml"/><Relationship Id="rId3" Type="http://schemas.openxmlformats.org/officeDocument/2006/relationships/tags" Target="../tags/tag233.xml"/><Relationship Id="rId7" Type="http://schemas.openxmlformats.org/officeDocument/2006/relationships/notesSlide" Target="../notesSlides/notesSlide32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slideLayout" Target="../slideLayouts/slideLayout72.xml"/><Relationship Id="rId5" Type="http://schemas.openxmlformats.org/officeDocument/2006/relationships/tags" Target="../tags/tag235.xml"/><Relationship Id="rId4" Type="http://schemas.openxmlformats.org/officeDocument/2006/relationships/tags" Target="../tags/tag23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5" Type="http://schemas.openxmlformats.org/officeDocument/2006/relationships/image" Target="../media/image36.jpg"/><Relationship Id="rId4" Type="http://schemas.openxmlformats.org/officeDocument/2006/relationships/notesSlide" Target="../notesSlides/notesSlide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238.xml"/><Relationship Id="rId4" Type="http://schemas.openxmlformats.org/officeDocument/2006/relationships/image" Target="../media/image42.sv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3" Type="http://schemas.openxmlformats.org/officeDocument/2006/relationships/tags" Target="../tags/tag241.xml"/><Relationship Id="rId7" Type="http://schemas.openxmlformats.org/officeDocument/2006/relationships/notesSlide" Target="../notesSlides/notesSlide34.xml"/><Relationship Id="rId12" Type="http://schemas.openxmlformats.org/officeDocument/2006/relationships/image" Target="../media/image47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slideLayout" Target="../slideLayouts/slideLayout55.xml"/><Relationship Id="rId11" Type="http://schemas.openxmlformats.org/officeDocument/2006/relationships/image" Target="../media/image46.svg"/><Relationship Id="rId5" Type="http://schemas.openxmlformats.org/officeDocument/2006/relationships/tags" Target="../tags/tag243.xml"/><Relationship Id="rId15" Type="http://schemas.openxmlformats.org/officeDocument/2006/relationships/image" Target="../media/image42.svg"/><Relationship Id="rId10" Type="http://schemas.openxmlformats.org/officeDocument/2006/relationships/image" Target="../media/image45.png"/><Relationship Id="rId4" Type="http://schemas.openxmlformats.org/officeDocument/2006/relationships/tags" Target="../tags/tag242.xml"/><Relationship Id="rId9" Type="http://schemas.openxmlformats.org/officeDocument/2006/relationships/image" Target="../media/image44.svg"/><Relationship Id="rId14" Type="http://schemas.openxmlformats.org/officeDocument/2006/relationships/image" Target="../media/image4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246.xml"/><Relationship Id="rId7" Type="http://schemas.openxmlformats.org/officeDocument/2006/relationships/notesSlide" Target="../notesSlides/notesSlide3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42.svg"/><Relationship Id="rId5" Type="http://schemas.openxmlformats.org/officeDocument/2006/relationships/tags" Target="../tags/tag248.xml"/><Relationship Id="rId10" Type="http://schemas.openxmlformats.org/officeDocument/2006/relationships/image" Target="../media/image41.png"/><Relationship Id="rId4" Type="http://schemas.openxmlformats.org/officeDocument/2006/relationships/tags" Target="../tags/tag247.xml"/><Relationship Id="rId9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chart" Target="../charts/chart1.xml"/><Relationship Id="rId5" Type="http://schemas.openxmlformats.org/officeDocument/2006/relationships/tags" Target="../tags/tag43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7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251.xml"/><Relationship Id="rId7" Type="http://schemas.openxmlformats.org/officeDocument/2006/relationships/notesSlide" Target="../notesSlides/notesSlide36.xml"/><Relationship Id="rId12" Type="http://schemas.openxmlformats.org/officeDocument/2006/relationships/image" Target="../media/image52.png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42.svg"/><Relationship Id="rId5" Type="http://schemas.openxmlformats.org/officeDocument/2006/relationships/tags" Target="../tags/tag253.xml"/><Relationship Id="rId10" Type="http://schemas.openxmlformats.org/officeDocument/2006/relationships/image" Target="../media/image41.png"/><Relationship Id="rId4" Type="http://schemas.openxmlformats.org/officeDocument/2006/relationships/tags" Target="../tags/tag252.xml"/><Relationship Id="rId9" Type="http://schemas.openxmlformats.org/officeDocument/2006/relationships/chart" Target="../charts/chart39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256.xml"/><Relationship Id="rId7" Type="http://schemas.openxmlformats.org/officeDocument/2006/relationships/notesSlide" Target="../notesSlides/notesSlide37.xml"/><Relationship Id="rId12" Type="http://schemas.openxmlformats.org/officeDocument/2006/relationships/image" Target="../media/image42.sv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41.png"/><Relationship Id="rId5" Type="http://schemas.openxmlformats.org/officeDocument/2006/relationships/tags" Target="../tags/tag258.xml"/><Relationship Id="rId10" Type="http://schemas.openxmlformats.org/officeDocument/2006/relationships/image" Target="../media/image52.png"/><Relationship Id="rId4" Type="http://schemas.openxmlformats.org/officeDocument/2006/relationships/tags" Target="../tags/tag257.xml"/><Relationship Id="rId9" Type="http://schemas.openxmlformats.org/officeDocument/2006/relationships/chart" Target="../charts/chart40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261.xml"/><Relationship Id="rId7" Type="http://schemas.openxmlformats.org/officeDocument/2006/relationships/image" Target="../media/image41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chart" Target="../charts/chart41.xml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5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.xml"/><Relationship Id="rId3" Type="http://schemas.openxmlformats.org/officeDocument/2006/relationships/tags" Target="../tags/tag264.xml"/><Relationship Id="rId7" Type="http://schemas.openxmlformats.org/officeDocument/2006/relationships/image" Target="../media/image42.svg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41.png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5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26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41.png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chart" Target="../charts/chart44.xml"/><Relationship Id="rId5" Type="http://schemas.openxmlformats.org/officeDocument/2006/relationships/chart" Target="../charts/chart43.xml"/><Relationship Id="rId4" Type="http://schemas.openxmlformats.org/officeDocument/2006/relationships/notesSlide" Target="../notesSlides/notesSlide4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7" Type="http://schemas.openxmlformats.org/officeDocument/2006/relationships/notesSlide" Target="../notesSlides/notesSlide42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slideLayout" Target="../slideLayouts/slideLayout69.xml"/><Relationship Id="rId5" Type="http://schemas.openxmlformats.org/officeDocument/2006/relationships/tags" Target="../tags/tag272.xml"/><Relationship Id="rId4" Type="http://schemas.openxmlformats.org/officeDocument/2006/relationships/tags" Target="../tags/tag27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notesSlide" Target="../notesSlides/notesSlide43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slideLayout" Target="../slideLayouts/slideLayout69.xml"/><Relationship Id="rId5" Type="http://schemas.openxmlformats.org/officeDocument/2006/relationships/tags" Target="../tags/tag277.xml"/><Relationship Id="rId4" Type="http://schemas.openxmlformats.org/officeDocument/2006/relationships/tags" Target="../tags/tag27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chart" Target="../charts/chart3.xml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chart" Target="../charts/chart2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slideLayout" Target="../slideLayouts/slideLayout72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chart" Target="../charts/char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282.xml"/><Relationship Id="rId4" Type="http://schemas.openxmlformats.org/officeDocument/2006/relationships/image" Target="../media/image56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283.xml"/><Relationship Id="rId4" Type="http://schemas.openxmlformats.org/officeDocument/2006/relationships/image" Target="../media/image57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5" Type="http://schemas.openxmlformats.org/officeDocument/2006/relationships/image" Target="../media/image36.jpg"/><Relationship Id="rId4" Type="http://schemas.openxmlformats.org/officeDocument/2006/relationships/notesSlide" Target="../notesSlides/notesSlide4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chart" Target="../charts/chart5.xml"/><Relationship Id="rId5" Type="http://schemas.openxmlformats.org/officeDocument/2006/relationships/tags" Target="../tags/tag73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72.xml"/><Relationship Id="rId9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chart" Target="../charts/chart7.xml"/><Relationship Id="rId3" Type="http://schemas.openxmlformats.org/officeDocument/2006/relationships/tags" Target="../tags/tag79.xml"/><Relationship Id="rId21" Type="http://schemas.openxmlformats.org/officeDocument/2006/relationships/tags" Target="../tags/tag97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chart" Target="../charts/chart6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slideLayout" Target="../slideLayouts/slideLayout72.xml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chart" Target="../charts/chart9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chart" Target="../charts/chart10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slideLayout" Target="../slideLayouts/slideLayout7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odnadpis 9">
            <a:extLst>
              <a:ext uri="{FF2B5EF4-FFF2-40B4-BE49-F238E27FC236}">
                <a16:creationId xmlns:a16="http://schemas.microsoft.com/office/drawing/2014/main" id="{5BE89765-13D4-FB1B-ADF4-5B9637979DE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008438" y="5132694"/>
            <a:ext cx="7451726" cy="873149"/>
          </a:xfrm>
        </p:spPr>
        <p:txBody>
          <a:bodyPr>
            <a:normAutofit lnSpcReduction="10000"/>
          </a:bodyPr>
          <a:lstStyle/>
          <a:p>
            <a:r>
              <a:rPr lang="cs-CZ" sz="1600" dirty="0"/>
              <a:t>Karel Hejduk, Monika Ambrožová, Alena Bahenská, Michaela Cvanová, Hana Kučerová, Michaela Zapletalová, Hana Zelinková, Vladimír Bartůněk, Jan Mužík, Jiří Jarkovský, Tomáš Pavlík, Renata Chloupková, Ondřej Ngo, Ondřej Májek, Ladislav Dušek</a:t>
            </a:r>
          </a:p>
        </p:txBody>
      </p:sp>
      <p:sp>
        <p:nvSpPr>
          <p:cNvPr id="9" name="Nadpis 8">
            <a:extLst>
              <a:ext uri="{FF2B5EF4-FFF2-40B4-BE49-F238E27FC236}">
                <a16:creationId xmlns:a16="http://schemas.microsoft.com/office/drawing/2014/main" id="{41528F14-CF2E-F9BB-47ED-C73A6D14EB84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645298" y="4236734"/>
            <a:ext cx="11546702" cy="895960"/>
          </a:xfrm>
        </p:spPr>
        <p:txBody>
          <a:bodyPr>
            <a:noAutofit/>
          </a:bodyPr>
          <a:lstStyle/>
          <a:p>
            <a:r>
              <a:rPr lang="cs-CZ" sz="2800" b="1" dirty="0"/>
              <a:t>Epidemiologie, screening a péče o pacienty </a:t>
            </a:r>
            <a:br>
              <a:rPr lang="cs-CZ" sz="2800" b="1" dirty="0"/>
            </a:br>
            <a:r>
              <a:rPr lang="cs-CZ" sz="2800" b="1" dirty="0"/>
              <a:t>s nádorovými onemocněními </a:t>
            </a:r>
            <a:r>
              <a:rPr lang="cs-CZ" sz="2800" b="1"/>
              <a:t>v Plzeňském </a:t>
            </a:r>
            <a:r>
              <a:rPr lang="cs-CZ" sz="2800" b="1" dirty="0"/>
              <a:t>kraji</a:t>
            </a:r>
            <a:endParaRPr lang="en-GB" sz="2800" b="1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909EB92-FA5F-71B6-C360-B47F9DC6B0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14. 5. 2025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BAD32E1C-958F-5A45-AD90-DCD20CA86BDB}"/>
              </a:ext>
            </a:extLst>
          </p:cNvPr>
          <p:cNvSpPr/>
          <p:nvPr/>
        </p:nvSpPr>
        <p:spPr>
          <a:xfrm>
            <a:off x="50292" y="572779"/>
            <a:ext cx="3935921" cy="67975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Grafický objekt 14">
            <a:extLst>
              <a:ext uri="{FF2B5EF4-FFF2-40B4-BE49-F238E27FC236}">
                <a16:creationId xmlns:a16="http://schemas.microsoft.com/office/drawing/2014/main" id="{90ADBB90-76A7-2E60-8229-1EF8DB7976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298" y="572779"/>
            <a:ext cx="2451983" cy="679758"/>
          </a:xfrm>
          <a:prstGeom prst="rect">
            <a:avLst/>
          </a:prstGeom>
        </p:spPr>
      </p:pic>
      <p:pic>
        <p:nvPicPr>
          <p:cNvPr id="6" name="Zástupný symbol obrázku 6">
            <a:extLst>
              <a:ext uri="{FF2B5EF4-FFF2-40B4-BE49-F238E27FC236}">
                <a16:creationId xmlns:a16="http://schemas.microsoft.com/office/drawing/2014/main" id="{A99C9F00-8CB1-30DC-B0A6-A8A5D23A21A3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3"/>
            </p:custDataLst>
          </p:nvPr>
        </p:nvPicPr>
        <p:blipFill>
          <a:blip r:embed="rId8"/>
          <a:srcRect t="28733" b="28733"/>
          <a:stretch>
            <a:fillRect/>
          </a:stretch>
        </p:blipFill>
        <p:spPr>
          <a:xfrm>
            <a:off x="0" y="1836738"/>
            <a:ext cx="7983538" cy="2263775"/>
          </a:xfrm>
        </p:spPr>
      </p:pic>
    </p:spTree>
    <p:extLst>
      <p:ext uri="{BB962C8B-B14F-4D97-AF65-F5344CB8AC3E}">
        <p14:creationId xmlns:p14="http://schemas.microsoft.com/office/powerpoint/2010/main" val="4210269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88000" y="493506"/>
            <a:ext cx="91547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: Národní onkologický registr, ÚZIS ČR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periody 2020–2022, všichni pacienti s diagnostikovaným onemocněn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 "/>
                <a:ea typeface="+mn-ea"/>
                <a:cs typeface="+mn-cs"/>
              </a:rPr>
              <a:t> jsou řazeny sestupně dle 5letého přežití.</a:t>
            </a:r>
          </a:p>
        </p:txBody>
      </p:sp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033141" y="953332"/>
          <a:ext cx="10014989" cy="5190836"/>
        </p:xfrm>
        <a:graphic>
          <a:graphicData uri="http://schemas.openxmlformats.org/drawingml/2006/table">
            <a:tbl>
              <a:tblPr/>
              <a:tblGrid>
                <a:gridCol w="3108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7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3441950630"/>
                    </a:ext>
                  </a:extLst>
                </a:gridCol>
              </a:tblGrid>
              <a:tr h="82630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očet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pacientů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</a:t>
                      </a:r>
                      <a:r>
                        <a:rPr lang="en-US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)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, </a:t>
                      </a: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15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4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295469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9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059035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90462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5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40114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54536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5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82472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1 21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1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48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7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7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1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3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5leté relativní přežití pacientek se </a:t>
            </a:r>
            <a:r>
              <a:rPr lang="cs-CZ" u="sng" dirty="0"/>
              <a:t>ZN prsu</a:t>
            </a:r>
            <a:r>
              <a:rPr lang="cs-CZ" dirty="0"/>
              <a:t> dle krajů (perioda 2020–2022)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997666" y="1118955"/>
          <a:ext cx="5634051" cy="529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4464" y="1004108"/>
            <a:ext cx="420045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pacientů s C50 [%]</a:t>
            </a:r>
          </a:p>
        </p:txBody>
      </p:sp>
    </p:spTree>
    <p:extLst>
      <p:ext uri="{BB962C8B-B14F-4D97-AF65-F5344CB8AC3E}">
        <p14:creationId xmlns:p14="http://schemas.microsoft.com/office/powerpoint/2010/main" val="3743313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56DB691D-403F-F0A0-260D-66A82C70CB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97075" y="3736091"/>
            <a:ext cx="6010274" cy="252000"/>
          </a:xfrm>
          <a:prstGeom prst="rect">
            <a:avLst/>
          </a:prstGeom>
          <a:solidFill>
            <a:srgbClr val="97B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3015651-E51E-DFB2-E3F6-1FA548C2BDD0}"/>
              </a:ext>
            </a:extLst>
          </p:cNvPr>
          <p:cNvGraphicFramePr>
            <a:graphicFrameLocks noGrp="1"/>
          </p:cNvGraphicFramePr>
          <p:nvPr/>
        </p:nvGraphicFramePr>
        <p:xfrm>
          <a:off x="11396302" y="2430299"/>
          <a:ext cx="710855" cy="3856200"/>
        </p:xfrm>
        <a:graphic>
          <a:graphicData uri="http://schemas.openxmlformats.org/drawingml/2006/table">
            <a:tbl>
              <a:tblPr/>
              <a:tblGrid>
                <a:gridCol w="710855">
                  <a:extLst>
                    <a:ext uri="{9D8B030D-6E8A-4147-A177-3AD203B41FA5}">
                      <a16:colId xmlns:a16="http://schemas.microsoft.com/office/drawing/2014/main" val="1752176451"/>
                    </a:ext>
                  </a:extLst>
                </a:gridCol>
              </a:tblGrid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1197353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09465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27229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94620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87795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373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536518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34502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74263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463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301318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83344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30710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1226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6987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128309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D34476E-FBB5-61F3-DACF-94481BAAD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imární protinádorová léčba</a:t>
            </a:r>
            <a:r>
              <a:rPr lang="cs-CZ" b="1" noProof="0" dirty="0">
                <a:solidFill>
                  <a:srgbClr val="D71440"/>
                </a:solidFill>
                <a:latin typeface="+mn-lt"/>
              </a:rPr>
              <a:t> pacientek se zhoubným novotvarem prsu</a:t>
            </a:r>
            <a:r>
              <a:rPr lang="en-US" b="1" noProof="0" dirty="0">
                <a:solidFill>
                  <a:srgbClr val="D71440"/>
                </a:solidFill>
                <a:latin typeface="+mn-lt"/>
              </a:rPr>
              <a:t> </a:t>
            </a:r>
            <a:r>
              <a:rPr lang="cs-CZ" b="1" noProof="0" dirty="0">
                <a:solidFill>
                  <a:srgbClr val="D71440"/>
                </a:solidFill>
                <a:latin typeface="+mn-lt"/>
              </a:rPr>
              <a:t>(C50) v KOC a mimo KOC: </a:t>
            </a:r>
            <a:r>
              <a:rPr lang="cs-CZ" dirty="0"/>
              <a:t>dle kraje bydliště pacientky </a:t>
            </a:r>
            <a:r>
              <a:rPr lang="cs-CZ" noProof="0" dirty="0"/>
              <a:t>(2019–2023)</a:t>
            </a:r>
            <a:endParaRPr lang="cs-CZ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FB2422F-E955-3264-B4AC-910935BF7E1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864000"/>
            <a:ext cx="11862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OR + NRHZS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9–202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; primární léčba zhoubného novotvaru (ZN) prsu u žen (C50) vykázaná v datech NRHZS u novotvarů hlášených v datech NOR u dospělých pacientek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CBB92F03-3554-1A58-A134-F116B5122C2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7150" y="1697786"/>
          <a:ext cx="6033052" cy="48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527FC453-FB7F-DE95-C8D7-E5DCD3621B8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8464" y="1236950"/>
            <a:ext cx="48639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rimárně léčených onkologických pacientek se ZN prsu podle bydliště pacientky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F80D6C5-988C-F262-2FB3-6CA7D1A7ACAE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896858" y="1821725"/>
          <a:ext cx="5739156" cy="4602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FC05BBB3-A990-BB84-C4C3-E250FFA5F1B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86182" y="6251635"/>
            <a:ext cx="4815144" cy="261610"/>
          </a:xfrm>
          <a:prstGeom prst="rect">
            <a:avLst/>
          </a:prstGeom>
          <a:noFill/>
          <a:ln w="1905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cientky bez místa bydliště jsou v součtu za Č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hrnuty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A273CE7-A85F-51F3-BCA8-1C564706FA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090202" y="2429621"/>
            <a:ext cx="6010274" cy="2520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DAB78114-CEA3-3F58-69A2-1696D4D3B61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27858" y="4925039"/>
            <a:ext cx="5472000" cy="2700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6F94202-D27A-4048-9A15-FCEF04A7B7D1}"/>
              </a:ext>
            </a:extLst>
          </p:cNvPr>
          <p:cNvSpPr txBox="1"/>
          <p:nvPr/>
        </p:nvSpPr>
        <p:spPr>
          <a:xfrm>
            <a:off x="6704228" y="1236950"/>
            <a:ext cx="47970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rimárně léčených onkologických pacientek se ZN prsu podle bydliště pacientky</a:t>
            </a:r>
          </a:p>
        </p:txBody>
      </p:sp>
    </p:spTree>
    <p:extLst>
      <p:ext uri="{BB962C8B-B14F-4D97-AF65-F5344CB8AC3E}">
        <p14:creationId xmlns:p14="http://schemas.microsoft.com/office/powerpoint/2010/main" val="31642239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7F4CB2-FFE9-8E41-D5D0-96615FE7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Onkologické pacientky se </a:t>
            </a:r>
            <a:r>
              <a:rPr lang="cs-CZ" sz="2400" u="sng" dirty="0"/>
              <a:t>ZN prsu </a:t>
            </a:r>
            <a:r>
              <a:rPr lang="cs-CZ" sz="2400" dirty="0"/>
              <a:t>s konzultací multidisciplinárního týmu (MDT)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10C877F-A6B0-28BD-CD16-6B14EA31243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40000"/>
            <a:ext cx="1040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 + NOR; kód 51881 = MULTIDISCIPLINÁRNÍ INDIKAČNÍ SEMINÁŘ K URČENÍ OPTIMÁLNÍHO ZPŮSOBU LÉČBY U NEMOCNÝCH SE ZHOUBNÝM ONKOLOGICKÝM ONEMOCNĚNÍM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04934D6-6E59-B163-430F-DB42E467764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053526" y="1219767"/>
          <a:ext cx="7865884" cy="45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11531D73-80F4-DD26-25DE-D83CCDEB9F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0" y="1521432"/>
            <a:ext cx="334730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ek, které měly v daném roce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ován zhoubný novotvar prsu (C50)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OR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roveň měly vykázaný výkon konzultace MDT*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E82D288-36BA-8E62-28D6-6BBA48271A0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39913" y="6000912"/>
            <a:ext cx="1066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ledujeme konzultace MDT vykázané max. 93 dní před datem diagnózy a max. 370 dní po datu diagnózy v NOR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F43506BE-BDCC-65C3-5FF3-8C02051185F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228436" y="1225169"/>
            <a:ext cx="4094673" cy="215444"/>
            <a:chOff x="848492" y="1079898"/>
            <a:chExt cx="4094673" cy="215444"/>
          </a:xfrm>
        </p:grpSpPr>
        <p:sp>
          <p:nvSpPr>
            <p:cNvPr id="8" name="TextovéPole 7">
              <a:extLst>
                <a:ext uri="{FF2B5EF4-FFF2-40B4-BE49-F238E27FC236}">
                  <a16:creationId xmlns:a16="http://schemas.microsoft.com/office/drawing/2014/main" id="{725EE07E-4458-4FEE-F858-53F5965280D9}"/>
                </a:ext>
              </a:extLst>
            </p:cNvPr>
            <p:cNvSpPr txBox="1"/>
            <p:nvPr/>
          </p:nvSpPr>
          <p:spPr>
            <a:xfrm>
              <a:off x="1088773" y="1079898"/>
              <a:ext cx="3854392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zeňský kraj	Česká republika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79E7F03F-08BC-4639-FC05-326518990B2A}"/>
                </a:ext>
              </a:extLst>
            </p:cNvPr>
            <p:cNvSpPr/>
            <p:nvPr/>
          </p:nvSpPr>
          <p:spPr>
            <a:xfrm>
              <a:off x="848492" y="1121488"/>
              <a:ext cx="144000" cy="144000"/>
            </a:xfrm>
            <a:prstGeom prst="rect">
              <a:avLst/>
            </a:prstGeom>
            <a:solidFill>
              <a:srgbClr val="6598C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B8B5EA82-A0B1-A621-13D3-B1CC318E1270}"/>
                </a:ext>
              </a:extLst>
            </p:cNvPr>
            <p:cNvSpPr/>
            <p:nvPr/>
          </p:nvSpPr>
          <p:spPr>
            <a:xfrm>
              <a:off x="2724704" y="1121488"/>
              <a:ext cx="144000" cy="144000"/>
            </a:xfrm>
            <a:prstGeom prst="rect">
              <a:avLst/>
            </a:prstGeom>
            <a:solidFill>
              <a:srgbClr val="2E59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98323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E626AD5B-77CE-74BA-B62E-5A694E1389F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9870" y="3876675"/>
          <a:ext cx="3768970" cy="1921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A64D854-E6E8-7E6F-540B-311AF771E97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148082" y="1841095"/>
          <a:ext cx="3768970" cy="1954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F8F0BBD-AB55-E270-84A0-531FE82109F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211515" y="1871028"/>
          <a:ext cx="3768970" cy="192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4" name="Obdélník 23">
            <a:extLst>
              <a:ext uri="{FF2B5EF4-FFF2-40B4-BE49-F238E27FC236}">
                <a16:creationId xmlns:a16="http://schemas.microsoft.com/office/drawing/2014/main" id="{AC1F86DF-CF9B-C693-B478-D22B18FC1B67}"/>
              </a:ext>
            </a:extLst>
          </p:cNvPr>
          <p:cNvSpPr/>
          <p:nvPr/>
        </p:nvSpPr>
        <p:spPr>
          <a:xfrm>
            <a:off x="8519639" y="4899522"/>
            <a:ext cx="1219925" cy="21320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B178C8D-FDE2-4FAE-2E25-F738FC5A7D15}"/>
              </a:ext>
            </a:extLst>
          </p:cNvPr>
          <p:cNvSpPr txBox="1"/>
          <p:nvPr/>
        </p:nvSpPr>
        <p:spPr>
          <a:xfrm>
            <a:off x="8591639" y="4909209"/>
            <a:ext cx="306931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77F4CB2-FFE9-8E41-D5D0-96615FE7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Onkologické pacientky se </a:t>
            </a:r>
            <a:r>
              <a:rPr lang="cs-CZ" sz="2400" u="sng" dirty="0"/>
              <a:t>ZN prsu </a:t>
            </a:r>
            <a:r>
              <a:rPr lang="cs-CZ" sz="2400" dirty="0"/>
              <a:t>s konzultací multidisciplinárního týmu (MDT)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10C877F-A6B0-28BD-CD16-6B14EA31243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8000" y="540000"/>
            <a:ext cx="104907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 + NOR; kód 51881 = MULTIDISCIPLINÁRNÍ INDIKAČNÍ SEMINÁŘ K URČENÍ OPTIMÁLNÍHO ZPŮSOBU LÉČBY U NEMOCNÝCH SE ZHOUBNÝM ONKOLOGICKÝM ONEMOCNĚNÍM</a:t>
            </a:r>
          </a:p>
        </p:txBody>
      </p:sp>
      <p:sp>
        <p:nvSpPr>
          <p:cNvPr id="7" name="TextovéPole 4">
            <a:extLst>
              <a:ext uri="{FF2B5EF4-FFF2-40B4-BE49-F238E27FC236}">
                <a16:creationId xmlns:a16="http://schemas.microsoft.com/office/drawing/2014/main" id="{565C59F1-D815-E7C0-AAFC-4F02F4783A8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2591" y="930882"/>
            <a:ext cx="116444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ek, které měly v daném roce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ován zhoubný novotvar prsu (C50)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OR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roveň měly vykázaný výkon konzultace MDT*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8AABB64-ED13-5404-6126-9BB7AF3BD80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339913" y="6000912"/>
            <a:ext cx="1066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ledujeme konzultace MDT vykázané max. 93 dní před datem diagnózy a max. 370 dní po datu diagnózy v NOR</a:t>
            </a: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60148A20-4160-1DE4-601B-821CB039E7B9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345831" y="1871028"/>
          <a:ext cx="3768970" cy="192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pSp>
        <p:nvGrpSpPr>
          <p:cNvPr id="10" name="Skupina 9">
            <a:extLst>
              <a:ext uri="{FF2B5EF4-FFF2-40B4-BE49-F238E27FC236}">
                <a16:creationId xmlns:a16="http://schemas.microsoft.com/office/drawing/2014/main" id="{07D822D5-3FA2-1871-67FA-2FF13ECD5A6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8591639" y="4634210"/>
            <a:ext cx="2196552" cy="184666"/>
            <a:chOff x="1088773" y="944455"/>
            <a:chExt cx="2196552" cy="184666"/>
          </a:xfrm>
        </p:grpSpPr>
        <p:sp>
          <p:nvSpPr>
            <p:cNvPr id="11" name="TextovéPole 10">
              <a:extLst>
                <a:ext uri="{FF2B5EF4-FFF2-40B4-BE49-F238E27FC236}">
                  <a16:creationId xmlns:a16="http://schemas.microsoft.com/office/drawing/2014/main" id="{152DDAED-03CD-CEEF-C776-EC3F8C8B26C2}"/>
                </a:ext>
              </a:extLst>
            </p:cNvPr>
            <p:cNvSpPr txBox="1"/>
            <p:nvPr/>
          </p:nvSpPr>
          <p:spPr>
            <a:xfrm>
              <a:off x="1088773" y="944455"/>
              <a:ext cx="2196552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dium: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cs-CZ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  <a:r>
                <a:rPr kumimoji="0" lang="cs-CZ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  <a:r>
                <a:rPr kumimoji="0" lang="cs-CZ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A2397FB6-71FD-42F7-4AF2-1190C08A08A1}"/>
                </a:ext>
              </a:extLst>
            </p:cNvPr>
            <p:cNvSpPr/>
            <p:nvPr/>
          </p:nvSpPr>
          <p:spPr>
            <a:xfrm>
              <a:off x="2938412" y="971810"/>
              <a:ext cx="144000" cy="14400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D01C3C5D-1846-F23F-14DF-039DF06E0336}"/>
                </a:ext>
              </a:extLst>
            </p:cNvPr>
            <p:cNvSpPr/>
            <p:nvPr/>
          </p:nvSpPr>
          <p:spPr>
            <a:xfrm>
              <a:off x="2584010" y="971810"/>
              <a:ext cx="144000" cy="14400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9F2B522E-E07B-1E03-27BF-3B1C130C4B10}"/>
                </a:ext>
              </a:extLst>
            </p:cNvPr>
            <p:cNvSpPr/>
            <p:nvPr/>
          </p:nvSpPr>
          <p:spPr>
            <a:xfrm>
              <a:off x="2164698" y="971810"/>
              <a:ext cx="144000" cy="144000"/>
            </a:xfrm>
            <a:prstGeom prst="rect">
              <a:avLst/>
            </a:prstGeom>
            <a:solidFill>
              <a:srgbClr val="92D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EC0679E9-530F-E286-0E53-6496765C8A0D}"/>
                </a:ext>
              </a:extLst>
            </p:cNvPr>
            <p:cNvSpPr/>
            <p:nvPr/>
          </p:nvSpPr>
          <p:spPr>
            <a:xfrm>
              <a:off x="1779021" y="971810"/>
              <a:ext cx="144000" cy="144000"/>
            </a:xfrm>
            <a:prstGeom prst="rect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CAAAE7D-9834-4A7F-1EF4-F55F33358681}"/>
              </a:ext>
            </a:extLst>
          </p:cNvPr>
          <p:cNvSpPr txBox="1"/>
          <p:nvPr/>
        </p:nvSpPr>
        <p:spPr>
          <a:xfrm>
            <a:off x="8591639" y="4308423"/>
            <a:ext cx="306931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zeň</a:t>
            </a:r>
            <a:r>
              <a:rPr kumimoji="0" lang="cs-CZ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ý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raj</a:t>
            </a:r>
          </a:p>
        </p:txBody>
      </p:sp>
    </p:spTree>
    <p:extLst>
      <p:ext uri="{BB962C8B-B14F-4D97-AF65-F5344CB8AC3E}">
        <p14:creationId xmlns:p14="http://schemas.microsoft.com/office/powerpoint/2010/main" val="18074456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Zástupný obsah 15">
            <a:extLst>
              <a:ext uri="{FF2B5EF4-FFF2-40B4-BE49-F238E27FC236}">
                <a16:creationId xmlns:a16="http://schemas.microsoft.com/office/drawing/2014/main" id="{2ACC9901-C076-6976-D0A7-2E8E217E81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4464467"/>
              </p:ext>
            </p:extLst>
          </p:nvPr>
        </p:nvGraphicFramePr>
        <p:xfrm>
          <a:off x="-13940" y="2671518"/>
          <a:ext cx="10599254" cy="289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60D0EF43-B3CB-25DA-08D3-D4625B361BB6}"/>
              </a:ext>
            </a:extLst>
          </p:cNvPr>
          <p:cNvSpPr/>
          <p:nvPr/>
        </p:nvSpPr>
        <p:spPr>
          <a:xfrm>
            <a:off x="4259923" y="1944190"/>
            <a:ext cx="4997600" cy="11073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C889B692-A36D-2C37-331C-981A16A7B468}"/>
              </a:ext>
            </a:extLst>
          </p:cNvPr>
          <p:cNvSpPr txBox="1"/>
          <p:nvPr/>
        </p:nvSpPr>
        <p:spPr>
          <a:xfrm>
            <a:off x="4225044" y="1921312"/>
            <a:ext cx="51288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PALP </a:t>
            </a:r>
            <a:r>
              <a:rPr lang="cs-CZ" sz="1100" b="1" dirty="0">
                <a:latin typeface="Calibri" panose="020F0502020204030204"/>
              </a:rPr>
              <a:t>Plzeňského 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 tvoří téměř 7 % produkce celé ČR: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</a:t>
            </a:r>
            <a:r>
              <a:rPr lang="cs-CZ" sz="1100" dirty="0">
                <a:latin typeface="Calibri" panose="020F0502020204030204"/>
              </a:rPr>
              <a:t>Fakultní nemocnice Plzeň		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pl-PL" sz="1100" dirty="0">
                <a:latin typeface="Calibri" panose="020F0502020204030204"/>
              </a:rPr>
              <a:t>	455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konů/rok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7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tovská nemocnice,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.s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	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 výkonů/rok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7. Mulačova nemocnice s.r.o.		8 výkonů/rok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>
                <a:latin typeface="Calibri" panose="020F0502020204030204"/>
              </a:rPr>
              <a:t>78. Rokycanská nemocnice, a.s.		&lt; 5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konů/rok</a:t>
            </a:r>
          </a:p>
          <a:p>
            <a:pPr marL="108000" lvl="1">
              <a:defRPr/>
            </a:pPr>
            <a:r>
              <a:rPr lang="cs-CZ" sz="1100" dirty="0">
                <a:latin typeface="Calibri" panose="020F0502020204030204"/>
              </a:rPr>
              <a:t>88. Domažlická nemocnice, a.s.		&lt; 5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konů/rok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9B3B291C-11E8-497B-B272-A9C42B5C3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796562" cy="538364"/>
          </a:xfrm>
        </p:spPr>
        <p:txBody>
          <a:bodyPr>
            <a:normAutofit fontScale="90000"/>
          </a:bodyPr>
          <a:lstStyle/>
          <a:p>
            <a:r>
              <a:rPr lang="cs-CZ" sz="2400" dirty="0" err="1"/>
              <a:t>Mammární</a:t>
            </a:r>
            <a:r>
              <a:rPr lang="cs-CZ" sz="2400" dirty="0"/>
              <a:t> chirurgie – průměrný roční počet HP s resekčním výkonem* na prsu pro ZN prs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C7F993E-FCC9-4099-8F7A-5F1764D1710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54546" y="1390624"/>
            <a:ext cx="10515600" cy="855662"/>
          </a:xfrm>
        </p:spPr>
        <p:txBody>
          <a:bodyPr>
            <a:noAutofit/>
          </a:bodyPr>
          <a:lstStyle/>
          <a:p>
            <a:pPr marL="265113" lvl="1" indent="-265113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cs-CZ" sz="1400" dirty="0"/>
              <a:t>Během let 2018-2022 je zaznamenáno celkem 99 PALP, ve kterých byla realizována alespoň 1 hospitalizace s resekčním výkonem na prsu pro ZN prsu. U 77 % poskytovatelů (N</a:t>
            </a:r>
            <a:r>
              <a:rPr lang="cs-CZ" sz="1400" baseline="-25000" dirty="0"/>
              <a:t>PALP</a:t>
            </a:r>
            <a:r>
              <a:rPr lang="cs-CZ" sz="1400" dirty="0"/>
              <a:t> = 76) je v průměru ročně méně než 100 hospitalizací, u 57 % (N</a:t>
            </a:r>
            <a:r>
              <a:rPr lang="cs-CZ" sz="1400" baseline="-25000" dirty="0"/>
              <a:t>PALP</a:t>
            </a:r>
            <a:r>
              <a:rPr lang="cs-CZ" sz="1400" dirty="0"/>
              <a:t> = 56) pak méně než 50 hospitalizací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008C308-354F-49A3-A147-A26AE51921C9}"/>
              </a:ext>
            </a:extLst>
          </p:cNvPr>
          <p:cNvSpPr txBox="1"/>
          <p:nvPr/>
        </p:nvSpPr>
        <p:spPr>
          <a:xfrm>
            <a:off x="3609681" y="5481764"/>
            <a:ext cx="3743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dnotliví PALP seřazení dle počtu HP </a:t>
            </a:r>
          </a:p>
        </p:txBody>
      </p:sp>
      <p:sp>
        <p:nvSpPr>
          <p:cNvPr id="21" name="Zástupný obsah 2">
            <a:extLst>
              <a:ext uri="{FF2B5EF4-FFF2-40B4-BE49-F238E27FC236}">
                <a16:creationId xmlns:a16="http://schemas.microsoft.com/office/drawing/2014/main" id="{F7BCC83D-41E4-48E6-9BAD-3A9B39C71102}"/>
              </a:ext>
            </a:extLst>
          </p:cNvPr>
          <p:cNvSpPr txBox="1">
            <a:spLocks/>
          </p:cNvSpPr>
          <p:nvPr/>
        </p:nvSpPr>
        <p:spPr>
          <a:xfrm>
            <a:off x="754546" y="804502"/>
            <a:ext cx="10515600" cy="576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cs-CZ" sz="1400" b="1" dirty="0">
                <a:solidFill>
                  <a:prstClr val="black"/>
                </a:solidFill>
              </a:rPr>
              <a:t>Hodnocené období</a:t>
            </a:r>
            <a:r>
              <a:rPr lang="cs-CZ" sz="1400" dirty="0">
                <a:solidFill>
                  <a:prstClr val="black"/>
                </a:solidFill>
              </a:rPr>
              <a:t>: roky 2018-2022; </a:t>
            </a:r>
            <a:r>
              <a:rPr lang="cs-CZ" sz="1400" b="1" dirty="0">
                <a:solidFill>
                  <a:prstClr val="black"/>
                </a:solidFill>
              </a:rPr>
              <a:t>Zdroj dat</a:t>
            </a:r>
            <a:r>
              <a:rPr lang="cs-CZ" sz="1400" dirty="0">
                <a:solidFill>
                  <a:prstClr val="black"/>
                </a:solidFill>
              </a:rPr>
              <a:t>: Data NRHZS; </a:t>
            </a:r>
            <a:r>
              <a:rPr lang="cs-CZ" sz="1400" b="1" dirty="0">
                <a:solidFill>
                  <a:prstClr val="black"/>
                </a:solidFill>
              </a:rPr>
              <a:t>Hodnocený soubor</a:t>
            </a:r>
            <a:r>
              <a:rPr lang="cs-CZ" sz="1400" dirty="0">
                <a:solidFill>
                  <a:prstClr val="black"/>
                </a:solidFill>
              </a:rPr>
              <a:t>: všechny hospitalizace z DRG bází 09-I06, 09-I07 nebo 09-I09*, u kterých byl na pozici hlavní dg. identifikován </a:t>
            </a:r>
            <a:r>
              <a:rPr lang="cs-CZ" sz="1400" u="sng" dirty="0">
                <a:solidFill>
                  <a:prstClr val="black"/>
                </a:solidFill>
              </a:rPr>
              <a:t>MKN-10 kód pro zhoubný novotvar</a:t>
            </a:r>
            <a:r>
              <a:rPr lang="cs-CZ" sz="1400" dirty="0">
                <a:solidFill>
                  <a:prstClr val="black"/>
                </a:solidFill>
              </a:rPr>
              <a:t> (ZN)</a:t>
            </a:r>
          </a:p>
        </p:txBody>
      </p:sp>
      <p:sp>
        <p:nvSpPr>
          <p:cNvPr id="7" name="Pravá složená závorka 6">
            <a:extLst>
              <a:ext uri="{FF2B5EF4-FFF2-40B4-BE49-F238E27FC236}">
                <a16:creationId xmlns:a16="http://schemas.microsoft.com/office/drawing/2014/main" id="{A71D778E-6A4E-4469-BE61-D279E42902A4}"/>
              </a:ext>
            </a:extLst>
          </p:cNvPr>
          <p:cNvSpPr/>
          <p:nvPr/>
        </p:nvSpPr>
        <p:spPr>
          <a:xfrm flipH="1">
            <a:off x="10730548" y="2937479"/>
            <a:ext cx="169041" cy="2215366"/>
          </a:xfrm>
          <a:prstGeom prst="rightBrace">
            <a:avLst>
              <a:gd name="adj1" fmla="val 8333"/>
              <a:gd name="adj2" fmla="val 2638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67952A5B-BDFA-478F-81E0-4E0A9EEE8269}"/>
              </a:ext>
            </a:extLst>
          </p:cNvPr>
          <p:cNvSpPr txBox="1"/>
          <p:nvPr/>
        </p:nvSpPr>
        <p:spPr>
          <a:xfrm>
            <a:off x="10397838" y="1910026"/>
            <a:ext cx="1450074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LP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aném rozmez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celkového počtu 99 PALP 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A54D7BDE-1877-31FF-66B0-9D3446AC3C33}"/>
              </a:ext>
            </a:extLst>
          </p:cNvPr>
          <p:cNvSpPr txBox="1"/>
          <p:nvPr/>
        </p:nvSpPr>
        <p:spPr>
          <a:xfrm>
            <a:off x="6249059" y="3944008"/>
            <a:ext cx="16501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tovská nemocnice, a.s.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615FA05-3D51-EEF2-EBAF-7D8178EAFC9C}"/>
              </a:ext>
            </a:extLst>
          </p:cNvPr>
          <p:cNvSpPr txBox="1"/>
          <p:nvPr/>
        </p:nvSpPr>
        <p:spPr>
          <a:xfrm>
            <a:off x="759559" y="5761214"/>
            <a:ext cx="8371756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cs-CZ" sz="1000" dirty="0">
                <a:effectLst/>
              </a:rPr>
              <a:t>* </a:t>
            </a:r>
            <a:r>
              <a:rPr lang="cs-CZ" sz="1000" b="1" dirty="0">
                <a:effectLst/>
              </a:rPr>
              <a:t>09-I06</a:t>
            </a:r>
            <a:r>
              <a:rPr lang="cs-CZ" sz="1000" dirty="0">
                <a:effectLst/>
              </a:rPr>
              <a:t> Resekce prsu včetně odstranění mízních uzlin; </a:t>
            </a:r>
            <a:r>
              <a:rPr lang="cs-CZ" sz="1000" b="1" dirty="0">
                <a:effectLst/>
              </a:rPr>
              <a:t>09-I07</a:t>
            </a:r>
            <a:r>
              <a:rPr lang="cs-CZ" sz="1000" dirty="0">
                <a:effectLst/>
              </a:rPr>
              <a:t> Resekce prsu včetně rekonstrukce implantátem; </a:t>
            </a:r>
            <a:r>
              <a:rPr lang="cs-CZ" sz="1000" b="1" dirty="0">
                <a:effectLst/>
              </a:rPr>
              <a:t>09-I09</a:t>
            </a:r>
            <a:r>
              <a:rPr lang="cs-CZ" sz="1000" dirty="0">
                <a:effectLst/>
              </a:rPr>
              <a:t> Resekce prsu pro nemoci a poruchy prsu</a:t>
            </a:r>
            <a:endParaRPr lang="cs-CZ" sz="1000" dirty="0"/>
          </a:p>
        </p:txBody>
      </p:sp>
      <p:graphicFrame>
        <p:nvGraphicFramePr>
          <p:cNvPr id="22" name="Tabulka 5">
            <a:extLst>
              <a:ext uri="{FF2B5EF4-FFF2-40B4-BE49-F238E27FC236}">
                <a16:creationId xmlns:a16="http://schemas.microsoft.com/office/drawing/2014/main" id="{F5FA1225-2B87-F520-BF48-1BDBD16194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873147"/>
              </p:ext>
            </p:extLst>
          </p:nvPr>
        </p:nvGraphicFramePr>
        <p:xfrm>
          <a:off x="10869898" y="2856844"/>
          <a:ext cx="760007" cy="237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0007">
                  <a:extLst>
                    <a:ext uri="{9D8B030D-6E8A-4147-A177-3AD203B41FA5}">
                      <a16:colId xmlns:a16="http://schemas.microsoft.com/office/drawing/2014/main" val="348832873"/>
                    </a:ext>
                  </a:extLst>
                </a:gridCol>
              </a:tblGrid>
              <a:tr h="2548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5347928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5463362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73501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9487540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433143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9241668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368554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20990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652912"/>
                  </a:ext>
                </a:extLst>
              </a:tr>
              <a:tr h="235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cs-CZ" sz="11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ALP</a:t>
                      </a: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= 7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185498"/>
                  </a:ext>
                </a:extLst>
              </a:tr>
            </a:tbl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315063B5-4EB8-10C3-6E6E-5DD5DD80A264}"/>
              </a:ext>
            </a:extLst>
          </p:cNvPr>
          <p:cNvSpPr/>
          <p:nvPr/>
        </p:nvSpPr>
        <p:spPr>
          <a:xfrm>
            <a:off x="1371518" y="6067545"/>
            <a:ext cx="10610420" cy="36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B820232C-0C9A-8943-2BA0-4B8F58F4A9D9}"/>
              </a:ext>
            </a:extLst>
          </p:cNvPr>
          <p:cNvSpPr/>
          <p:nvPr/>
        </p:nvSpPr>
        <p:spPr>
          <a:xfrm>
            <a:off x="2598967" y="6142770"/>
            <a:ext cx="209550" cy="209550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AFD5EDF-0024-8FA2-7A08-219102B30A4D}"/>
              </a:ext>
            </a:extLst>
          </p:cNvPr>
          <p:cNvSpPr/>
          <p:nvPr/>
        </p:nvSpPr>
        <p:spPr>
          <a:xfrm>
            <a:off x="4749166" y="6142770"/>
            <a:ext cx="209550" cy="209550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B0F793-3642-79ED-941A-653470440B9D}"/>
              </a:ext>
            </a:extLst>
          </p:cNvPr>
          <p:cNvSpPr txBox="1"/>
          <p:nvPr/>
        </p:nvSpPr>
        <p:spPr>
          <a:xfrm>
            <a:off x="2802173" y="6109046"/>
            <a:ext cx="27181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ultní nemocnice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A7732D-5707-FAF3-44A6-7659D6611412}"/>
              </a:ext>
            </a:extLst>
          </p:cNvPr>
          <p:cNvSpPr txBox="1"/>
          <p:nvPr/>
        </p:nvSpPr>
        <p:spPr>
          <a:xfrm>
            <a:off x="4952373" y="6109046"/>
            <a:ext cx="2416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alizované resortní ústavy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B9A8CFAC-0E72-B36A-D61E-EAA4BF5ACD43}"/>
              </a:ext>
            </a:extLst>
          </p:cNvPr>
          <p:cNvSpPr/>
          <p:nvPr/>
        </p:nvSpPr>
        <p:spPr>
          <a:xfrm>
            <a:off x="9885805" y="6142770"/>
            <a:ext cx="209550" cy="20955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5A93581E-C61F-6297-DD1D-20A35C527D34}"/>
              </a:ext>
            </a:extLst>
          </p:cNvPr>
          <p:cNvSpPr txBox="1"/>
          <p:nvPr/>
        </p:nvSpPr>
        <p:spPr>
          <a:xfrm>
            <a:off x="10060436" y="6109046"/>
            <a:ext cx="1752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PALP</a:t>
            </a:r>
            <a:endParaRPr kumimoji="0" lang="cs-CZ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336BB422-5B15-9A87-B6F3-910FC75C5601}"/>
              </a:ext>
            </a:extLst>
          </p:cNvPr>
          <p:cNvSpPr/>
          <p:nvPr/>
        </p:nvSpPr>
        <p:spPr>
          <a:xfrm>
            <a:off x="7538743" y="6142770"/>
            <a:ext cx="209550" cy="2095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EF7388D2-BA51-2D26-786D-FC53C1252A86}"/>
              </a:ext>
            </a:extLst>
          </p:cNvPr>
          <p:cNvSpPr txBox="1"/>
          <p:nvPr/>
        </p:nvSpPr>
        <p:spPr>
          <a:xfrm>
            <a:off x="7741949" y="6109046"/>
            <a:ext cx="1974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ké krajské nemocnice</a:t>
            </a:r>
            <a:endParaRPr kumimoji="0" lang="cs-CZ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4B3FFF36-ACA5-D907-0CAD-6C352C462D1B}"/>
              </a:ext>
            </a:extLst>
          </p:cNvPr>
          <p:cNvSpPr txBox="1"/>
          <p:nvPr/>
        </p:nvSpPr>
        <p:spPr>
          <a:xfrm>
            <a:off x="1430402" y="6109046"/>
            <a:ext cx="29747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 PALP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</p:txBody>
      </p: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738D600A-126C-85CC-DC55-4068C361AAD4}"/>
              </a:ext>
            </a:extLst>
          </p:cNvPr>
          <p:cNvCxnSpPr>
            <a:cxnSpLocks/>
          </p:cNvCxnSpPr>
          <p:nvPr/>
        </p:nvCxnSpPr>
        <p:spPr>
          <a:xfrm>
            <a:off x="991235" y="3223969"/>
            <a:ext cx="0" cy="89429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7CEE9240-6532-4A8A-F90B-74DB3CF5D277}"/>
              </a:ext>
            </a:extLst>
          </p:cNvPr>
          <p:cNvSpPr txBox="1"/>
          <p:nvPr/>
        </p:nvSpPr>
        <p:spPr>
          <a:xfrm>
            <a:off x="914613" y="3005721"/>
            <a:ext cx="278891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ultní nemocnice Plzeň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5B533959-DC34-35E9-96E0-B7AE22AB9C0B}"/>
              </a:ext>
            </a:extLst>
          </p:cNvPr>
          <p:cNvCxnSpPr>
            <a:cxnSpLocks/>
          </p:cNvCxnSpPr>
          <p:nvPr/>
        </p:nvCxnSpPr>
        <p:spPr>
          <a:xfrm>
            <a:off x="6317801" y="4205164"/>
            <a:ext cx="0" cy="92461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Přímá spojnice se šipkou 63">
            <a:extLst>
              <a:ext uri="{FF2B5EF4-FFF2-40B4-BE49-F238E27FC236}">
                <a16:creationId xmlns:a16="http://schemas.microsoft.com/office/drawing/2014/main" id="{7BC20C85-6A26-63E0-300E-3BD88D54C4BC}"/>
              </a:ext>
            </a:extLst>
          </p:cNvPr>
          <p:cNvCxnSpPr>
            <a:cxnSpLocks/>
          </p:cNvCxnSpPr>
          <p:nvPr/>
        </p:nvCxnSpPr>
        <p:spPr>
          <a:xfrm>
            <a:off x="8326838" y="4805503"/>
            <a:ext cx="0" cy="4097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Přímá spojnice se šipkou 64">
            <a:extLst>
              <a:ext uri="{FF2B5EF4-FFF2-40B4-BE49-F238E27FC236}">
                <a16:creationId xmlns:a16="http://schemas.microsoft.com/office/drawing/2014/main" id="{0449C2AC-3678-D1CA-FC50-FF579C2833D2}"/>
              </a:ext>
            </a:extLst>
          </p:cNvPr>
          <p:cNvCxnSpPr>
            <a:cxnSpLocks/>
          </p:cNvCxnSpPr>
          <p:nvPr/>
        </p:nvCxnSpPr>
        <p:spPr>
          <a:xfrm>
            <a:off x="9327478" y="5010397"/>
            <a:ext cx="0" cy="20612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D8D01026-3757-14E4-E449-D7475AE8419C}"/>
              </a:ext>
            </a:extLst>
          </p:cNvPr>
          <p:cNvSpPr txBox="1"/>
          <p:nvPr/>
        </p:nvSpPr>
        <p:spPr>
          <a:xfrm>
            <a:off x="7904131" y="4524178"/>
            <a:ext cx="18122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ycanská nemocnice, a.s.</a:t>
            </a:r>
            <a:endParaRPr lang="cs-CZ" sz="1000" dirty="0">
              <a:latin typeface="Calibri" panose="020F0502020204030204"/>
            </a:endParaRP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F42D2841-480B-23F8-9FD2-94FAB59EDF16}"/>
              </a:ext>
            </a:extLst>
          </p:cNvPr>
          <p:cNvCxnSpPr>
            <a:cxnSpLocks/>
          </p:cNvCxnSpPr>
          <p:nvPr/>
        </p:nvCxnSpPr>
        <p:spPr>
          <a:xfrm>
            <a:off x="7261311" y="4451385"/>
            <a:ext cx="0" cy="7375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BB06D059-B037-5A8A-DAC5-0D90ECF88C41}"/>
              </a:ext>
            </a:extLst>
          </p:cNvPr>
          <p:cNvSpPr txBox="1"/>
          <p:nvPr/>
        </p:nvSpPr>
        <p:spPr>
          <a:xfrm>
            <a:off x="7146728" y="4177001"/>
            <a:ext cx="16501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čova nemocnice s.r.o.</a:t>
            </a:r>
          </a:p>
        </p:txBody>
      </p:sp>
    </p:spTree>
    <p:extLst>
      <p:ext uri="{BB962C8B-B14F-4D97-AF65-F5344CB8AC3E}">
        <p14:creationId xmlns:p14="http://schemas.microsoft.com/office/powerpoint/2010/main" val="707081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97F032E-B927-27A1-1061-76FB63DA19F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creening karcinomu prsu</a:t>
            </a:r>
          </a:p>
        </p:txBody>
      </p:sp>
      <p:pic>
        <p:nvPicPr>
          <p:cNvPr id="3" name="Zástupný symbol obrázku 6">
            <a:extLst>
              <a:ext uri="{FF2B5EF4-FFF2-40B4-BE49-F238E27FC236}">
                <a16:creationId xmlns:a16="http://schemas.microsoft.com/office/drawing/2014/main" id="{593EE05E-6495-D952-6C86-2AF90DA755AD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5"/>
          <a:srcRect t="28733" b="28733"/>
          <a:stretch>
            <a:fillRect/>
          </a:stretch>
        </p:blipFill>
        <p:spPr>
          <a:xfrm>
            <a:off x="0" y="2297272"/>
            <a:ext cx="7983110" cy="2263455"/>
          </a:xfrm>
        </p:spPr>
      </p:pic>
    </p:spTree>
    <p:extLst>
      <p:ext uri="{BB962C8B-B14F-4D97-AF65-F5344CB8AC3E}">
        <p14:creationId xmlns:p14="http://schemas.microsoft.com/office/powerpoint/2010/main" val="2966376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krytí cílové populace screeningem ve standardním intervalu v roce 2023 dle kraje bydliště</a:t>
            </a:r>
          </a:p>
        </p:txBody>
      </p:sp>
      <p:sp>
        <p:nvSpPr>
          <p:cNvPr id="3" name="Zástupný text 5">
            <a:extLst>
              <a:ext uri="{FF2B5EF4-FFF2-40B4-BE49-F238E27FC236}">
                <a16:creationId xmlns:a16="http://schemas.microsoft.com/office/drawing/2014/main" id="{99E42423-8753-24D7-42E3-D7C621EADFE1}"/>
              </a:ext>
            </a:extLst>
          </p:cNvPr>
          <p:cNvSpPr txBox="1">
            <a:spLocks/>
          </p:cNvSpPr>
          <p:nvPr/>
        </p:nvSpPr>
        <p:spPr>
          <a:xfrm>
            <a:off x="730800" y="5443989"/>
            <a:ext cx="10728000" cy="1034504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cs-CZ" sz="1400" b="1" dirty="0"/>
              <a:t>Pokrytí žen ve věku 45–69 let vyšetřených screeningovou mamografií v roce 2023: </a:t>
            </a:r>
            <a:r>
              <a:rPr lang="cs-CZ" sz="1400" b="1" dirty="0">
                <a:solidFill>
                  <a:schemeClr val="accent1"/>
                </a:solidFill>
              </a:rPr>
              <a:t>58,8 %</a:t>
            </a:r>
          </a:p>
          <a:p>
            <a:pPr marL="0" indent="0" algn="just">
              <a:buNone/>
            </a:pPr>
            <a:r>
              <a:rPr lang="cs-CZ" sz="1400" b="1" kern="0" dirty="0"/>
              <a:t>Pokrytí cílové populace žen screeningem v Plzeňském kraji (55,3 %) je nižší v porovnání s celou ČR. </a:t>
            </a:r>
          </a:p>
          <a:p>
            <a:pPr marL="0" indent="0" algn="just">
              <a:buNone/>
            </a:pPr>
            <a:r>
              <a:rPr lang="cs-CZ" sz="1200" kern="0" dirty="0"/>
              <a:t>Indikátor hodnotí podíl žen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které během posledních 2 let (2022–2023) absolvovaly</a:t>
            </a:r>
            <a:r>
              <a:rPr lang="cs-CZ" sz="1200" kern="0" dirty="0"/>
              <a:t> alespoň jednu screeningovou mamografii z celkového počtu žen, dle kraje bydliště. Ženy, které zemřely do roku 2023 (včetně), nejsou v podílu uvažovány. </a:t>
            </a:r>
            <a:endParaRPr lang="cs-CZ" sz="1200" b="1" dirty="0"/>
          </a:p>
        </p:txBody>
      </p:sp>
      <p:sp>
        <p:nvSpPr>
          <p:cNvPr id="4" name="Rectangle 186">
            <a:extLst>
              <a:ext uri="{FF2B5EF4-FFF2-40B4-BE49-F238E27FC236}">
                <a16:creationId xmlns:a16="http://schemas.microsoft.com/office/drawing/2014/main" id="{7DE3DD29-9187-64C0-2B7C-05BD73F0F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4028" y="1196931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Zdroj: Národní registr hrazených zdravotních služeb, ÚZIS ČR</a:t>
            </a:r>
          </a:p>
          <a:p>
            <a:pPr marL="0" indent="0" algn="r">
              <a:spcBef>
                <a:spcPts val="0"/>
              </a:spcBef>
              <a:buFontTx/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Screeningová mamografie v dispenzární péči (89178)</a:t>
            </a:r>
          </a:p>
          <a:p>
            <a:pPr marL="0" indent="0" algn="r">
              <a:spcBef>
                <a:spcPts val="0"/>
              </a:spcBef>
              <a:buFontTx/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Screeningová mamografie (89223)</a:t>
            </a:r>
          </a:p>
          <a:p>
            <a:pPr marL="0" indent="0" algn="r">
              <a:spcBef>
                <a:spcPts val="0"/>
              </a:spcBef>
              <a:buFontTx/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(2022–2023, ženy, 45–69 let, N = 1 085 803 vyšetření)</a:t>
            </a:r>
          </a:p>
        </p:txBody>
      </p:sp>
      <p:graphicFrame>
        <p:nvGraphicFramePr>
          <p:cNvPr id="7" name="Object 4">
            <a:extLst>
              <a:ext uri="{FF2B5EF4-FFF2-40B4-BE49-F238E27FC236}">
                <a16:creationId xmlns:a16="http://schemas.microsoft.com/office/drawing/2014/main" id="{B6C2CBF5-5A84-CD33-F1DB-6F45096D28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801020"/>
              </p:ext>
            </p:extLst>
          </p:nvPr>
        </p:nvGraphicFramePr>
        <p:xfrm>
          <a:off x="730250" y="1914526"/>
          <a:ext cx="10728325" cy="352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71827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FD7A274-A0CC-F25D-A12E-D9C23F25226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6052" b="6052"/>
          <a:stretch/>
        </p:blipFill>
        <p:spPr>
          <a:xfrm>
            <a:off x="1084905" y="1030941"/>
            <a:ext cx="7531172" cy="4413048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krytí cílové populace screeningem ve standardním intervalu v roce 2023 dle okresu bydliště</a:t>
            </a:r>
          </a:p>
        </p:txBody>
      </p:sp>
      <p:sp>
        <p:nvSpPr>
          <p:cNvPr id="3" name="Zástupný text 5">
            <a:extLst>
              <a:ext uri="{FF2B5EF4-FFF2-40B4-BE49-F238E27FC236}">
                <a16:creationId xmlns:a16="http://schemas.microsoft.com/office/drawing/2014/main" id="{776A2D49-2D0C-C391-B45E-29FA7E044D19}"/>
              </a:ext>
            </a:extLst>
          </p:cNvPr>
          <p:cNvSpPr txBox="1">
            <a:spLocks/>
          </p:cNvSpPr>
          <p:nvPr/>
        </p:nvSpPr>
        <p:spPr>
          <a:xfrm>
            <a:off x="730800" y="5443988"/>
            <a:ext cx="10728000" cy="129694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cs-CZ" sz="1400" b="1" dirty="0"/>
              <a:t>Pokrytí žen ve věku 45–69 let vyšetřených screeningovou mamografií v ČR v roce 2023: </a:t>
            </a:r>
            <a:r>
              <a:rPr lang="cs-CZ" sz="1400" b="1" dirty="0">
                <a:solidFill>
                  <a:schemeClr val="accent1"/>
                </a:solidFill>
              </a:rPr>
              <a:t>58,8 %</a:t>
            </a:r>
          </a:p>
          <a:p>
            <a:pPr marL="0" indent="0" algn="just">
              <a:buNone/>
            </a:pPr>
            <a:r>
              <a:rPr lang="cs-CZ" sz="1200" b="1" kern="0" dirty="0"/>
              <a:t>V okrese Domažlice pozorujeme vyšší pokrytí cílové populace žen screeningem v porovnání s celorepublikovým pokrytím. Naopak v okresech Plzeň-město, </a:t>
            </a:r>
            <a:br>
              <a:rPr lang="cs-CZ" sz="1200" b="1" kern="0" dirty="0"/>
            </a:br>
            <a:r>
              <a:rPr lang="cs-CZ" sz="1200" b="1" kern="0" dirty="0"/>
              <a:t>Plzeň-jih, Rokycany a zejména Tachov sledujeme výrazně nižší pokrytí. Ve zbylých okresech Plzeňského kraje dosahuje pokrytí srovnatelných hodnot s pokrytím za celou ČR. Nejvyšší pokrytí z okresů Plzeňského kraje je pozorováno v okrese Domažlice (62,8 %), naopak nejnižší v okrese Tachov (50,2 %).</a:t>
            </a:r>
          </a:p>
          <a:p>
            <a:pPr marL="0" indent="0" algn="just">
              <a:buNone/>
            </a:pPr>
            <a:r>
              <a:rPr lang="cs-CZ" sz="1200" kern="0" dirty="0"/>
              <a:t>Indikátor hodnotí podíl žen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které během posledních 2 let (2022–2023) absolvovaly</a:t>
            </a:r>
            <a:r>
              <a:rPr lang="cs-CZ" sz="1200" kern="0" dirty="0"/>
              <a:t> alespoň jednu screeningovou mamografii z celkového počtu žen, dle okresu bydliště. Ženy, které zemřely do roku 2023 (včetně), nejsou v podílu uvažovány. </a:t>
            </a:r>
            <a:endParaRPr lang="cs-CZ" sz="1200" b="1" dirty="0"/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EB20B970-8836-367F-4265-5B3C545D51AE}"/>
              </a:ext>
            </a:extLst>
          </p:cNvPr>
          <p:cNvGrpSpPr/>
          <p:nvPr/>
        </p:nvGrpSpPr>
        <p:grpSpPr>
          <a:xfrm>
            <a:off x="373995" y="3697796"/>
            <a:ext cx="1421819" cy="1483492"/>
            <a:chOff x="7816069" y="2011747"/>
            <a:chExt cx="1421819" cy="1483492"/>
          </a:xfrm>
        </p:grpSpPr>
        <p:sp>
          <p:nvSpPr>
            <p:cNvPr id="8" name="Text Box 3">
              <a:extLst>
                <a:ext uri="{FF2B5EF4-FFF2-40B4-BE49-F238E27FC236}">
                  <a16:creationId xmlns:a16="http://schemas.microsoft.com/office/drawing/2014/main" id="{3EE4A81F-34AD-3430-5D32-0D73AB1B04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16069" y="2019239"/>
              <a:ext cx="1152000" cy="147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endParaRPr lang="cs-CZ" sz="1100" dirty="0">
                <a:solidFill>
                  <a:srgbClr val="292929"/>
                </a:solidFill>
                <a:latin typeface="+mj-lt"/>
              </a:endParaRPr>
            </a:p>
          </p:txBody>
        </p:sp>
        <p:sp>
          <p:nvSpPr>
            <p:cNvPr id="9" name="Text Box 3">
              <a:extLst>
                <a:ext uri="{FF2B5EF4-FFF2-40B4-BE49-F238E27FC236}">
                  <a16:creationId xmlns:a16="http://schemas.microsoft.com/office/drawing/2014/main" id="{653F8F58-EBA6-A588-F5B2-11EC656E15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39075" y="2011747"/>
              <a:ext cx="115213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r>
                <a:rPr lang="cs-CZ" sz="1200" b="1" dirty="0">
                  <a:solidFill>
                    <a:srgbClr val="292929"/>
                  </a:solidFill>
                  <a:latin typeface="+mj-lt"/>
                </a:rPr>
                <a:t>Pokrytí </a:t>
              </a:r>
              <a:br>
                <a:rPr lang="cs-CZ" sz="1200" b="1" dirty="0">
                  <a:solidFill>
                    <a:srgbClr val="292929"/>
                  </a:solidFill>
                  <a:latin typeface="+mj-lt"/>
                </a:rPr>
              </a:br>
              <a:r>
                <a:rPr lang="cs-CZ" sz="1200" b="1" dirty="0">
                  <a:solidFill>
                    <a:srgbClr val="292929"/>
                  </a:solidFill>
                  <a:latin typeface="+mj-lt"/>
                </a:rPr>
                <a:t>v procentech</a:t>
              </a:r>
            </a:p>
          </p:txBody>
        </p:sp>
        <p:sp>
          <p:nvSpPr>
            <p:cNvPr id="10" name="Rectangle 177">
              <a:extLst>
                <a:ext uri="{FF2B5EF4-FFF2-40B4-BE49-F238E27FC236}">
                  <a16:creationId xmlns:a16="http://schemas.microsoft.com/office/drawing/2014/main" id="{FABA149F-0A59-7D8C-DBA8-11D5576624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2501911"/>
              <a:ext cx="180000" cy="180000"/>
            </a:xfrm>
            <a:prstGeom prst="rect">
              <a:avLst/>
            </a:prstGeom>
            <a:solidFill>
              <a:srgbClr val="B5E1F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cs typeface="Arial" charset="0"/>
              </a:endParaRPr>
            </a:p>
          </p:txBody>
        </p:sp>
        <p:sp>
          <p:nvSpPr>
            <p:cNvPr id="11" name="Rectangle 177">
              <a:extLst>
                <a:ext uri="{FF2B5EF4-FFF2-40B4-BE49-F238E27FC236}">
                  <a16:creationId xmlns:a16="http://schemas.microsoft.com/office/drawing/2014/main" id="{CD88C9E0-976C-3DEA-9A02-B9DD6AB81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2743211"/>
              <a:ext cx="180000" cy="180000"/>
            </a:xfrm>
            <a:prstGeom prst="rect">
              <a:avLst/>
            </a:prstGeom>
            <a:solidFill>
              <a:srgbClr val="79B2D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" name="Rectangle 177">
              <a:extLst>
                <a:ext uri="{FF2B5EF4-FFF2-40B4-BE49-F238E27FC236}">
                  <a16:creationId xmlns:a16="http://schemas.microsoft.com/office/drawing/2014/main" id="{CB14F6F6-8861-F9C3-04EB-180D551D1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2984511"/>
              <a:ext cx="180000" cy="180000"/>
            </a:xfrm>
            <a:prstGeom prst="rect">
              <a:avLst/>
            </a:prstGeom>
            <a:solidFill>
              <a:srgbClr val="1A73B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cs typeface="Arial" charset="0"/>
              </a:endParaRPr>
            </a:p>
          </p:txBody>
        </p:sp>
        <p:sp>
          <p:nvSpPr>
            <p:cNvPr id="13" name="Rectangle 177">
              <a:extLst>
                <a:ext uri="{FF2B5EF4-FFF2-40B4-BE49-F238E27FC236}">
                  <a16:creationId xmlns:a16="http://schemas.microsoft.com/office/drawing/2014/main" id="{DF993467-50BD-937D-6398-B7D17DE89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5750" y="3225811"/>
              <a:ext cx="180000" cy="180000"/>
            </a:xfrm>
            <a:prstGeom prst="rect">
              <a:avLst/>
            </a:prstGeom>
            <a:solidFill>
              <a:srgbClr val="00308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cs typeface="Arial" charset="0"/>
              </a:endParaRPr>
            </a:p>
          </p:txBody>
        </p:sp>
        <p:sp>
          <p:nvSpPr>
            <p:cNvPr id="14" name="Text Box 3">
              <a:extLst>
                <a:ext uri="{FF2B5EF4-FFF2-40B4-BE49-F238E27FC236}">
                  <a16:creationId xmlns:a16="http://schemas.microsoft.com/office/drawing/2014/main" id="{8633B347-96CB-4CE9-A0FC-95F9D540FA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2453411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r>
                <a:rPr lang="cs-CZ" sz="1100" dirty="0">
                  <a:solidFill>
                    <a:srgbClr val="292929"/>
                  </a:solidFill>
                </a:rPr>
                <a:t>≤</a:t>
              </a:r>
              <a:r>
                <a:rPr lang="cs-CZ" sz="1100" dirty="0">
                  <a:solidFill>
                    <a:srgbClr val="292929"/>
                  </a:solidFill>
                  <a:latin typeface="+mj-lt"/>
                </a:rPr>
                <a:t> 55,0 %</a:t>
              </a:r>
            </a:p>
          </p:txBody>
        </p:sp>
        <p:sp>
          <p:nvSpPr>
            <p:cNvPr id="15" name="Text Box 3">
              <a:extLst>
                <a:ext uri="{FF2B5EF4-FFF2-40B4-BE49-F238E27FC236}">
                  <a16:creationId xmlns:a16="http://schemas.microsoft.com/office/drawing/2014/main" id="{A92A3726-D685-C572-7EA9-31A8D96D24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2697276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r>
                <a:rPr lang="cs-CZ" sz="1100" dirty="0">
                  <a:solidFill>
                    <a:srgbClr val="292929"/>
                  </a:solidFill>
                  <a:latin typeface="+mj-lt"/>
                </a:rPr>
                <a:t>55,0–60,0 %</a:t>
              </a:r>
            </a:p>
          </p:txBody>
        </p:sp>
        <p:sp>
          <p:nvSpPr>
            <p:cNvPr id="16" name="Text Box 3">
              <a:extLst>
                <a:ext uri="{FF2B5EF4-FFF2-40B4-BE49-F238E27FC236}">
                  <a16:creationId xmlns:a16="http://schemas.microsoft.com/office/drawing/2014/main" id="{79E0E98C-FB70-D075-A8A7-60658E0DEF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2941141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r>
                <a:rPr lang="cs-CZ" sz="1100" dirty="0">
                  <a:solidFill>
                    <a:srgbClr val="292929"/>
                  </a:solidFill>
                  <a:latin typeface="+mj-lt"/>
                </a:rPr>
                <a:t>60,0–65,0 %</a:t>
              </a:r>
            </a:p>
          </p:txBody>
        </p:sp>
        <p:sp>
          <p:nvSpPr>
            <p:cNvPr id="17" name="Text Box 3">
              <a:extLst>
                <a:ext uri="{FF2B5EF4-FFF2-40B4-BE49-F238E27FC236}">
                  <a16:creationId xmlns:a16="http://schemas.microsoft.com/office/drawing/2014/main" id="{146B5AC4-C243-4F7B-866B-203A13F415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5750" y="3185006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r>
                <a:rPr lang="cs-CZ" sz="1100" dirty="0">
                  <a:solidFill>
                    <a:srgbClr val="292929"/>
                  </a:solidFill>
                  <a:latin typeface="+mj-lt"/>
                </a:rPr>
                <a:t>&gt; 65,0 %</a:t>
              </a:r>
            </a:p>
          </p:txBody>
        </p:sp>
      </p:grpSp>
      <p:sp>
        <p:nvSpPr>
          <p:cNvPr id="18" name="Rectangle 186">
            <a:extLst>
              <a:ext uri="{FF2B5EF4-FFF2-40B4-BE49-F238E27FC236}">
                <a16:creationId xmlns:a16="http://schemas.microsoft.com/office/drawing/2014/main" id="{609191D6-E8DA-62D3-40A1-9F13AA3C0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4028" y="1196931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Zdroj: Národní registr hrazených zdravotních služeb, ÚZIS ČR</a:t>
            </a:r>
          </a:p>
          <a:p>
            <a:pPr marL="0" indent="0" algn="r">
              <a:spcBef>
                <a:spcPts val="0"/>
              </a:spcBef>
              <a:buFontTx/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Screeningová mamografie v dispenzární péči (89178)</a:t>
            </a:r>
          </a:p>
          <a:p>
            <a:pPr marL="0" indent="0" algn="r">
              <a:spcBef>
                <a:spcPts val="0"/>
              </a:spcBef>
              <a:buFontTx/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Screeningová mamografie (89223)</a:t>
            </a:r>
          </a:p>
          <a:p>
            <a:pPr marL="0" indent="0" algn="r">
              <a:spcBef>
                <a:spcPts val="0"/>
              </a:spcBef>
              <a:buFontTx/>
              <a:buNone/>
            </a:pPr>
            <a:r>
              <a:rPr lang="cs-CZ" sz="1200" dirty="0">
                <a:solidFill>
                  <a:schemeClr val="tx1"/>
                </a:solidFill>
                <a:latin typeface="+mn-lt"/>
              </a:rPr>
              <a:t>(2022–2023, ženy, 45–69 let, N = 1 085 803 vyšetření)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F8257E8-116A-7D91-5D43-E954086367D9}"/>
              </a:ext>
            </a:extLst>
          </p:cNvPr>
          <p:cNvSpPr txBox="1"/>
          <p:nvPr/>
        </p:nvSpPr>
        <p:spPr>
          <a:xfrm>
            <a:off x="8870833" y="2748114"/>
            <a:ext cx="3069340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Domažlice: </a:t>
            </a:r>
            <a:r>
              <a:rPr lang="cs-CZ" sz="1600" dirty="0">
                <a:solidFill>
                  <a:srgbClr val="C00000"/>
                </a:solidFill>
              </a:rPr>
              <a:t>62,8 %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Klatovy: </a:t>
            </a:r>
            <a:r>
              <a:rPr lang="cs-CZ" sz="1600" dirty="0">
                <a:solidFill>
                  <a:srgbClr val="C00000"/>
                </a:solidFill>
              </a:rPr>
              <a:t>58,1 %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sever: </a:t>
            </a:r>
            <a:r>
              <a:rPr lang="cs-CZ" sz="1600" dirty="0">
                <a:solidFill>
                  <a:srgbClr val="C00000"/>
                </a:solidFill>
              </a:rPr>
              <a:t>57,0 %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jih: </a:t>
            </a:r>
            <a:r>
              <a:rPr lang="cs-CZ" sz="1600" dirty="0">
                <a:solidFill>
                  <a:srgbClr val="C00000"/>
                </a:solidFill>
              </a:rPr>
              <a:t>55,8 %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Rokycany: </a:t>
            </a:r>
            <a:r>
              <a:rPr lang="cs-CZ" sz="1600" dirty="0">
                <a:solidFill>
                  <a:srgbClr val="C00000"/>
                </a:solidFill>
              </a:rPr>
              <a:t>54,9 %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město: </a:t>
            </a:r>
            <a:r>
              <a:rPr lang="cs-CZ" sz="1600" dirty="0">
                <a:solidFill>
                  <a:srgbClr val="C00000"/>
                </a:solidFill>
              </a:rPr>
              <a:t>52,7 %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Tachov: </a:t>
            </a:r>
            <a:r>
              <a:rPr lang="cs-CZ" sz="1600" dirty="0">
                <a:solidFill>
                  <a:srgbClr val="C00000"/>
                </a:solidFill>
              </a:rPr>
              <a:t>50,2 %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55F65C-7001-67F6-D1A4-E133E03B44F1}"/>
              </a:ext>
            </a:extLst>
          </p:cNvPr>
          <p:cNvSpPr txBox="1"/>
          <p:nvPr/>
        </p:nvSpPr>
        <p:spPr>
          <a:xfrm>
            <a:off x="8870833" y="2193647"/>
            <a:ext cx="3324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Pokrytí v okresech Plzeňského kraje:</a:t>
            </a:r>
          </a:p>
        </p:txBody>
      </p:sp>
    </p:spTree>
    <p:extLst>
      <p:ext uri="{BB962C8B-B14F-4D97-AF65-F5344CB8AC3E}">
        <p14:creationId xmlns:p14="http://schemas.microsoft.com/office/powerpoint/2010/main" val="16294318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774953F-2723-0C99-D44E-6200DC67D1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00950" y="2047522"/>
            <a:ext cx="3821084" cy="1866899"/>
          </a:xfrm>
        </p:spPr>
        <p:txBody>
          <a:bodyPr anchor="ctr">
            <a:normAutofit/>
          </a:bodyPr>
          <a:lstStyle/>
          <a:p>
            <a:pPr algn="just"/>
            <a:r>
              <a:rPr lang="cs-CZ" sz="1300" dirty="0"/>
              <a:t>V České republice je celkem 73 screeningových mamografických center (včetně satelitních pracovišť). </a:t>
            </a:r>
            <a:r>
              <a:rPr lang="cs-CZ" sz="1300" b="1" dirty="0"/>
              <a:t>V Plzeňském kraji funguje </a:t>
            </a:r>
            <a:br>
              <a:rPr lang="cs-CZ" sz="1300" b="1" dirty="0"/>
            </a:br>
            <a:r>
              <a:rPr lang="cs-CZ" sz="1300" b="1" dirty="0"/>
              <a:t>5 screeningových center.</a:t>
            </a:r>
          </a:p>
          <a:p>
            <a:pPr algn="just"/>
            <a:r>
              <a:rPr lang="cs-CZ" sz="1300" b="1" dirty="0"/>
              <a:t>V Plzeňském kraji připadá </a:t>
            </a:r>
            <a:br>
              <a:rPr lang="cs-CZ" sz="1300" b="1" dirty="0"/>
            </a:br>
            <a:r>
              <a:rPr lang="cs-CZ" sz="1300" b="1" dirty="0"/>
              <a:t>na 1 centrum 31 452 žen ve věku 45 a více let. Jedná se o nižší počet ve srovnání s celorepublikovým průměrem.</a:t>
            </a:r>
          </a:p>
        </p:txBody>
      </p:sp>
      <p:graphicFrame>
        <p:nvGraphicFramePr>
          <p:cNvPr id="7" name="Object 4">
            <a:extLst>
              <a:ext uri="{FF2B5EF4-FFF2-40B4-BE49-F238E27FC236}">
                <a16:creationId xmlns:a16="http://schemas.microsoft.com/office/drawing/2014/main" id="{AF1AD656-7BE7-AACE-F907-3BC08D1028B6}"/>
              </a:ext>
            </a:extLst>
          </p:cNvPr>
          <p:cNvGraphicFramePr>
            <a:graphicFrameLocks noGrp="1" noChangeAspect="1"/>
          </p:cNvGraphicFramePr>
          <p:nvPr>
            <p:ph type="chart" sz="quarter" idx="14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8875554"/>
              </p:ext>
            </p:extLst>
          </p:nvPr>
        </p:nvGraphicFramePr>
        <p:xfrm>
          <a:off x="339725" y="1288888"/>
          <a:ext cx="7089775" cy="2721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Rectangle 186">
            <a:extLst>
              <a:ext uri="{FF2B5EF4-FFF2-40B4-BE49-F238E27FC236}">
                <a16:creationId xmlns:a16="http://schemas.microsoft.com/office/drawing/2014/main" id="{3F8FB031-47C1-EC07-AEE7-63B57AA79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4028" y="1196931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indent="0" algn="r">
              <a:buNone/>
            </a:pPr>
            <a:r>
              <a:rPr lang="cs-CZ" sz="1200" dirty="0">
                <a:solidFill>
                  <a:schemeClr val="tx1"/>
                </a:solidFill>
              </a:rPr>
              <a:t>Zdroj: www.mamo.cz, ÚZIS ČR a Český statistický úřad </a:t>
            </a:r>
            <a:endParaRPr lang="en-US" sz="1200" dirty="0">
              <a:solidFill>
                <a:schemeClr val="tx1"/>
              </a:solidFill>
            </a:endParaRPr>
          </a:p>
          <a:p>
            <a:pPr marL="0" indent="0" algn="r">
              <a:buNone/>
            </a:pPr>
            <a:r>
              <a:rPr lang="cs-CZ" sz="1200" dirty="0">
                <a:solidFill>
                  <a:schemeClr val="tx1"/>
                </a:solidFill>
                <a:cs typeface="Arial" pitchFamily="34" charset="0"/>
              </a:rPr>
              <a:t>V ČR v roce 2023 celkem 2 802 249 žen v dané cílové populaci </a:t>
            </a:r>
          </a:p>
          <a:p>
            <a:pPr marL="0" indent="0" algn="r">
              <a:spcAft>
                <a:spcPts val="200"/>
              </a:spcAft>
              <a:buNone/>
            </a:pPr>
            <a:r>
              <a:rPr lang="cs-CZ" sz="1200" dirty="0">
                <a:solidFill>
                  <a:schemeClr val="tx1"/>
                </a:solidFill>
                <a:cs typeface="Arial" pitchFamily="34" charset="0"/>
              </a:rPr>
              <a:t>Ženy ve věku od </a:t>
            </a:r>
            <a:r>
              <a:rPr lang="en-GB" sz="1200" dirty="0">
                <a:solidFill>
                  <a:schemeClr val="tx1"/>
                </a:solidFill>
                <a:cs typeface="Arial" pitchFamily="34" charset="0"/>
              </a:rPr>
              <a:t>45</a:t>
            </a:r>
            <a:r>
              <a:rPr lang="cs-CZ" sz="1200" dirty="0">
                <a:solidFill>
                  <a:schemeClr val="tx1"/>
                </a:solidFill>
                <a:cs typeface="Arial" pitchFamily="34" charset="0"/>
              </a:rPr>
              <a:t> let</a:t>
            </a:r>
            <a:endParaRPr lang="en-GB" sz="12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4" name="Object 4">
            <a:extLst>
              <a:ext uri="{FF2B5EF4-FFF2-40B4-BE49-F238E27FC236}">
                <a16:creationId xmlns:a16="http://schemas.microsoft.com/office/drawing/2014/main" id="{2FD18800-E501-68D1-6397-52F2BCA2BC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219574"/>
              </p:ext>
            </p:extLst>
          </p:nvPr>
        </p:nvGraphicFramePr>
        <p:xfrm>
          <a:off x="339724" y="4092459"/>
          <a:ext cx="7089775" cy="2721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9C3BA07E-89D6-2788-1DCD-FE7E4E21B5FC}"/>
              </a:ext>
            </a:extLst>
          </p:cNvPr>
          <p:cNvCxnSpPr>
            <a:cxnSpLocks/>
          </p:cNvCxnSpPr>
          <p:nvPr/>
        </p:nvCxnSpPr>
        <p:spPr>
          <a:xfrm>
            <a:off x="1238263" y="5159166"/>
            <a:ext cx="5975743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ovéPole 8">
            <a:extLst>
              <a:ext uri="{FF2B5EF4-FFF2-40B4-BE49-F238E27FC236}">
                <a16:creationId xmlns:a16="http://schemas.microsoft.com/office/drawing/2014/main" id="{22A585CF-F627-C02F-7640-454B5707951A}"/>
              </a:ext>
            </a:extLst>
          </p:cNvPr>
          <p:cNvSpPr txBox="1"/>
          <p:nvPr/>
        </p:nvSpPr>
        <p:spPr>
          <a:xfrm>
            <a:off x="7246625" y="4846161"/>
            <a:ext cx="14057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rgbClr val="00B050"/>
                </a:solidFill>
              </a:rPr>
              <a:t>Průměrný počet žen na jedno centrum v ČR</a:t>
            </a:r>
          </a:p>
        </p:txBody>
      </p:sp>
      <p:sp>
        <p:nvSpPr>
          <p:cNvPr id="11" name="Nadpis 4">
            <a:extLst>
              <a:ext uri="{FF2B5EF4-FFF2-40B4-BE49-F238E27FC236}">
                <a16:creationId xmlns:a16="http://schemas.microsoft.com/office/drawing/2014/main" id="{082B5688-5433-7AA2-E2F6-D7D2C2744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Síť mamografických screeningových center dle kraje centra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9328691-74AA-3AC4-214A-2254F2A5C4B6}"/>
              </a:ext>
            </a:extLst>
          </p:cNvPr>
          <p:cNvSpPr txBox="1"/>
          <p:nvPr/>
        </p:nvSpPr>
        <p:spPr>
          <a:xfrm>
            <a:off x="8571894" y="4073240"/>
            <a:ext cx="33967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Počet center v okresech Plzeňského kraje: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626B05C-DD68-5E52-6EBC-DE2AC41AD550}"/>
              </a:ext>
            </a:extLst>
          </p:cNvPr>
          <p:cNvSpPr txBox="1"/>
          <p:nvPr/>
        </p:nvSpPr>
        <p:spPr>
          <a:xfrm>
            <a:off x="8571894" y="4611234"/>
            <a:ext cx="3069340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>
                <a:solidFill>
                  <a:srgbClr val="C00000"/>
                </a:solidFill>
              </a:rPr>
              <a:t>Plzeň-město: 3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>
                <a:solidFill>
                  <a:srgbClr val="C00000"/>
                </a:solidFill>
              </a:rPr>
              <a:t>Klatovy: 1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>
                <a:solidFill>
                  <a:srgbClr val="C00000"/>
                </a:solidFill>
              </a:rPr>
              <a:t>Tachov: 1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Domažlice: 0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jih: 0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sever: 0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Rokycany: 0</a:t>
            </a:r>
          </a:p>
        </p:txBody>
      </p:sp>
    </p:spTree>
    <p:extLst>
      <p:ext uri="{BB962C8B-B14F-4D97-AF65-F5344CB8AC3E}">
        <p14:creationId xmlns:p14="http://schemas.microsoft.com/office/powerpoint/2010/main" val="6621133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ázek 14" descr="Obsah obrázku text, mapa, atlas, diagram&#10;&#10;Popis byl vytvořen automaticky">
            <a:extLst>
              <a:ext uri="{FF2B5EF4-FFF2-40B4-BE49-F238E27FC236}">
                <a16:creationId xmlns:a16="http://schemas.microsoft.com/office/drawing/2014/main" id="{C4AC58A3-22E8-F705-3E3C-C6496702B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8561" y="999318"/>
            <a:ext cx="8271166" cy="585068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14B13731-1398-481A-97F6-B54E9556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300" dirty="0"/>
              <a:t>Dojezdová vzdálenost do mamografických center</a:t>
            </a:r>
          </a:p>
        </p:txBody>
      </p:sp>
      <p:sp>
        <p:nvSpPr>
          <p:cNvPr id="4" name="Rectangle 186">
            <a:extLst>
              <a:ext uri="{FF2B5EF4-FFF2-40B4-BE49-F238E27FC236}">
                <a16:creationId xmlns:a16="http://schemas.microsoft.com/office/drawing/2014/main" id="{CAEB0742-3D4E-F369-7841-3629F66057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5306" y="1182987"/>
            <a:ext cx="8074800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www.mamo.cz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Zástupný text 5">
            <a:extLst>
              <a:ext uri="{FF2B5EF4-FFF2-40B4-BE49-F238E27FC236}">
                <a16:creationId xmlns:a16="http://schemas.microsoft.com/office/drawing/2014/main" id="{4045C601-6656-B1CC-4D0D-2074517EEADD}"/>
              </a:ext>
            </a:extLst>
          </p:cNvPr>
          <p:cNvSpPr txBox="1">
            <a:spLocks/>
          </p:cNvSpPr>
          <p:nvPr/>
        </p:nvSpPr>
        <p:spPr>
          <a:xfrm>
            <a:off x="9246996" y="3323868"/>
            <a:ext cx="2850776" cy="1110358"/>
          </a:xfrm>
          <a:prstGeom prst="rect">
            <a:avLst/>
          </a:prstGeom>
          <a:solidFill>
            <a:srgbClr val="DA2B46"/>
          </a:solidFill>
          <a:ln w="19050">
            <a:noFill/>
          </a:ln>
        </p:spPr>
        <p:txBody>
          <a:bodyPr anchor="ctr">
            <a:norm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eské republice funguje síť 73 screeningových mamografických center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579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6E4DDEDB-785B-DBF8-43E1-3460889817DC}"/>
              </a:ext>
            </a:extLst>
          </p:cNvPr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sz="2200" dirty="0"/>
              <a:t>Epidemiologie nádorů prsu a onkologická léčba</a:t>
            </a:r>
          </a:p>
          <a:p>
            <a:r>
              <a:rPr lang="cs-CZ" sz="2200" dirty="0"/>
              <a:t>Screening karcinomu prsu</a:t>
            </a:r>
          </a:p>
          <a:p>
            <a:r>
              <a:rPr lang="cs-CZ" sz="2200" dirty="0"/>
              <a:t>Epidemiologie nádorů plic a onkologická léčba</a:t>
            </a:r>
          </a:p>
          <a:p>
            <a:r>
              <a:rPr lang="cs-CZ" sz="2200" dirty="0"/>
              <a:t>Screening karcinomu plic</a:t>
            </a:r>
          </a:p>
          <a:p>
            <a:r>
              <a:rPr lang="cs-CZ" sz="2200" dirty="0"/>
              <a:t>Personální zázemí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5822234-FBB1-46A0-16B3-DB65A8DA84D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Obsah prezentace</a:t>
            </a:r>
          </a:p>
        </p:txBody>
      </p:sp>
    </p:spTree>
    <p:extLst>
      <p:ext uri="{BB962C8B-B14F-4D97-AF65-F5344CB8AC3E}">
        <p14:creationId xmlns:p14="http://schemas.microsoft.com/office/powerpoint/2010/main" val="2673870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CB73143-CF39-3D73-B4A5-82350449219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173637"/>
              </p:ext>
            </p:extLst>
          </p:nvPr>
        </p:nvGraphicFramePr>
        <p:xfrm>
          <a:off x="316595" y="1373151"/>
          <a:ext cx="11718000" cy="515168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81200">
                  <a:extLst>
                    <a:ext uri="{9D8B030D-6E8A-4147-A177-3AD203B41FA5}">
                      <a16:colId xmlns:a16="http://schemas.microsoft.com/office/drawing/2014/main" val="166537727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2376352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2470062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45433169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009325056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08701115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8258890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6275743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549188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66359888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800024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200670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773942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2764697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95430677"/>
                    </a:ext>
                  </a:extLst>
                </a:gridCol>
              </a:tblGrid>
              <a:tr h="326066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HA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ST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H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KV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U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LB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HK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A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VYS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M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O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Z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MS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33940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4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očet (podíl)</a:t>
                      </a:r>
                      <a:r>
                        <a:rPr lang="en-US" sz="1400" b="1" dirty="0"/>
                        <a:t> </a:t>
                      </a:r>
                      <a:r>
                        <a:rPr lang="cs-CZ" sz="1400" b="1" dirty="0"/>
                        <a:t>vyšetřených žen s daným místem bydliště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2175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447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8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3 429 </a:t>
                      </a:r>
                    </a:p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(33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6 (1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9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38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 (1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3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296347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739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64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5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0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6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0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452336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0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 090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4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70567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898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7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85 (4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500072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299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2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81730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59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3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0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743882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6 (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98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1885704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9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 767 (1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10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41 (4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096311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125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0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413825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3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46 (3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38 (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61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5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5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5794318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8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081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 74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6 (1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62753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 (1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61 (2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 68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26 (2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997 (2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0506215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2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35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6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757094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</a:rPr>
                        <a:t>MSK</a:t>
                      </a:r>
                      <a:endParaRPr lang="cs-CZ" sz="14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6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4 158 (9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69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2984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4B13731-1398-481A-97F6-B54E9556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300" dirty="0"/>
              <a:t>Screeningové mamografie: migrace žen za vyšetřením napříč kraji ČR (2023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B5D56F7-3A93-FDF2-C48C-51CF37AE0595}"/>
              </a:ext>
            </a:extLst>
          </p:cNvPr>
          <p:cNvSpPr txBox="1"/>
          <p:nvPr/>
        </p:nvSpPr>
        <p:spPr>
          <a:xfrm flipH="1">
            <a:off x="1129318" y="1084341"/>
            <a:ext cx="14319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</a:t>
            </a:r>
          </a:p>
        </p:txBody>
      </p:sp>
      <p:sp>
        <p:nvSpPr>
          <p:cNvPr id="19" name="Rectangle 186">
            <a:extLst>
              <a:ext uri="{FF2B5EF4-FFF2-40B4-BE49-F238E27FC236}">
                <a16:creationId xmlns:a16="http://schemas.microsoft.com/office/drawing/2014/main" id="{F692249A-B7F7-A53A-F059-55FE73BCA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795" y="933063"/>
            <a:ext cx="8074800" cy="44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, ÚZIS Č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ingová mamografie (89178, 89223); ženy ve věku 45 a více let; 2023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F1475AB-2F0C-D703-6D56-39F663DA01DA}"/>
              </a:ext>
            </a:extLst>
          </p:cNvPr>
          <p:cNvSpPr txBox="1"/>
          <p:nvPr/>
        </p:nvSpPr>
        <p:spPr>
          <a:xfrm>
            <a:off x="236593" y="6495090"/>
            <a:ext cx="11955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U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108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reeningových mamografií nebylo možné určit kraj zdravotnického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</a:t>
            </a:r>
            <a:r>
              <a:rPr kumimoji="0" lang="cs-CZ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 hodnotí počet žen ve věku 45 a více let, které byly v daném roce vyšetřeny screeningovou mamografií. V případě, že bylo ženě v roce provedeno více screeningových mamografií, je započteno pouze jedno vyšetření.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A9C4FB7-C913-2B49-8070-0154F98C3D9E}"/>
              </a:ext>
            </a:extLst>
          </p:cNvPr>
          <p:cNvSpPr txBox="1"/>
          <p:nvPr/>
        </p:nvSpPr>
        <p:spPr>
          <a:xfrm rot="16200000" flipH="1">
            <a:off x="-1428523" y="3737241"/>
            <a:ext cx="3168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dravotnického zařízení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5979BABF-428D-EF11-D221-4D3FED7A24EF}"/>
              </a:ext>
            </a:extLst>
          </p:cNvPr>
          <p:cNvSpPr/>
          <p:nvPr/>
        </p:nvSpPr>
        <p:spPr>
          <a:xfrm>
            <a:off x="3453695" y="1374432"/>
            <a:ext cx="787645" cy="515040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B45086E3-B72F-921D-DF15-AC9E0F398802}"/>
              </a:ext>
            </a:extLst>
          </p:cNvPr>
          <p:cNvSpPr/>
          <p:nvPr/>
        </p:nvSpPr>
        <p:spPr>
          <a:xfrm rot="16200000">
            <a:off x="6002047" y="-2706683"/>
            <a:ext cx="338553" cy="11709457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5834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CB73143-CF39-3D73-B4A5-82350449219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459898"/>
              </p:ext>
            </p:extLst>
          </p:nvPr>
        </p:nvGraphicFramePr>
        <p:xfrm>
          <a:off x="316595" y="1373151"/>
          <a:ext cx="11718000" cy="515168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81200">
                  <a:extLst>
                    <a:ext uri="{9D8B030D-6E8A-4147-A177-3AD203B41FA5}">
                      <a16:colId xmlns:a16="http://schemas.microsoft.com/office/drawing/2014/main" val="166537727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2376352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2470062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45433169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009325056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08701115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8258890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16275743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549188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66359888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800024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200670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5773942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276469750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795430677"/>
                    </a:ext>
                  </a:extLst>
                </a:gridCol>
              </a:tblGrid>
              <a:tr h="326066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HA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ST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HC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KV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U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LB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HK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A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VYS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JM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O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ZL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MSK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33940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r" fontAlgn="b">
                        <a:lnSpc>
                          <a:spcPct val="80000"/>
                        </a:lnSpc>
                      </a:pP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4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1" dirty="0"/>
                        <a:t>Počet (podíl)</a:t>
                      </a:r>
                      <a:r>
                        <a:rPr lang="en-US" sz="1400" b="1" dirty="0"/>
                        <a:t> </a:t>
                      </a:r>
                      <a:r>
                        <a:rPr lang="cs-CZ" sz="1400" b="1" dirty="0"/>
                        <a:t>vyšetřených žen s daným místem bydliště</a:t>
                      </a: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4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2175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447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8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3 429 </a:t>
                      </a:r>
                    </a:p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(33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6 (1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9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38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 (1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3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296347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739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64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5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0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6 (1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0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452336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0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 090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4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70567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898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7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85 (4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500072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299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2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817302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59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3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0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743882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6 (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984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1885704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9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 767 (12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 10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641 (4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096311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125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90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(0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 (0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4138253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3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46 (3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38 (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61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5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5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5794318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8 (0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081 (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 74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 (0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6 (1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6275379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 (1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761 (2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 68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6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126 (2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997 (2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0506215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 (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2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 358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86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7570946"/>
                  </a:ext>
                </a:extLst>
              </a:tr>
              <a:tr h="321708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</a:rPr>
                        <a:t>MSK</a:t>
                      </a:r>
                      <a:endParaRPr lang="cs-CZ" sz="14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 (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 (&lt; 0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6 (1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4 158 (9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696 </a:t>
                      </a:r>
                    </a:p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97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2984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4B13731-1398-481A-97F6-B54E9556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300" dirty="0"/>
              <a:t>Screeningové mamografie: migrace žen za vyšetřením napříč kraji ČR (2023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B5D56F7-3A93-FDF2-C48C-51CF37AE0595}"/>
              </a:ext>
            </a:extLst>
          </p:cNvPr>
          <p:cNvSpPr txBox="1"/>
          <p:nvPr/>
        </p:nvSpPr>
        <p:spPr>
          <a:xfrm flipH="1">
            <a:off x="1129318" y="1084341"/>
            <a:ext cx="14319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</a:t>
            </a:r>
          </a:p>
        </p:txBody>
      </p:sp>
      <p:sp>
        <p:nvSpPr>
          <p:cNvPr id="19" name="Rectangle 186">
            <a:extLst>
              <a:ext uri="{FF2B5EF4-FFF2-40B4-BE49-F238E27FC236}">
                <a16:creationId xmlns:a16="http://schemas.microsoft.com/office/drawing/2014/main" id="{F692249A-B7F7-A53A-F059-55FE73BCA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795" y="933063"/>
            <a:ext cx="8074800" cy="44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har char="•"/>
              <a:defRPr sz="2000">
                <a:solidFill>
                  <a:srgbClr val="5F3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5F3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5F3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5F3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, ÚZIS Č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ingová mamografie (89178, 89223); ženy ve věku 45 a více let; 2023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F1475AB-2F0C-D703-6D56-39F663DA01DA}"/>
              </a:ext>
            </a:extLst>
          </p:cNvPr>
          <p:cNvSpPr txBox="1"/>
          <p:nvPr/>
        </p:nvSpPr>
        <p:spPr>
          <a:xfrm>
            <a:off x="236593" y="6495090"/>
            <a:ext cx="11955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U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108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reeningových mamografií nebylo možné určit kraj zdravotnického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n.: </a:t>
            </a:r>
            <a:r>
              <a:rPr kumimoji="0" lang="cs-CZ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 hodnotí počet žen ve věku 45 a více let, které byly v daném roce vyšetřeny screeningovou mamografií. V případě, že bylo ženě v roce provedeno více screeningových mamografií, je započteno pouze jedno vyšetření.</a:t>
            </a:r>
            <a:endParaRPr kumimoji="0" lang="cs-CZ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A9C4FB7-C913-2B49-8070-0154F98C3D9E}"/>
              </a:ext>
            </a:extLst>
          </p:cNvPr>
          <p:cNvSpPr txBox="1"/>
          <p:nvPr/>
        </p:nvSpPr>
        <p:spPr>
          <a:xfrm rot="16200000" flipH="1">
            <a:off x="-1428523" y="3737241"/>
            <a:ext cx="3168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dravotnického zařízen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4CF9556-E7F7-A591-98B9-106ACC24A67F}"/>
              </a:ext>
            </a:extLst>
          </p:cNvPr>
          <p:cNvSpPr txBox="1"/>
          <p:nvPr/>
        </p:nvSpPr>
        <p:spPr>
          <a:xfrm>
            <a:off x="4370403" y="3858153"/>
            <a:ext cx="7545401" cy="1354217"/>
          </a:xfrm>
          <a:prstGeom prst="rect">
            <a:avLst/>
          </a:prstGeom>
          <a:solidFill>
            <a:schemeClr val="accent3"/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cs-CZ" b="1" dirty="0">
                <a:solidFill>
                  <a:schemeClr val="bg1"/>
                </a:solidFill>
              </a:rPr>
              <a:t>Ženy z Plzeňského kraje ve většině případů podstupují screeningové vyšetření v Plzeňském kraji (97,7 %). </a:t>
            </a:r>
          </a:p>
          <a:p>
            <a:pPr>
              <a:spcBef>
                <a:spcPts val="1200"/>
              </a:spcBef>
            </a:pPr>
            <a:r>
              <a:rPr lang="cs-CZ" dirty="0">
                <a:solidFill>
                  <a:schemeClr val="bg1"/>
                </a:solidFill>
              </a:rPr>
              <a:t>Malá část žen dojíždí za vyšetřením do Plzeňského kraje </a:t>
            </a:r>
            <a:br>
              <a:rPr lang="cs-CZ" dirty="0">
                <a:solidFill>
                  <a:schemeClr val="bg1"/>
                </a:solidFill>
              </a:rPr>
            </a:br>
            <a:r>
              <a:rPr lang="cs-CZ" dirty="0">
                <a:solidFill>
                  <a:schemeClr val="bg1"/>
                </a:solidFill>
              </a:rPr>
              <a:t>z Karlovarského kraje (4,5 %)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75C7501A-357F-FAB4-46C2-4AE4D36536B4}"/>
              </a:ext>
            </a:extLst>
          </p:cNvPr>
          <p:cNvSpPr/>
          <p:nvPr/>
        </p:nvSpPr>
        <p:spPr>
          <a:xfrm>
            <a:off x="3453695" y="1374432"/>
            <a:ext cx="787645" cy="515040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AC674FEF-59D5-CD00-72AF-E1B62BB445F7}"/>
              </a:ext>
            </a:extLst>
          </p:cNvPr>
          <p:cNvSpPr/>
          <p:nvPr/>
        </p:nvSpPr>
        <p:spPr>
          <a:xfrm rot="16200000">
            <a:off x="6002047" y="-2706683"/>
            <a:ext cx="338553" cy="11709457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64325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774953F-2723-0C99-D44E-6200DC67D1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443989"/>
            <a:ext cx="10728000" cy="1034504"/>
          </a:xfrm>
        </p:spPr>
        <p:txBody>
          <a:bodyPr anchor="ctr">
            <a:normAutofit/>
          </a:bodyPr>
          <a:lstStyle/>
          <a:p>
            <a:pPr algn="just"/>
            <a:r>
              <a:rPr lang="cs-CZ" sz="1400" b="1" dirty="0"/>
              <a:t>Průměrná objednávací 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algn="just"/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Jednotlivé kraje ČR se v průměrné objednací době zřetelně liší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Průměrná objednávací doba v Plzeňském kraji </a:t>
            </a:r>
            <a:r>
              <a:rPr lang="cs-CZ" sz="1200" b="1" kern="0" dirty="0"/>
              <a:t>je mírně nižší než celorepublikový průměr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a to </a:t>
            </a:r>
            <a:r>
              <a:rPr lang="cs-CZ" sz="1200" b="1" kern="0" dirty="0"/>
              <a:t>19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dní.</a:t>
            </a:r>
          </a:p>
        </p:txBody>
      </p:sp>
      <p:sp>
        <p:nvSpPr>
          <p:cNvPr id="8" name="Nadpis 2">
            <a:extLst>
              <a:ext uri="{FF2B5EF4-FFF2-40B4-BE49-F238E27FC236}">
                <a16:creationId xmlns:a16="http://schemas.microsoft.com/office/drawing/2014/main" id="{273F8017-3A2E-1654-23B1-E41C7B0B0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kraje centra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7224B6B-F484-9DC0-DFE7-EC9F056A1233}"/>
              </a:ext>
            </a:extLst>
          </p:cNvPr>
          <p:cNvSpPr txBox="1"/>
          <p:nvPr/>
        </p:nvSpPr>
        <p:spPr>
          <a:xfrm>
            <a:off x="421451" y="1277302"/>
            <a:ext cx="11349099" cy="299184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4000"/>
              </a:lnSpc>
              <a:spcBef>
                <a:spcPts val="0"/>
              </a:spcBef>
            </a:pPr>
            <a:r>
              <a:rPr lang="cs-CZ" sz="1000" i="1" dirty="0"/>
              <a:t>Údaje byly vyexportovány k </a:t>
            </a:r>
            <a:r>
              <a:rPr lang="cs-CZ" sz="1200" b="1" i="1" u="sng" dirty="0"/>
              <a:t>27. září 2024 </a:t>
            </a:r>
            <a:r>
              <a:rPr lang="cs-CZ" sz="1000" i="1" dirty="0"/>
              <a:t>z webových stránek www.mamo.cz (včetně satelitních pracovišť): https://www.mamo.cz/centra/#seznam (hodnocen údaj „Objednací doba“)</a:t>
            </a:r>
          </a:p>
        </p:txBody>
      </p:sp>
      <p:graphicFrame>
        <p:nvGraphicFramePr>
          <p:cNvPr id="12" name="Object 4">
            <a:extLst>
              <a:ext uri="{FF2B5EF4-FFF2-40B4-BE49-F238E27FC236}">
                <a16:creationId xmlns:a16="http://schemas.microsoft.com/office/drawing/2014/main" id="{A2A0E22B-EB90-7584-D09C-620FF9B42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574081"/>
              </p:ext>
            </p:extLst>
          </p:nvPr>
        </p:nvGraphicFramePr>
        <p:xfrm>
          <a:off x="730250" y="1914526"/>
          <a:ext cx="10728325" cy="352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3B0B85E-1473-A7B9-FBD8-D90AA55D0974}"/>
              </a:ext>
            </a:extLst>
          </p:cNvPr>
          <p:cNvSpPr txBox="1"/>
          <p:nvPr/>
        </p:nvSpPr>
        <p:spPr>
          <a:xfrm>
            <a:off x="10416866" y="3045731"/>
            <a:ext cx="177513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rgbClr val="00B050"/>
                </a:solidFill>
              </a:rPr>
              <a:t>Průměrná objednávací doba v ČR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D47BB6B7-ACF7-E127-AA43-4F011376F085}"/>
              </a:ext>
            </a:extLst>
          </p:cNvPr>
          <p:cNvSpPr txBox="1"/>
          <p:nvPr/>
        </p:nvSpPr>
        <p:spPr>
          <a:xfrm>
            <a:off x="8860848" y="1832423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006691D5-1975-8910-8EBC-A22D641EA291}"/>
              </a:ext>
            </a:extLst>
          </p:cNvPr>
          <p:cNvCxnSpPr>
            <a:cxnSpLocks/>
          </p:cNvCxnSpPr>
          <p:nvPr/>
        </p:nvCxnSpPr>
        <p:spPr>
          <a:xfrm>
            <a:off x="1620000" y="3642834"/>
            <a:ext cx="9445218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4565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774953F-2723-0C99-D44E-6200DC67D1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443989"/>
            <a:ext cx="10728000" cy="1034504"/>
          </a:xfrm>
        </p:spPr>
        <p:txBody>
          <a:bodyPr anchor="ctr">
            <a:normAutofit/>
          </a:bodyPr>
          <a:lstStyle/>
          <a:p>
            <a:pPr algn="just"/>
            <a:r>
              <a:rPr lang="cs-CZ" sz="1400" b="1" dirty="0"/>
              <a:t>Průměrná objednávací 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algn="just"/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Jednotlivé kraje ČR se v průměrné objednací době zřetelně liší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Průměrná objednávací doba v Plzeňském kraji </a:t>
            </a:r>
            <a:r>
              <a:rPr lang="cs-CZ" sz="1200" b="1" kern="0" dirty="0"/>
              <a:t>je nižší než celorepublikový průměr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a to </a:t>
            </a:r>
            <a:r>
              <a:rPr lang="cs-CZ" sz="1200" b="1" kern="0" dirty="0"/>
              <a:t>16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dní.</a:t>
            </a:r>
          </a:p>
        </p:txBody>
      </p:sp>
      <p:sp>
        <p:nvSpPr>
          <p:cNvPr id="8" name="Nadpis 2">
            <a:extLst>
              <a:ext uri="{FF2B5EF4-FFF2-40B4-BE49-F238E27FC236}">
                <a16:creationId xmlns:a16="http://schemas.microsoft.com/office/drawing/2014/main" id="{273F8017-3A2E-1654-23B1-E41C7B0B0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kraje centra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7224B6B-F484-9DC0-DFE7-EC9F056A1233}"/>
              </a:ext>
            </a:extLst>
          </p:cNvPr>
          <p:cNvSpPr txBox="1"/>
          <p:nvPr/>
        </p:nvSpPr>
        <p:spPr>
          <a:xfrm>
            <a:off x="421451" y="1277302"/>
            <a:ext cx="11349099" cy="299184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4000"/>
              </a:lnSpc>
              <a:spcBef>
                <a:spcPts val="0"/>
              </a:spcBef>
            </a:pPr>
            <a:r>
              <a:rPr lang="cs-CZ" sz="1000" i="1" dirty="0"/>
              <a:t>Údaje byly vyexportovány k </a:t>
            </a:r>
            <a:r>
              <a:rPr lang="cs-CZ" sz="1200" b="1" i="1" u="sng" dirty="0"/>
              <a:t>30. dubnu 2025 </a:t>
            </a:r>
            <a:r>
              <a:rPr lang="cs-CZ" sz="1000" i="1" dirty="0"/>
              <a:t>z webových stránek www.mamo.cz (včetně satelitních pracovišť): https://www.mamo.cz/centra/#seznam (hodnocen údaj „Objednací doba“)</a:t>
            </a:r>
          </a:p>
        </p:txBody>
      </p:sp>
      <p:graphicFrame>
        <p:nvGraphicFramePr>
          <p:cNvPr id="12" name="Object 4">
            <a:extLst>
              <a:ext uri="{FF2B5EF4-FFF2-40B4-BE49-F238E27FC236}">
                <a16:creationId xmlns:a16="http://schemas.microsoft.com/office/drawing/2014/main" id="{A2A0E22B-EB90-7584-D09C-620FF9B42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139489"/>
              </p:ext>
            </p:extLst>
          </p:nvPr>
        </p:nvGraphicFramePr>
        <p:xfrm>
          <a:off x="730250" y="1914526"/>
          <a:ext cx="10728325" cy="352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" name="Přímá spojnice 1">
            <a:extLst>
              <a:ext uri="{FF2B5EF4-FFF2-40B4-BE49-F238E27FC236}">
                <a16:creationId xmlns:a16="http://schemas.microsoft.com/office/drawing/2014/main" id="{F54E926F-8ACC-28EB-CCFB-71D97C043AFF}"/>
              </a:ext>
            </a:extLst>
          </p:cNvPr>
          <p:cNvCxnSpPr>
            <a:cxnSpLocks/>
          </p:cNvCxnSpPr>
          <p:nvPr/>
        </p:nvCxnSpPr>
        <p:spPr>
          <a:xfrm>
            <a:off x="1620000" y="3653592"/>
            <a:ext cx="9445218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>
            <a:extLst>
              <a:ext uri="{FF2B5EF4-FFF2-40B4-BE49-F238E27FC236}">
                <a16:creationId xmlns:a16="http://schemas.microsoft.com/office/drawing/2014/main" id="{73B0B85E-1473-A7B9-FBD8-D90AA55D0974}"/>
              </a:ext>
            </a:extLst>
          </p:cNvPr>
          <p:cNvSpPr txBox="1"/>
          <p:nvPr/>
        </p:nvSpPr>
        <p:spPr>
          <a:xfrm>
            <a:off x="10416866" y="3045731"/>
            <a:ext cx="177513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rgbClr val="00B050"/>
                </a:solidFill>
              </a:rPr>
              <a:t>Průměrná objednávací doba v ČR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D47BB6B7-ACF7-E127-AA43-4F011376F085}"/>
              </a:ext>
            </a:extLst>
          </p:cNvPr>
          <p:cNvSpPr txBox="1"/>
          <p:nvPr/>
        </p:nvSpPr>
        <p:spPr>
          <a:xfrm>
            <a:off x="8860848" y="1832423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9002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0DF2E09-D825-4428-4FC6-0D5A6C1434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175" t="10215" r="10402" b="6729"/>
          <a:stretch/>
        </p:blipFill>
        <p:spPr>
          <a:xfrm>
            <a:off x="473809" y="1201935"/>
            <a:ext cx="7522638" cy="4370651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okresu centra</a:t>
            </a:r>
          </a:p>
        </p:txBody>
      </p:sp>
      <p:sp>
        <p:nvSpPr>
          <p:cNvPr id="4" name="Zástupný text 5">
            <a:extLst>
              <a:ext uri="{FF2B5EF4-FFF2-40B4-BE49-F238E27FC236}">
                <a16:creationId xmlns:a16="http://schemas.microsoft.com/office/drawing/2014/main" id="{853B4672-88F7-0A79-FE39-F1CD765595E2}"/>
              </a:ext>
            </a:extLst>
          </p:cNvPr>
          <p:cNvSpPr txBox="1">
            <a:spLocks/>
          </p:cNvSpPr>
          <p:nvPr/>
        </p:nvSpPr>
        <p:spPr>
          <a:xfrm>
            <a:off x="730800" y="5443989"/>
            <a:ext cx="10581047" cy="927259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cs-CZ" sz="1400" b="1" dirty="0"/>
              <a:t>Průměrná objednávací 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marL="0" indent="0">
              <a:buNone/>
            </a:pPr>
            <a:r>
              <a:rPr lang="cs-CZ" sz="1200" b="1" kern="0" dirty="0"/>
              <a:t>V okrese Tachov (40 dní) byla pozorována výrazně vyšší průměrná objednávací doba v porovnání s celorepublikovým průměrem. Okresy Plzeň-město (17 dní) a Klatovy (6 dní ) patří mezi okresy s nižší průměrnou objednávací dobou na mamografii v ČR. </a:t>
            </a:r>
            <a:endParaRPr lang="cs-CZ" sz="1200" kern="0" dirty="0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B887729-454A-0680-8AF4-C86F41BF8A11}"/>
              </a:ext>
            </a:extLst>
          </p:cNvPr>
          <p:cNvSpPr txBox="1"/>
          <p:nvPr/>
        </p:nvSpPr>
        <p:spPr>
          <a:xfrm>
            <a:off x="631638" y="6419140"/>
            <a:ext cx="11349099" cy="264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4000"/>
              </a:lnSpc>
            </a:pPr>
            <a:r>
              <a:rPr lang="cs-CZ" sz="1000" dirty="0"/>
              <a:t>* V ČR je několik okresů, ve kterých není žádné screeningové mamografické centrum, u těchto okresů nebylo možné spočítat daný indikátor.</a:t>
            </a:r>
            <a:endParaRPr lang="cs-CZ" sz="1000" b="1" i="1" dirty="0"/>
          </a:p>
        </p:txBody>
      </p:sp>
      <p:sp>
        <p:nvSpPr>
          <p:cNvPr id="25" name="Text Box 3">
            <a:extLst>
              <a:ext uri="{FF2B5EF4-FFF2-40B4-BE49-F238E27FC236}">
                <a16:creationId xmlns:a16="http://schemas.microsoft.com/office/drawing/2014/main" id="{27C4D6EE-70A8-1F96-51CC-4B7C0314F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6917" y="2632835"/>
            <a:ext cx="1480715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cs-CZ" sz="1100" dirty="0">
              <a:solidFill>
                <a:srgbClr val="292929"/>
              </a:solidFill>
              <a:latin typeface="+mj-lt"/>
            </a:endParaRPr>
          </a:p>
        </p:txBody>
      </p:sp>
      <p:sp>
        <p:nvSpPr>
          <p:cNvPr id="26" name="Text Box 3">
            <a:extLst>
              <a:ext uri="{FF2B5EF4-FFF2-40B4-BE49-F238E27FC236}">
                <a16:creationId xmlns:a16="http://schemas.microsoft.com/office/drawing/2014/main" id="{47156D71-9854-4CF2-D892-DC25EBF9D1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4467" y="2647416"/>
            <a:ext cx="13644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200" b="1" dirty="0">
                <a:solidFill>
                  <a:srgbClr val="292929"/>
                </a:solidFill>
                <a:latin typeface="+mj-lt"/>
              </a:rPr>
              <a:t>Průměrná objednávací doba ve dnech; počet center</a:t>
            </a:r>
          </a:p>
        </p:txBody>
      </p:sp>
      <p:sp>
        <p:nvSpPr>
          <p:cNvPr id="27" name="Rectangle 177">
            <a:extLst>
              <a:ext uri="{FF2B5EF4-FFF2-40B4-BE49-F238E27FC236}">
                <a16:creationId xmlns:a16="http://schemas.microsoft.com/office/drawing/2014/main" id="{941D4950-D44C-9999-58D2-2E8F02F2D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515708"/>
            <a:ext cx="180000" cy="180000"/>
          </a:xfrm>
          <a:prstGeom prst="rect">
            <a:avLst/>
          </a:prstGeom>
          <a:solidFill>
            <a:srgbClr val="E4F2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28" name="Rectangle 177">
            <a:extLst>
              <a:ext uri="{FF2B5EF4-FFF2-40B4-BE49-F238E27FC236}">
                <a16:creationId xmlns:a16="http://schemas.microsoft.com/office/drawing/2014/main" id="{B64750F7-0574-D031-623F-48E1413BB9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757008"/>
            <a:ext cx="180000" cy="180000"/>
          </a:xfrm>
          <a:prstGeom prst="rect">
            <a:avLst/>
          </a:prstGeom>
          <a:solidFill>
            <a:srgbClr val="BDD8F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29" name="Rectangle 177">
            <a:extLst>
              <a:ext uri="{FF2B5EF4-FFF2-40B4-BE49-F238E27FC236}">
                <a16:creationId xmlns:a16="http://schemas.microsoft.com/office/drawing/2014/main" id="{B613A741-5BA2-2930-2C60-4C37BA262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998308"/>
            <a:ext cx="180000" cy="180000"/>
          </a:xfrm>
          <a:prstGeom prst="rect">
            <a:avLst/>
          </a:prstGeom>
          <a:solidFill>
            <a:srgbClr val="73B3D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30" name="Rectangle 177">
            <a:extLst>
              <a:ext uri="{FF2B5EF4-FFF2-40B4-BE49-F238E27FC236}">
                <a16:creationId xmlns:a16="http://schemas.microsoft.com/office/drawing/2014/main" id="{0F4CBFE7-D16A-D8E3-BF83-9F1A17C00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4239608"/>
            <a:ext cx="180000" cy="180000"/>
          </a:xfrm>
          <a:prstGeom prst="rect">
            <a:avLst/>
          </a:prstGeom>
          <a:solidFill>
            <a:srgbClr val="2879B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31" name="Text Box 3">
            <a:extLst>
              <a:ext uri="{FF2B5EF4-FFF2-40B4-BE49-F238E27FC236}">
                <a16:creationId xmlns:a16="http://schemas.microsoft.com/office/drawing/2014/main" id="{B41436DD-BCB1-0E71-37F8-7D309DD89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46720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≤ 5</a:t>
            </a:r>
          </a:p>
        </p:txBody>
      </p:sp>
      <p:sp>
        <p:nvSpPr>
          <p:cNvPr id="32" name="Text Box 3">
            <a:extLst>
              <a:ext uri="{FF2B5EF4-FFF2-40B4-BE49-F238E27FC236}">
                <a16:creationId xmlns:a16="http://schemas.microsoft.com/office/drawing/2014/main" id="{8A0551C3-5546-7B30-CCD6-B29172ECEA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71107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5 až 15</a:t>
            </a:r>
          </a:p>
        </p:txBody>
      </p:sp>
      <p:sp>
        <p:nvSpPr>
          <p:cNvPr id="33" name="Text Box 3">
            <a:extLst>
              <a:ext uri="{FF2B5EF4-FFF2-40B4-BE49-F238E27FC236}">
                <a16:creationId xmlns:a16="http://schemas.microsoft.com/office/drawing/2014/main" id="{E68F598E-FD72-713F-E551-5AB1562F53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95493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15 až 25</a:t>
            </a:r>
          </a:p>
        </p:txBody>
      </p:sp>
      <p:sp>
        <p:nvSpPr>
          <p:cNvPr id="34" name="Text Box 3">
            <a:extLst>
              <a:ext uri="{FF2B5EF4-FFF2-40B4-BE49-F238E27FC236}">
                <a16:creationId xmlns:a16="http://schemas.microsoft.com/office/drawing/2014/main" id="{4E1D7C2D-0D14-EC70-5F6C-0C5CD567F0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41988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25 až 35</a:t>
            </a:r>
          </a:p>
        </p:txBody>
      </p:sp>
      <p:sp>
        <p:nvSpPr>
          <p:cNvPr id="23" name="Rectangle 177">
            <a:extLst>
              <a:ext uri="{FF2B5EF4-FFF2-40B4-BE49-F238E27FC236}">
                <a16:creationId xmlns:a16="http://schemas.microsoft.com/office/drawing/2014/main" id="{BAEF29C4-A425-578F-F115-D6418AEBBA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497108"/>
            <a:ext cx="180000" cy="180000"/>
          </a:xfrm>
          <a:prstGeom prst="rect">
            <a:avLst/>
          </a:prstGeom>
          <a:solidFill>
            <a:srgbClr val="08306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24" name="Text Box 3">
            <a:extLst>
              <a:ext uri="{FF2B5EF4-FFF2-40B4-BE49-F238E27FC236}">
                <a16:creationId xmlns:a16="http://schemas.microsoft.com/office/drawing/2014/main" id="{6B1DBB72-2626-4146-3252-ACD596D25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732" y="44563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&gt; 35</a:t>
            </a:r>
          </a:p>
        </p:txBody>
      </p:sp>
      <p:sp>
        <p:nvSpPr>
          <p:cNvPr id="38" name="Rectangle 177">
            <a:extLst>
              <a:ext uri="{FF2B5EF4-FFF2-40B4-BE49-F238E27FC236}">
                <a16:creationId xmlns:a16="http://schemas.microsoft.com/office/drawing/2014/main" id="{2F28FAF2-FD38-DB4F-400E-D52A22A4B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739272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EAAF81CA-D448-19B9-66A4-9EEE62000AE6}"/>
              </a:ext>
            </a:extLst>
          </p:cNvPr>
          <p:cNvSpPr txBox="1"/>
          <p:nvPr/>
        </p:nvSpPr>
        <p:spPr>
          <a:xfrm>
            <a:off x="7910625" y="4707684"/>
            <a:ext cx="19543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  <a:latin typeface="+mj-lt"/>
              </a:rPr>
              <a:t>Není centrum </a:t>
            </a:r>
            <a:br>
              <a:rPr lang="cs-CZ" sz="1100" dirty="0">
                <a:solidFill>
                  <a:srgbClr val="292929"/>
                </a:solidFill>
                <a:latin typeface="+mj-lt"/>
              </a:rPr>
            </a:br>
            <a:r>
              <a:rPr lang="cs-CZ" sz="1100" dirty="0">
                <a:solidFill>
                  <a:srgbClr val="292929"/>
                </a:solidFill>
                <a:latin typeface="+mj-lt"/>
              </a:rPr>
              <a:t>v daném okrese*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AE187962-D21B-AD40-9BF3-0A349BEA244B}"/>
              </a:ext>
            </a:extLst>
          </p:cNvPr>
          <p:cNvSpPr txBox="1"/>
          <p:nvPr/>
        </p:nvSpPr>
        <p:spPr>
          <a:xfrm>
            <a:off x="20174" y="1289898"/>
            <a:ext cx="2745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Průměrná objednávací doba (dny); </a:t>
            </a:r>
          </a:p>
          <a:p>
            <a:r>
              <a:rPr lang="cs-CZ" sz="1200" b="1" dirty="0"/>
              <a:t>počet center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488B9C3-9C1F-98F6-E63A-05D3987484F7}"/>
              </a:ext>
            </a:extLst>
          </p:cNvPr>
          <p:cNvSpPr txBox="1"/>
          <p:nvPr/>
        </p:nvSpPr>
        <p:spPr>
          <a:xfrm>
            <a:off x="8304905" y="1869740"/>
            <a:ext cx="3887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Průměrná objednávací doba v okresech Plzeňského kraje: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22B3134-7C85-8FC7-A98A-F42192D513B8}"/>
              </a:ext>
            </a:extLst>
          </p:cNvPr>
          <p:cNvSpPr txBox="1"/>
          <p:nvPr/>
        </p:nvSpPr>
        <p:spPr>
          <a:xfrm>
            <a:off x="9306768" y="13248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25AD41D-77D8-B12D-7E5E-19917375AD4D}"/>
              </a:ext>
            </a:extLst>
          </p:cNvPr>
          <p:cNvSpPr txBox="1"/>
          <p:nvPr/>
        </p:nvSpPr>
        <p:spPr>
          <a:xfrm>
            <a:off x="5978769" y="1207231"/>
            <a:ext cx="6090719" cy="493597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4000"/>
              </a:lnSpc>
              <a:spcBef>
                <a:spcPts val="0"/>
              </a:spcBef>
            </a:pPr>
            <a:r>
              <a:rPr lang="cs-CZ" sz="1000" i="1" dirty="0"/>
              <a:t>Údaje byly vyexportovány k </a:t>
            </a:r>
            <a:r>
              <a:rPr lang="cs-CZ" sz="1200" b="1" i="1" u="sng" dirty="0"/>
              <a:t>27. září 2024 </a:t>
            </a:r>
            <a:r>
              <a:rPr lang="cs-CZ" sz="1000" i="1" dirty="0"/>
              <a:t>z webových stránek www.mamo.cz (včetně satelitních pracovišť): https://www.mamo.cz/centra/#seznam (hodnocen údaj „Objednací doba“)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72567CD-83BA-753A-36BC-BE5627B60F2E}"/>
              </a:ext>
            </a:extLst>
          </p:cNvPr>
          <p:cNvSpPr txBox="1"/>
          <p:nvPr/>
        </p:nvSpPr>
        <p:spPr>
          <a:xfrm>
            <a:off x="9183739" y="2588763"/>
            <a:ext cx="3069340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Tachov: </a:t>
            </a:r>
            <a:r>
              <a:rPr lang="cs-CZ" sz="1600" dirty="0">
                <a:solidFill>
                  <a:srgbClr val="C00000"/>
                </a:solidFill>
              </a:rPr>
              <a:t>40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město: </a:t>
            </a:r>
            <a:r>
              <a:rPr lang="cs-CZ" sz="1600" dirty="0">
                <a:solidFill>
                  <a:srgbClr val="C00000"/>
                </a:solidFill>
              </a:rPr>
              <a:t>17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Klatovy: </a:t>
            </a:r>
            <a:r>
              <a:rPr lang="cs-CZ" sz="1600" dirty="0">
                <a:solidFill>
                  <a:srgbClr val="C00000"/>
                </a:solidFill>
              </a:rPr>
              <a:t>6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Domažlice: bez centra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jih: bez centra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sever: bez centra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Rokycany: bez centra</a:t>
            </a:r>
          </a:p>
        </p:txBody>
      </p:sp>
    </p:spTree>
    <p:extLst>
      <p:ext uri="{BB962C8B-B14F-4D97-AF65-F5344CB8AC3E}">
        <p14:creationId xmlns:p14="http://schemas.microsoft.com/office/powerpoint/2010/main" val="6818509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 descr="Obsah obrázku mapa, umění&#10;&#10;Obsah vygenerovaný umělou inteligencí může být nesprávný.">
            <a:extLst>
              <a:ext uri="{FF2B5EF4-FFF2-40B4-BE49-F238E27FC236}">
                <a16:creationId xmlns:a16="http://schemas.microsoft.com/office/drawing/2014/main" id="{A6430C9E-BD5E-A5A0-0792-D93FF138FA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81" t="12435" r="9955" b="6929"/>
          <a:stretch/>
        </p:blipFill>
        <p:spPr>
          <a:xfrm>
            <a:off x="482885" y="1196336"/>
            <a:ext cx="7337646" cy="4278954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259D2F9-7B03-99A9-98C4-C4FFBE2C0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růměrná objednávací doba mamografických screeningových center dle okresu centra</a:t>
            </a:r>
          </a:p>
        </p:txBody>
      </p:sp>
      <p:sp>
        <p:nvSpPr>
          <p:cNvPr id="4" name="Zástupný text 5">
            <a:extLst>
              <a:ext uri="{FF2B5EF4-FFF2-40B4-BE49-F238E27FC236}">
                <a16:creationId xmlns:a16="http://schemas.microsoft.com/office/drawing/2014/main" id="{853B4672-88F7-0A79-FE39-F1CD765595E2}"/>
              </a:ext>
            </a:extLst>
          </p:cNvPr>
          <p:cNvSpPr txBox="1">
            <a:spLocks/>
          </p:cNvSpPr>
          <p:nvPr/>
        </p:nvSpPr>
        <p:spPr>
          <a:xfrm>
            <a:off x="730800" y="5443989"/>
            <a:ext cx="10728000" cy="927259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cs-CZ" sz="1400" b="1" dirty="0"/>
              <a:t>Průměrná objednávací doba v ČR: </a:t>
            </a:r>
            <a:r>
              <a:rPr lang="cs-CZ" sz="1400" b="1" dirty="0">
                <a:solidFill>
                  <a:schemeClr val="accent1"/>
                </a:solidFill>
              </a:rPr>
              <a:t>21 dní</a:t>
            </a:r>
          </a:p>
          <a:p>
            <a:pPr marL="0" indent="0">
              <a:buNone/>
            </a:pPr>
            <a:r>
              <a:rPr lang="cs-CZ" sz="1200" b="1" kern="0" dirty="0"/>
              <a:t>V okrese Plzeň-město (20 dní) byla pozorována srovnatelná průměrná objednávací doba vzhledem k celorepublikovému průměru. Okresy Tachov (7 dní) a Klatovy (12 dní ) patří mezi okresy s nižší průměrnou objednávací dobou na mamografii v ČR. </a:t>
            </a:r>
            <a:endParaRPr lang="cs-CZ" sz="1200" kern="0" dirty="0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B887729-454A-0680-8AF4-C86F41BF8A11}"/>
              </a:ext>
            </a:extLst>
          </p:cNvPr>
          <p:cNvSpPr txBox="1"/>
          <p:nvPr/>
        </p:nvSpPr>
        <p:spPr>
          <a:xfrm>
            <a:off x="631638" y="6419140"/>
            <a:ext cx="11349099" cy="264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4000"/>
              </a:lnSpc>
            </a:pPr>
            <a:r>
              <a:rPr lang="cs-CZ" sz="1000" dirty="0"/>
              <a:t>* V ČR je několik okresů, ve kterých není žádné screeningové mamografické centrum, u těchto okresů nebylo možné spočítat daný indikátor.</a:t>
            </a:r>
            <a:endParaRPr lang="cs-CZ" sz="1000" b="1" i="1" dirty="0"/>
          </a:p>
        </p:txBody>
      </p:sp>
      <p:sp>
        <p:nvSpPr>
          <p:cNvPr id="25" name="Text Box 3">
            <a:extLst>
              <a:ext uri="{FF2B5EF4-FFF2-40B4-BE49-F238E27FC236}">
                <a16:creationId xmlns:a16="http://schemas.microsoft.com/office/drawing/2014/main" id="{27C4D6EE-70A8-1F96-51CC-4B7C0314F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6917" y="2632835"/>
            <a:ext cx="1480715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cs-CZ" sz="1100" dirty="0">
              <a:solidFill>
                <a:srgbClr val="292929"/>
              </a:solidFill>
              <a:latin typeface="+mj-lt"/>
            </a:endParaRPr>
          </a:p>
        </p:txBody>
      </p:sp>
      <p:sp>
        <p:nvSpPr>
          <p:cNvPr id="26" name="Text Box 3">
            <a:extLst>
              <a:ext uri="{FF2B5EF4-FFF2-40B4-BE49-F238E27FC236}">
                <a16:creationId xmlns:a16="http://schemas.microsoft.com/office/drawing/2014/main" id="{47156D71-9854-4CF2-D892-DC25EBF9D1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4467" y="2647416"/>
            <a:ext cx="13644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200" b="1" dirty="0">
                <a:solidFill>
                  <a:srgbClr val="292929"/>
                </a:solidFill>
                <a:latin typeface="+mj-lt"/>
              </a:rPr>
              <a:t>Průměrná objednávací doba ve dnech; počet center</a:t>
            </a:r>
          </a:p>
        </p:txBody>
      </p:sp>
      <p:sp>
        <p:nvSpPr>
          <p:cNvPr id="27" name="Rectangle 177">
            <a:extLst>
              <a:ext uri="{FF2B5EF4-FFF2-40B4-BE49-F238E27FC236}">
                <a16:creationId xmlns:a16="http://schemas.microsoft.com/office/drawing/2014/main" id="{941D4950-D44C-9999-58D2-2E8F02F2D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515708"/>
            <a:ext cx="180000" cy="180000"/>
          </a:xfrm>
          <a:prstGeom prst="rect">
            <a:avLst/>
          </a:prstGeom>
          <a:solidFill>
            <a:srgbClr val="E4F2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28" name="Rectangle 177">
            <a:extLst>
              <a:ext uri="{FF2B5EF4-FFF2-40B4-BE49-F238E27FC236}">
                <a16:creationId xmlns:a16="http://schemas.microsoft.com/office/drawing/2014/main" id="{B64750F7-0574-D031-623F-48E1413BB9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757008"/>
            <a:ext cx="180000" cy="180000"/>
          </a:xfrm>
          <a:prstGeom prst="rect">
            <a:avLst/>
          </a:prstGeom>
          <a:solidFill>
            <a:srgbClr val="BDD8F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29" name="Rectangle 177">
            <a:extLst>
              <a:ext uri="{FF2B5EF4-FFF2-40B4-BE49-F238E27FC236}">
                <a16:creationId xmlns:a16="http://schemas.microsoft.com/office/drawing/2014/main" id="{B613A741-5BA2-2930-2C60-4C37BA262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3998308"/>
            <a:ext cx="180000" cy="180000"/>
          </a:xfrm>
          <a:prstGeom prst="rect">
            <a:avLst/>
          </a:prstGeom>
          <a:solidFill>
            <a:srgbClr val="73B3D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30" name="Rectangle 177">
            <a:extLst>
              <a:ext uri="{FF2B5EF4-FFF2-40B4-BE49-F238E27FC236}">
                <a16:creationId xmlns:a16="http://schemas.microsoft.com/office/drawing/2014/main" id="{0F4CBFE7-D16A-D8E3-BF83-9F1A17C00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870" y="4239608"/>
            <a:ext cx="180000" cy="180000"/>
          </a:xfrm>
          <a:prstGeom prst="rect">
            <a:avLst/>
          </a:prstGeom>
          <a:solidFill>
            <a:srgbClr val="2879B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31" name="Text Box 3">
            <a:extLst>
              <a:ext uri="{FF2B5EF4-FFF2-40B4-BE49-F238E27FC236}">
                <a16:creationId xmlns:a16="http://schemas.microsoft.com/office/drawing/2014/main" id="{B41436DD-BCB1-0E71-37F8-7D309DD89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46720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≤ 5</a:t>
            </a:r>
          </a:p>
        </p:txBody>
      </p:sp>
      <p:sp>
        <p:nvSpPr>
          <p:cNvPr id="32" name="Text Box 3">
            <a:extLst>
              <a:ext uri="{FF2B5EF4-FFF2-40B4-BE49-F238E27FC236}">
                <a16:creationId xmlns:a16="http://schemas.microsoft.com/office/drawing/2014/main" id="{8A0551C3-5546-7B30-CCD6-B29172ECEA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71107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5 až 15</a:t>
            </a:r>
          </a:p>
        </p:txBody>
      </p:sp>
      <p:sp>
        <p:nvSpPr>
          <p:cNvPr id="33" name="Text Box 3">
            <a:extLst>
              <a:ext uri="{FF2B5EF4-FFF2-40B4-BE49-F238E27FC236}">
                <a16:creationId xmlns:a16="http://schemas.microsoft.com/office/drawing/2014/main" id="{E68F598E-FD72-713F-E551-5AB1562F53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3954938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15 až 25</a:t>
            </a:r>
          </a:p>
        </p:txBody>
      </p:sp>
      <p:sp>
        <p:nvSpPr>
          <p:cNvPr id="34" name="Text Box 3">
            <a:extLst>
              <a:ext uri="{FF2B5EF4-FFF2-40B4-BE49-F238E27FC236}">
                <a16:creationId xmlns:a16="http://schemas.microsoft.com/office/drawing/2014/main" id="{4E1D7C2D-0D14-EC70-5F6C-0C5CD567F0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870" y="41988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25 až 35</a:t>
            </a:r>
          </a:p>
        </p:txBody>
      </p:sp>
      <p:sp>
        <p:nvSpPr>
          <p:cNvPr id="23" name="Rectangle 177">
            <a:extLst>
              <a:ext uri="{FF2B5EF4-FFF2-40B4-BE49-F238E27FC236}">
                <a16:creationId xmlns:a16="http://schemas.microsoft.com/office/drawing/2014/main" id="{BAEF29C4-A425-578F-F115-D6418AEBBA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497108"/>
            <a:ext cx="180000" cy="180000"/>
          </a:xfrm>
          <a:prstGeom prst="rect">
            <a:avLst/>
          </a:prstGeom>
          <a:solidFill>
            <a:srgbClr val="08306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24" name="Text Box 3">
            <a:extLst>
              <a:ext uri="{FF2B5EF4-FFF2-40B4-BE49-F238E27FC236}">
                <a16:creationId xmlns:a16="http://schemas.microsoft.com/office/drawing/2014/main" id="{6B1DBB72-2626-4146-3252-ACD596D25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732" y="4456303"/>
            <a:ext cx="11521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</a:rPr>
              <a:t>&gt; 35</a:t>
            </a:r>
          </a:p>
        </p:txBody>
      </p:sp>
      <p:sp>
        <p:nvSpPr>
          <p:cNvPr id="38" name="Rectangle 177">
            <a:extLst>
              <a:ext uri="{FF2B5EF4-FFF2-40B4-BE49-F238E27FC236}">
                <a16:creationId xmlns:a16="http://schemas.microsoft.com/office/drawing/2014/main" id="{2F28FAF2-FD38-DB4F-400E-D52A22A4B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6732" y="4739272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cs typeface="Arial" charset="0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EAAF81CA-D448-19B9-66A4-9EEE62000AE6}"/>
              </a:ext>
            </a:extLst>
          </p:cNvPr>
          <p:cNvSpPr txBox="1"/>
          <p:nvPr/>
        </p:nvSpPr>
        <p:spPr>
          <a:xfrm>
            <a:off x="7910625" y="4707684"/>
            <a:ext cx="19543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100" dirty="0">
                <a:solidFill>
                  <a:srgbClr val="292929"/>
                </a:solidFill>
                <a:latin typeface="+mj-lt"/>
              </a:rPr>
              <a:t>Není centrum </a:t>
            </a:r>
            <a:br>
              <a:rPr lang="cs-CZ" sz="1100" dirty="0">
                <a:solidFill>
                  <a:srgbClr val="292929"/>
                </a:solidFill>
                <a:latin typeface="+mj-lt"/>
              </a:rPr>
            </a:br>
            <a:r>
              <a:rPr lang="cs-CZ" sz="1100" dirty="0">
                <a:solidFill>
                  <a:srgbClr val="292929"/>
                </a:solidFill>
                <a:latin typeface="+mj-lt"/>
              </a:rPr>
              <a:t>v daném okrese*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AE187962-D21B-AD40-9BF3-0A349BEA244B}"/>
              </a:ext>
            </a:extLst>
          </p:cNvPr>
          <p:cNvSpPr txBox="1"/>
          <p:nvPr/>
        </p:nvSpPr>
        <p:spPr>
          <a:xfrm>
            <a:off x="20174" y="1289898"/>
            <a:ext cx="2745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Průměrná objednávací doba (dny); </a:t>
            </a:r>
          </a:p>
          <a:p>
            <a:r>
              <a:rPr lang="cs-CZ" sz="1200" b="1" dirty="0"/>
              <a:t>počet center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488B9C3-9C1F-98F6-E63A-05D3987484F7}"/>
              </a:ext>
            </a:extLst>
          </p:cNvPr>
          <p:cNvSpPr txBox="1"/>
          <p:nvPr/>
        </p:nvSpPr>
        <p:spPr>
          <a:xfrm>
            <a:off x="8304905" y="1869740"/>
            <a:ext cx="3887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Průměrná objednávací doba v okresech Plzeňského kraje: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22B3134-7C85-8FC7-A98A-F42192D513B8}"/>
              </a:ext>
            </a:extLst>
          </p:cNvPr>
          <p:cNvSpPr txBox="1"/>
          <p:nvPr/>
        </p:nvSpPr>
        <p:spPr>
          <a:xfrm>
            <a:off x="9306768" y="13248"/>
            <a:ext cx="2868520" cy="1015663"/>
          </a:xfrm>
          <a:prstGeom prst="rect">
            <a:avLst/>
          </a:prstGeom>
          <a:solidFill>
            <a:srgbClr val="DA2B4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le věstníku 5/2024: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bjednací doby na screeningové mamografick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yšetření dlouhodobě nepřesahují 8 týdnů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25AD41D-77D8-B12D-7E5E-19917375AD4D}"/>
              </a:ext>
            </a:extLst>
          </p:cNvPr>
          <p:cNvSpPr txBox="1"/>
          <p:nvPr/>
        </p:nvSpPr>
        <p:spPr>
          <a:xfrm>
            <a:off x="5978769" y="1207231"/>
            <a:ext cx="6090719" cy="493597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4000"/>
              </a:lnSpc>
              <a:spcBef>
                <a:spcPts val="0"/>
              </a:spcBef>
            </a:pPr>
            <a:r>
              <a:rPr lang="cs-CZ" sz="1000" i="1" dirty="0"/>
              <a:t>Údaje byly vyexportovány k </a:t>
            </a:r>
            <a:r>
              <a:rPr lang="cs-CZ" sz="1200" b="1" i="1" u="sng" dirty="0"/>
              <a:t>30. dubnu 2025 </a:t>
            </a:r>
            <a:r>
              <a:rPr lang="cs-CZ" sz="1000" i="1" dirty="0"/>
              <a:t>z webových stránek www.mamo.cz (včetně satelitních pracovišť): https://www.mamo.cz/centra/#seznam (hodnocen údaj „Objednací doba“)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A2E6426-2E25-C4A9-8830-4A60873F3B05}"/>
              </a:ext>
            </a:extLst>
          </p:cNvPr>
          <p:cNvSpPr txBox="1"/>
          <p:nvPr/>
        </p:nvSpPr>
        <p:spPr>
          <a:xfrm>
            <a:off x="9183739" y="2588763"/>
            <a:ext cx="3069340" cy="2033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město: </a:t>
            </a:r>
            <a:r>
              <a:rPr lang="cs-CZ" sz="1600" dirty="0">
                <a:solidFill>
                  <a:srgbClr val="C00000"/>
                </a:solidFill>
              </a:rPr>
              <a:t>20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Tachov: </a:t>
            </a:r>
            <a:r>
              <a:rPr lang="cs-CZ" sz="1600" dirty="0">
                <a:solidFill>
                  <a:srgbClr val="C00000"/>
                </a:solidFill>
              </a:rPr>
              <a:t>7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Klatovy: </a:t>
            </a:r>
            <a:r>
              <a:rPr lang="cs-CZ" sz="1600" dirty="0">
                <a:solidFill>
                  <a:srgbClr val="C00000"/>
                </a:solidFill>
              </a:rPr>
              <a:t>12 dní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Domažlice: bez centra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jih: bez centra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Plzeň-sever: bez centra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cs-CZ" sz="1600" dirty="0"/>
              <a:t>Rokycany: bez centra</a:t>
            </a:r>
          </a:p>
        </p:txBody>
      </p:sp>
    </p:spTree>
    <p:extLst>
      <p:ext uri="{BB962C8B-B14F-4D97-AF65-F5344CB8AC3E}">
        <p14:creationId xmlns:p14="http://schemas.microsoft.com/office/powerpoint/2010/main" val="28484629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pidemiologie nádorů plic a onkologická léčba</a:t>
            </a:r>
          </a:p>
        </p:txBody>
      </p:sp>
    </p:spTree>
    <p:extLst>
      <p:ext uri="{BB962C8B-B14F-4D97-AF65-F5344CB8AC3E}">
        <p14:creationId xmlns:p14="http://schemas.microsoft.com/office/powerpoint/2010/main" val="31055800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cidence zhoubných novotvarů v letech 2019–2023: srovnání PLK a ČR</a:t>
            </a:r>
            <a:br>
              <a:rPr lang="cs-CZ" dirty="0"/>
            </a:br>
            <a:endParaRPr lang="cs-CZ" dirty="0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F4EE0BE-9611-E1C4-EC50-8EEFCEFA9A66}"/>
              </a:ext>
            </a:extLst>
          </p:cNvPr>
          <p:cNvSpPr/>
          <p:nvPr/>
        </p:nvSpPr>
        <p:spPr>
          <a:xfrm>
            <a:off x="626971" y="1982782"/>
            <a:ext cx="4558683" cy="19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58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nově diagnostikovaných onemocnění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4911369" y="3259913"/>
          <a:ext cx="6821145" cy="1524000"/>
        </p:xfrm>
        <a:graphic>
          <a:graphicData uri="http://schemas.openxmlformats.org/drawingml/2006/table">
            <a:tbl>
              <a:tblPr/>
              <a:tblGrid>
                <a:gridCol w="4951377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934884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934884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ově diagnostikovaných C33, C34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4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nově diagnostikovaných C33, C34 ročně na 100 000 osob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8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930776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 bez C44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787466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74699" y="849915"/>
            <a:ext cx="28107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11369" y="2987589"/>
            <a:ext cx="107950" cy="107950"/>
          </a:xfrm>
          <a:prstGeom prst="rect">
            <a:avLst/>
          </a:prstGeom>
          <a:solidFill>
            <a:srgbClr val="CC9900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11369" y="2818217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63769" y="2772576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zeň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graphicFrame>
        <p:nvGraphicFramePr>
          <p:cNvPr id="2" name="Object 35">
            <a:extLst>
              <a:ext uri="{FF2B5EF4-FFF2-40B4-BE49-F238E27FC236}">
                <a16:creationId xmlns:a16="http://schemas.microsoft.com/office/drawing/2014/main" id="{7B3CF613-A0B9-363E-74D5-9AD6289CEC6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" name="Group 91">
            <a:extLst>
              <a:ext uri="{FF2B5EF4-FFF2-40B4-BE49-F238E27FC236}">
                <a16:creationId xmlns:a16="http://schemas.microsoft.com/office/drawing/2014/main" id="{B146AEAC-FE1A-A631-A921-36771CDB6505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26703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Nadpis 134">
            <a:extLst>
              <a:ext uri="{FF2B5EF4-FFF2-40B4-BE49-F238E27FC236}">
                <a16:creationId xmlns:a16="http://schemas.microsoft.com/office/drawing/2014/main" id="{C3471F7A-46E1-B470-6A2C-B33F01049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cidence ZN </a:t>
            </a:r>
            <a:r>
              <a:rPr lang="cs-CZ" dirty="0"/>
              <a:t>průdušnice, průdušky a plíce </a:t>
            </a:r>
            <a:r>
              <a:rPr lang="es-ES" dirty="0"/>
              <a:t>(C</a:t>
            </a:r>
            <a:r>
              <a:rPr lang="cs-CZ" dirty="0"/>
              <a:t>33, C34</a:t>
            </a:r>
            <a:r>
              <a:rPr lang="es-ES" dirty="0"/>
              <a:t>)</a:t>
            </a:r>
            <a:br>
              <a:rPr lang="es-ES" dirty="0"/>
            </a:br>
            <a:endParaRPr lang="cs-CZ" dirty="0"/>
          </a:p>
        </p:txBody>
      </p:sp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597801" y="1814917"/>
          <a:ext cx="1931064" cy="2510535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68781" y="3455017"/>
            <a:ext cx="2911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 100 000 osob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89670" y="3219424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1,9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241445" y="1026669"/>
            <a:ext cx="3929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na 100 000 osob 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89670" y="3369477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7,4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C9900">
                <a:alpha val="3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zeň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C9900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aphicFrame>
        <p:nvGraphicFramePr>
          <p:cNvPr id="42" name="Object 16">
            <a:extLst>
              <a:ext uri="{FF2B5EF4-FFF2-40B4-BE49-F238E27FC236}">
                <a16:creationId xmlns:a16="http://schemas.microsoft.com/office/drawing/2014/main" id="{02F703FC-0E33-607B-7EAD-913892D77A8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6449966" y="4396195"/>
          <a:ext cx="2311760" cy="2019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FFCC29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BC8F00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BC8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BC8F00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FFE38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0" name="Group 110">
            <a:extLst>
              <a:ext uri="{FF2B5EF4-FFF2-40B4-BE49-F238E27FC236}">
                <a16:creationId xmlns:a16="http://schemas.microsoft.com/office/drawing/2014/main" id="{A9C1A962-4C00-B40E-D34E-FC6A7C5DEC32}"/>
              </a:ext>
            </a:extLst>
          </p:cNvPr>
          <p:cNvGraphicFramePr>
            <a:graphicFrameLocks noGrp="1"/>
          </p:cNvGraphicFramePr>
          <p:nvPr>
            <p:custDataLst>
              <p:tags r:id="rId15"/>
            </p:custDataLst>
          </p:nvPr>
        </p:nvGraphicFramePr>
        <p:xfrm>
          <a:off x="4597801" y="4701003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82131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40" name="Object 123">
            <a:extLst>
              <a:ext uri="{FF2B5EF4-FFF2-40B4-BE49-F238E27FC236}">
                <a16:creationId xmlns:a16="http://schemas.microsoft.com/office/drawing/2014/main" id="{FC21BD03-E451-F249-3BEE-69C9FA3227A2}"/>
              </a:ext>
            </a:extLst>
          </p:cNvPr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601106" y="1911300"/>
          <a:ext cx="4122544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pSp>
        <p:nvGrpSpPr>
          <p:cNvPr id="2" name="Skupina 1">
            <a:extLst>
              <a:ext uri="{FF2B5EF4-FFF2-40B4-BE49-F238E27FC236}">
                <a16:creationId xmlns:a16="http://schemas.microsoft.com/office/drawing/2014/main" id="{83DF49B2-2A5E-925D-2260-DAE08F24694F}"/>
              </a:ext>
            </a:extLst>
          </p:cNvPr>
          <p:cNvGrpSpPr/>
          <p:nvPr/>
        </p:nvGrpSpPr>
        <p:grpSpPr>
          <a:xfrm>
            <a:off x="10951469" y="4645212"/>
            <a:ext cx="920040" cy="839147"/>
            <a:chOff x="5368539" y="5686843"/>
            <a:chExt cx="920040" cy="839147"/>
          </a:xfrm>
        </p:grpSpPr>
        <p:sp>
          <p:nvSpPr>
            <p:cNvPr id="23" name="Text Box 58">
              <a:extLst>
                <a:ext uri="{FF2B5EF4-FFF2-40B4-BE49-F238E27FC236}">
                  <a16:creationId xmlns:a16="http://schemas.microsoft.com/office/drawing/2014/main" id="{CB58DBD9-670D-97A8-B9F8-05665F734E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9" name="Rectangle 56">
              <a:extLst>
                <a:ext uri="{FF2B5EF4-FFF2-40B4-BE49-F238E27FC236}">
                  <a16:creationId xmlns:a16="http://schemas.microsoft.com/office/drawing/2014/main" id="{93CCDFB7-0911-3D81-6A75-C8A0DFFB4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Rectangle 56">
              <a:extLst>
                <a:ext uri="{FF2B5EF4-FFF2-40B4-BE49-F238E27FC236}">
                  <a16:creationId xmlns:a16="http://schemas.microsoft.com/office/drawing/2014/main" id="{5A34B72C-46F6-B2E9-E840-083216E0D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Rectangle 56">
              <a:extLst>
                <a:ext uri="{FF2B5EF4-FFF2-40B4-BE49-F238E27FC236}">
                  <a16:creationId xmlns:a16="http://schemas.microsoft.com/office/drawing/2014/main" id="{BDA5761B-8A2F-707D-6E14-BC177B1BE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" name="Rectangle 56">
              <a:extLst>
                <a:ext uri="{FF2B5EF4-FFF2-40B4-BE49-F238E27FC236}">
                  <a16:creationId xmlns:a16="http://schemas.microsoft.com/office/drawing/2014/main" id="{8BD8002D-2C03-1F82-2326-7D1B6BF52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7540E80-861F-E525-2EAE-DBC94E1C5C44}"/>
              </a:ext>
            </a:extLst>
          </p:cNvPr>
          <p:cNvGrpSpPr>
            <a:grpSpLocks noChangeAspect="1"/>
          </p:cNvGrpSpPr>
          <p:nvPr/>
        </p:nvGrpSpPr>
        <p:grpSpPr>
          <a:xfrm>
            <a:off x="8955157" y="4391856"/>
            <a:ext cx="1617371" cy="2031177"/>
            <a:chOff x="4041462" y="133955"/>
            <a:chExt cx="2035175" cy="2555875"/>
          </a:xfrm>
          <a:solidFill>
            <a:srgbClr val="FFCC29"/>
          </a:solidFill>
        </p:grpSpPr>
        <p:sp>
          <p:nvSpPr>
            <p:cNvPr id="22" name="Freeform 104">
              <a:extLst>
                <a:ext uri="{FF2B5EF4-FFF2-40B4-BE49-F238E27FC236}">
                  <a16:creationId xmlns:a16="http://schemas.microsoft.com/office/drawing/2014/main" id="{97B2B936-A3AC-394F-AD61-F7A6981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B765B938-DF3D-9150-6E5C-190A1F733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08">
              <a:extLst>
                <a:ext uri="{FF2B5EF4-FFF2-40B4-BE49-F238E27FC236}">
                  <a16:creationId xmlns:a16="http://schemas.microsoft.com/office/drawing/2014/main" id="{43C24D9A-BEA7-16A2-445A-EC61BDF69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09">
              <a:extLst>
                <a:ext uri="{FF2B5EF4-FFF2-40B4-BE49-F238E27FC236}">
                  <a16:creationId xmlns:a16="http://schemas.microsoft.com/office/drawing/2014/main" id="{9301F485-8BFE-CFFD-56DE-0333C6008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09">
              <a:extLst>
                <a:ext uri="{FF2B5EF4-FFF2-40B4-BE49-F238E27FC236}">
                  <a16:creationId xmlns:a16="http://schemas.microsoft.com/office/drawing/2014/main" id="{AC258454-D6EE-900E-3DC0-A698BBE7A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07">
              <a:extLst>
                <a:ext uri="{FF2B5EF4-FFF2-40B4-BE49-F238E27FC236}">
                  <a16:creationId xmlns:a16="http://schemas.microsoft.com/office/drawing/2014/main" id="{6EDC6755-C72B-239C-EE54-92AB803DF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05">
              <a:extLst>
                <a:ext uri="{FF2B5EF4-FFF2-40B4-BE49-F238E27FC236}">
                  <a16:creationId xmlns:a16="http://schemas.microsoft.com/office/drawing/2014/main" id="{D6831942-6471-6FCD-4122-78527F1F5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E0493F41-F77A-A9CE-B91A-C4E550236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4">
              <a:extLst>
                <a:ext uri="{FF2B5EF4-FFF2-40B4-BE49-F238E27FC236}">
                  <a16:creationId xmlns:a16="http://schemas.microsoft.com/office/drawing/2014/main" id="{8820A5DC-3FC8-B36B-8094-66C7FE54A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06">
              <a:extLst>
                <a:ext uri="{FF2B5EF4-FFF2-40B4-BE49-F238E27FC236}">
                  <a16:creationId xmlns:a16="http://schemas.microsoft.com/office/drawing/2014/main" id="{44DFD7A8-3B0D-42FF-F02D-668FEFE71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474" y="781655"/>
              <a:ext cx="422275" cy="420688"/>
            </a:xfrm>
            <a:custGeom>
              <a:avLst/>
              <a:gdLst>
                <a:gd name="T0" fmla="*/ 103 w 266"/>
                <a:gd name="T1" fmla="*/ 7 h 265"/>
                <a:gd name="T2" fmla="*/ 112 w 266"/>
                <a:gd name="T3" fmla="*/ 13 h 265"/>
                <a:gd name="T4" fmla="*/ 120 w 266"/>
                <a:gd name="T5" fmla="*/ 26 h 265"/>
                <a:gd name="T6" fmla="*/ 127 w 266"/>
                <a:gd name="T7" fmla="*/ 40 h 265"/>
                <a:gd name="T8" fmla="*/ 135 w 266"/>
                <a:gd name="T9" fmla="*/ 39 h 265"/>
                <a:gd name="T10" fmla="*/ 140 w 266"/>
                <a:gd name="T11" fmla="*/ 42 h 265"/>
                <a:gd name="T12" fmla="*/ 145 w 266"/>
                <a:gd name="T13" fmla="*/ 48 h 265"/>
                <a:gd name="T14" fmla="*/ 150 w 266"/>
                <a:gd name="T15" fmla="*/ 47 h 265"/>
                <a:gd name="T16" fmla="*/ 169 w 266"/>
                <a:gd name="T17" fmla="*/ 23 h 265"/>
                <a:gd name="T18" fmla="*/ 194 w 266"/>
                <a:gd name="T19" fmla="*/ 5 h 265"/>
                <a:gd name="T20" fmla="*/ 202 w 266"/>
                <a:gd name="T21" fmla="*/ 0 h 265"/>
                <a:gd name="T22" fmla="*/ 205 w 266"/>
                <a:gd name="T23" fmla="*/ 7 h 265"/>
                <a:gd name="T24" fmla="*/ 211 w 266"/>
                <a:gd name="T25" fmla="*/ 30 h 265"/>
                <a:gd name="T26" fmla="*/ 226 w 266"/>
                <a:gd name="T27" fmla="*/ 46 h 265"/>
                <a:gd name="T28" fmla="*/ 229 w 266"/>
                <a:gd name="T29" fmla="*/ 57 h 265"/>
                <a:gd name="T30" fmla="*/ 217 w 266"/>
                <a:gd name="T31" fmla="*/ 73 h 265"/>
                <a:gd name="T32" fmla="*/ 204 w 266"/>
                <a:gd name="T33" fmla="*/ 90 h 265"/>
                <a:gd name="T34" fmla="*/ 202 w 266"/>
                <a:gd name="T35" fmla="*/ 100 h 265"/>
                <a:gd name="T36" fmla="*/ 213 w 266"/>
                <a:gd name="T37" fmla="*/ 111 h 265"/>
                <a:gd name="T38" fmla="*/ 239 w 266"/>
                <a:gd name="T39" fmla="*/ 134 h 265"/>
                <a:gd name="T40" fmla="*/ 239 w 266"/>
                <a:gd name="T41" fmla="*/ 139 h 265"/>
                <a:gd name="T42" fmla="*/ 234 w 266"/>
                <a:gd name="T43" fmla="*/ 149 h 265"/>
                <a:gd name="T44" fmla="*/ 240 w 266"/>
                <a:gd name="T45" fmla="*/ 159 h 265"/>
                <a:gd name="T46" fmla="*/ 259 w 266"/>
                <a:gd name="T47" fmla="*/ 169 h 265"/>
                <a:gd name="T48" fmla="*/ 263 w 266"/>
                <a:gd name="T49" fmla="*/ 177 h 265"/>
                <a:gd name="T50" fmla="*/ 249 w 266"/>
                <a:gd name="T51" fmla="*/ 203 h 265"/>
                <a:gd name="T52" fmla="*/ 245 w 266"/>
                <a:gd name="T53" fmla="*/ 220 h 265"/>
                <a:gd name="T54" fmla="*/ 232 w 266"/>
                <a:gd name="T55" fmla="*/ 238 h 265"/>
                <a:gd name="T56" fmla="*/ 207 w 266"/>
                <a:gd name="T57" fmla="*/ 256 h 265"/>
                <a:gd name="T58" fmla="*/ 189 w 266"/>
                <a:gd name="T59" fmla="*/ 263 h 265"/>
                <a:gd name="T60" fmla="*/ 177 w 266"/>
                <a:gd name="T61" fmla="*/ 265 h 265"/>
                <a:gd name="T62" fmla="*/ 164 w 266"/>
                <a:gd name="T63" fmla="*/ 257 h 265"/>
                <a:gd name="T64" fmla="*/ 143 w 266"/>
                <a:gd name="T65" fmla="*/ 238 h 265"/>
                <a:gd name="T66" fmla="*/ 122 w 266"/>
                <a:gd name="T67" fmla="*/ 230 h 265"/>
                <a:gd name="T68" fmla="*/ 116 w 266"/>
                <a:gd name="T69" fmla="*/ 222 h 265"/>
                <a:gd name="T70" fmla="*/ 121 w 266"/>
                <a:gd name="T71" fmla="*/ 212 h 265"/>
                <a:gd name="T72" fmla="*/ 126 w 266"/>
                <a:gd name="T73" fmla="*/ 202 h 265"/>
                <a:gd name="T74" fmla="*/ 126 w 266"/>
                <a:gd name="T75" fmla="*/ 189 h 265"/>
                <a:gd name="T76" fmla="*/ 120 w 266"/>
                <a:gd name="T77" fmla="*/ 180 h 265"/>
                <a:gd name="T78" fmla="*/ 102 w 266"/>
                <a:gd name="T79" fmla="*/ 171 h 265"/>
                <a:gd name="T80" fmla="*/ 80 w 266"/>
                <a:gd name="T81" fmla="*/ 174 h 265"/>
                <a:gd name="T82" fmla="*/ 49 w 266"/>
                <a:gd name="T83" fmla="*/ 176 h 265"/>
                <a:gd name="T84" fmla="*/ 32 w 266"/>
                <a:gd name="T85" fmla="*/ 171 h 265"/>
                <a:gd name="T86" fmla="*/ 25 w 266"/>
                <a:gd name="T87" fmla="*/ 163 h 265"/>
                <a:gd name="T88" fmla="*/ 21 w 266"/>
                <a:gd name="T89" fmla="*/ 154 h 265"/>
                <a:gd name="T90" fmla="*/ 20 w 266"/>
                <a:gd name="T91" fmla="*/ 141 h 265"/>
                <a:gd name="T92" fmla="*/ 20 w 266"/>
                <a:gd name="T93" fmla="*/ 107 h 265"/>
                <a:gd name="T94" fmla="*/ 14 w 266"/>
                <a:gd name="T95" fmla="*/ 97 h 265"/>
                <a:gd name="T96" fmla="*/ 10 w 266"/>
                <a:gd name="T97" fmla="*/ 84 h 265"/>
                <a:gd name="T98" fmla="*/ 7 w 266"/>
                <a:gd name="T99" fmla="*/ 60 h 265"/>
                <a:gd name="T100" fmla="*/ 0 w 266"/>
                <a:gd name="T101" fmla="*/ 46 h 265"/>
                <a:gd name="T102" fmla="*/ 1 w 266"/>
                <a:gd name="T103" fmla="*/ 37 h 265"/>
                <a:gd name="T104" fmla="*/ 8 w 266"/>
                <a:gd name="T105" fmla="*/ 27 h 265"/>
                <a:gd name="T106" fmla="*/ 17 w 266"/>
                <a:gd name="T107" fmla="*/ 26 h 265"/>
                <a:gd name="T108" fmla="*/ 41 w 266"/>
                <a:gd name="T109" fmla="*/ 37 h 265"/>
                <a:gd name="T110" fmla="*/ 59 w 266"/>
                <a:gd name="T111" fmla="*/ 41 h 265"/>
                <a:gd name="T112" fmla="*/ 69 w 266"/>
                <a:gd name="T113" fmla="*/ 36 h 265"/>
                <a:gd name="T114" fmla="*/ 80 w 266"/>
                <a:gd name="T115" fmla="*/ 19 h 265"/>
                <a:gd name="T116" fmla="*/ 91 w 266"/>
                <a:gd name="T117" fmla="*/ 1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265">
                  <a:moveTo>
                    <a:pt x="97" y="7"/>
                  </a:moveTo>
                  <a:lnTo>
                    <a:pt x="97" y="7"/>
                  </a:lnTo>
                  <a:lnTo>
                    <a:pt x="98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5" y="9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2"/>
                  </a:lnTo>
                  <a:lnTo>
                    <a:pt x="112" y="13"/>
                  </a:lnTo>
                  <a:lnTo>
                    <a:pt x="115" y="16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8" y="22"/>
                  </a:lnTo>
                  <a:lnTo>
                    <a:pt x="120" y="26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3" y="37"/>
                  </a:lnTo>
                  <a:lnTo>
                    <a:pt x="125" y="39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3" y="39"/>
                  </a:lnTo>
                  <a:lnTo>
                    <a:pt x="135" y="39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8" y="40"/>
                  </a:lnTo>
                  <a:lnTo>
                    <a:pt x="139" y="41"/>
                  </a:lnTo>
                  <a:lnTo>
                    <a:pt x="140" y="42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3" y="47"/>
                  </a:lnTo>
                  <a:lnTo>
                    <a:pt x="145" y="48"/>
                  </a:lnTo>
                  <a:lnTo>
                    <a:pt x="146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51" y="46"/>
                  </a:lnTo>
                  <a:lnTo>
                    <a:pt x="164" y="29"/>
                  </a:lnTo>
                  <a:lnTo>
                    <a:pt x="166" y="27"/>
                  </a:lnTo>
                  <a:lnTo>
                    <a:pt x="168" y="25"/>
                  </a:lnTo>
                  <a:lnTo>
                    <a:pt x="169" y="23"/>
                  </a:lnTo>
                  <a:lnTo>
                    <a:pt x="172" y="22"/>
                  </a:lnTo>
                  <a:lnTo>
                    <a:pt x="180" y="17"/>
                  </a:lnTo>
                  <a:lnTo>
                    <a:pt x="184" y="14"/>
                  </a:lnTo>
                  <a:lnTo>
                    <a:pt x="189" y="10"/>
                  </a:lnTo>
                  <a:lnTo>
                    <a:pt x="194" y="5"/>
                  </a:lnTo>
                  <a:lnTo>
                    <a:pt x="196" y="3"/>
                  </a:lnTo>
                  <a:lnTo>
                    <a:pt x="199" y="1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4" y="2"/>
                  </a:lnTo>
                  <a:lnTo>
                    <a:pt x="204" y="4"/>
                  </a:lnTo>
                  <a:lnTo>
                    <a:pt x="205" y="7"/>
                  </a:lnTo>
                  <a:lnTo>
                    <a:pt x="206" y="15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9" y="24"/>
                  </a:lnTo>
                  <a:lnTo>
                    <a:pt x="211" y="30"/>
                  </a:lnTo>
                  <a:lnTo>
                    <a:pt x="212" y="32"/>
                  </a:lnTo>
                  <a:lnTo>
                    <a:pt x="213" y="33"/>
                  </a:lnTo>
                  <a:lnTo>
                    <a:pt x="220" y="39"/>
                  </a:lnTo>
                  <a:lnTo>
                    <a:pt x="224" y="43"/>
                  </a:lnTo>
                  <a:lnTo>
                    <a:pt x="226" y="46"/>
                  </a:lnTo>
                  <a:lnTo>
                    <a:pt x="227" y="48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9" y="55"/>
                  </a:lnTo>
                  <a:lnTo>
                    <a:pt x="229" y="57"/>
                  </a:lnTo>
                  <a:lnTo>
                    <a:pt x="228" y="60"/>
                  </a:lnTo>
                  <a:lnTo>
                    <a:pt x="227" y="62"/>
                  </a:lnTo>
                  <a:lnTo>
                    <a:pt x="225" y="65"/>
                  </a:lnTo>
                  <a:lnTo>
                    <a:pt x="223" y="67"/>
                  </a:lnTo>
                  <a:lnTo>
                    <a:pt x="217" y="73"/>
                  </a:lnTo>
                  <a:lnTo>
                    <a:pt x="210" y="80"/>
                  </a:lnTo>
                  <a:lnTo>
                    <a:pt x="208" y="82"/>
                  </a:lnTo>
                  <a:lnTo>
                    <a:pt x="206" y="85"/>
                  </a:lnTo>
                  <a:lnTo>
                    <a:pt x="205" y="87"/>
                  </a:lnTo>
                  <a:lnTo>
                    <a:pt x="204" y="90"/>
                  </a:lnTo>
                  <a:lnTo>
                    <a:pt x="203" y="92"/>
                  </a:lnTo>
                  <a:lnTo>
                    <a:pt x="202" y="95"/>
                  </a:lnTo>
                  <a:lnTo>
                    <a:pt x="202" y="97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3" y="102"/>
                  </a:lnTo>
                  <a:lnTo>
                    <a:pt x="204" y="104"/>
                  </a:lnTo>
                  <a:lnTo>
                    <a:pt x="205" y="105"/>
                  </a:lnTo>
                  <a:lnTo>
                    <a:pt x="207" y="107"/>
                  </a:lnTo>
                  <a:lnTo>
                    <a:pt x="213" y="111"/>
                  </a:lnTo>
                  <a:lnTo>
                    <a:pt x="220" y="116"/>
                  </a:lnTo>
                  <a:lnTo>
                    <a:pt x="227" y="122"/>
                  </a:lnTo>
                  <a:lnTo>
                    <a:pt x="231" y="126"/>
                  </a:lnTo>
                  <a:lnTo>
                    <a:pt x="238" y="132"/>
                  </a:lnTo>
                  <a:lnTo>
                    <a:pt x="239" y="134"/>
                  </a:lnTo>
                  <a:lnTo>
                    <a:pt x="240" y="134"/>
                  </a:lnTo>
                  <a:lnTo>
                    <a:pt x="240" y="135"/>
                  </a:lnTo>
                  <a:lnTo>
                    <a:pt x="240" y="137"/>
                  </a:lnTo>
                  <a:lnTo>
                    <a:pt x="239" y="137"/>
                  </a:lnTo>
                  <a:lnTo>
                    <a:pt x="239" y="139"/>
                  </a:lnTo>
                  <a:lnTo>
                    <a:pt x="236" y="143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49"/>
                  </a:lnTo>
                  <a:lnTo>
                    <a:pt x="234" y="150"/>
                  </a:lnTo>
                  <a:lnTo>
                    <a:pt x="234" y="152"/>
                  </a:lnTo>
                  <a:lnTo>
                    <a:pt x="236" y="154"/>
                  </a:lnTo>
                  <a:lnTo>
                    <a:pt x="238" y="157"/>
                  </a:lnTo>
                  <a:lnTo>
                    <a:pt x="240" y="159"/>
                  </a:lnTo>
                  <a:lnTo>
                    <a:pt x="243" y="162"/>
                  </a:lnTo>
                  <a:lnTo>
                    <a:pt x="246" y="163"/>
                  </a:lnTo>
                  <a:lnTo>
                    <a:pt x="254" y="166"/>
                  </a:lnTo>
                  <a:lnTo>
                    <a:pt x="257" y="167"/>
                  </a:lnTo>
                  <a:lnTo>
                    <a:pt x="259" y="169"/>
                  </a:lnTo>
                  <a:lnTo>
                    <a:pt x="264" y="172"/>
                  </a:lnTo>
                  <a:lnTo>
                    <a:pt x="265" y="173"/>
                  </a:lnTo>
                  <a:lnTo>
                    <a:pt x="266" y="173"/>
                  </a:lnTo>
                  <a:lnTo>
                    <a:pt x="265" y="174"/>
                  </a:lnTo>
                  <a:lnTo>
                    <a:pt x="263" y="177"/>
                  </a:lnTo>
                  <a:lnTo>
                    <a:pt x="259" y="184"/>
                  </a:lnTo>
                  <a:lnTo>
                    <a:pt x="255" y="189"/>
                  </a:lnTo>
                  <a:lnTo>
                    <a:pt x="253" y="194"/>
                  </a:lnTo>
                  <a:lnTo>
                    <a:pt x="250" y="199"/>
                  </a:lnTo>
                  <a:lnTo>
                    <a:pt x="249" y="203"/>
                  </a:lnTo>
                  <a:lnTo>
                    <a:pt x="248" y="207"/>
                  </a:lnTo>
                  <a:lnTo>
                    <a:pt x="247" y="211"/>
                  </a:lnTo>
                  <a:lnTo>
                    <a:pt x="247" y="217"/>
                  </a:lnTo>
                  <a:lnTo>
                    <a:pt x="246" y="219"/>
                  </a:lnTo>
                  <a:lnTo>
                    <a:pt x="245" y="220"/>
                  </a:lnTo>
                  <a:lnTo>
                    <a:pt x="244" y="224"/>
                  </a:lnTo>
                  <a:lnTo>
                    <a:pt x="242" y="227"/>
                  </a:lnTo>
                  <a:lnTo>
                    <a:pt x="239" y="231"/>
                  </a:lnTo>
                  <a:lnTo>
                    <a:pt x="237" y="234"/>
                  </a:lnTo>
                  <a:lnTo>
                    <a:pt x="232" y="238"/>
                  </a:lnTo>
                  <a:lnTo>
                    <a:pt x="227" y="242"/>
                  </a:lnTo>
                  <a:lnTo>
                    <a:pt x="224" y="244"/>
                  </a:lnTo>
                  <a:lnTo>
                    <a:pt x="216" y="249"/>
                  </a:lnTo>
                  <a:lnTo>
                    <a:pt x="213" y="251"/>
                  </a:lnTo>
                  <a:lnTo>
                    <a:pt x="207" y="256"/>
                  </a:lnTo>
                  <a:lnTo>
                    <a:pt x="206" y="257"/>
                  </a:lnTo>
                  <a:lnTo>
                    <a:pt x="204" y="257"/>
                  </a:lnTo>
                  <a:lnTo>
                    <a:pt x="202" y="259"/>
                  </a:lnTo>
                  <a:lnTo>
                    <a:pt x="195" y="261"/>
                  </a:lnTo>
                  <a:lnTo>
                    <a:pt x="189" y="263"/>
                  </a:lnTo>
                  <a:lnTo>
                    <a:pt x="187" y="264"/>
                  </a:lnTo>
                  <a:lnTo>
                    <a:pt x="184" y="264"/>
                  </a:lnTo>
                  <a:lnTo>
                    <a:pt x="182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4"/>
                  </a:lnTo>
                  <a:lnTo>
                    <a:pt x="173" y="264"/>
                  </a:lnTo>
                  <a:lnTo>
                    <a:pt x="170" y="262"/>
                  </a:lnTo>
                  <a:lnTo>
                    <a:pt x="167" y="260"/>
                  </a:lnTo>
                  <a:lnTo>
                    <a:pt x="164" y="257"/>
                  </a:lnTo>
                  <a:lnTo>
                    <a:pt x="156" y="249"/>
                  </a:lnTo>
                  <a:lnTo>
                    <a:pt x="153" y="245"/>
                  </a:lnTo>
                  <a:lnTo>
                    <a:pt x="150" y="242"/>
                  </a:lnTo>
                  <a:lnTo>
                    <a:pt x="146" y="239"/>
                  </a:lnTo>
                  <a:lnTo>
                    <a:pt x="143" y="238"/>
                  </a:lnTo>
                  <a:lnTo>
                    <a:pt x="140" y="237"/>
                  </a:lnTo>
                  <a:lnTo>
                    <a:pt x="136" y="235"/>
                  </a:lnTo>
                  <a:lnTo>
                    <a:pt x="127" y="233"/>
                  </a:lnTo>
                  <a:lnTo>
                    <a:pt x="124" y="232"/>
                  </a:lnTo>
                  <a:lnTo>
                    <a:pt x="122" y="230"/>
                  </a:lnTo>
                  <a:lnTo>
                    <a:pt x="120" y="229"/>
                  </a:lnTo>
                  <a:lnTo>
                    <a:pt x="119" y="228"/>
                  </a:lnTo>
                  <a:lnTo>
                    <a:pt x="117" y="227"/>
                  </a:lnTo>
                  <a:lnTo>
                    <a:pt x="117" y="224"/>
                  </a:lnTo>
                  <a:lnTo>
                    <a:pt x="116" y="222"/>
                  </a:lnTo>
                  <a:lnTo>
                    <a:pt x="116" y="220"/>
                  </a:lnTo>
                  <a:lnTo>
                    <a:pt x="116" y="219"/>
                  </a:lnTo>
                  <a:lnTo>
                    <a:pt x="117" y="217"/>
                  </a:lnTo>
                  <a:lnTo>
                    <a:pt x="117" y="216"/>
                  </a:lnTo>
                  <a:lnTo>
                    <a:pt x="121" y="212"/>
                  </a:lnTo>
                  <a:lnTo>
                    <a:pt x="122" y="210"/>
                  </a:lnTo>
                  <a:lnTo>
                    <a:pt x="124" y="209"/>
                  </a:lnTo>
                  <a:lnTo>
                    <a:pt x="125" y="207"/>
                  </a:lnTo>
                  <a:lnTo>
                    <a:pt x="125" y="204"/>
                  </a:lnTo>
                  <a:lnTo>
                    <a:pt x="126" y="202"/>
                  </a:lnTo>
                  <a:lnTo>
                    <a:pt x="127" y="199"/>
                  </a:lnTo>
                  <a:lnTo>
                    <a:pt x="127" y="197"/>
                  </a:lnTo>
                  <a:lnTo>
                    <a:pt x="127" y="194"/>
                  </a:lnTo>
                  <a:lnTo>
                    <a:pt x="127" y="191"/>
                  </a:lnTo>
                  <a:lnTo>
                    <a:pt x="126" y="189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3" y="184"/>
                  </a:lnTo>
                  <a:lnTo>
                    <a:pt x="122" y="182"/>
                  </a:lnTo>
                  <a:lnTo>
                    <a:pt x="120" y="180"/>
                  </a:lnTo>
                  <a:lnTo>
                    <a:pt x="112" y="174"/>
                  </a:lnTo>
                  <a:lnTo>
                    <a:pt x="108" y="173"/>
                  </a:lnTo>
                  <a:lnTo>
                    <a:pt x="107" y="172"/>
                  </a:lnTo>
                  <a:lnTo>
                    <a:pt x="105" y="172"/>
                  </a:lnTo>
                  <a:lnTo>
                    <a:pt x="102" y="171"/>
                  </a:lnTo>
                  <a:lnTo>
                    <a:pt x="100" y="171"/>
                  </a:lnTo>
                  <a:lnTo>
                    <a:pt x="95" y="171"/>
                  </a:lnTo>
                  <a:lnTo>
                    <a:pt x="92" y="171"/>
                  </a:lnTo>
                  <a:lnTo>
                    <a:pt x="90" y="172"/>
                  </a:lnTo>
                  <a:lnTo>
                    <a:pt x="80" y="174"/>
                  </a:lnTo>
                  <a:lnTo>
                    <a:pt x="76" y="174"/>
                  </a:lnTo>
                  <a:lnTo>
                    <a:pt x="70" y="175"/>
                  </a:lnTo>
                  <a:lnTo>
                    <a:pt x="60" y="176"/>
                  </a:lnTo>
                  <a:lnTo>
                    <a:pt x="53" y="176"/>
                  </a:lnTo>
                  <a:lnTo>
                    <a:pt x="49" y="176"/>
                  </a:lnTo>
                  <a:lnTo>
                    <a:pt x="45" y="175"/>
                  </a:lnTo>
                  <a:lnTo>
                    <a:pt x="40" y="174"/>
                  </a:lnTo>
                  <a:lnTo>
                    <a:pt x="35" y="172"/>
                  </a:lnTo>
                  <a:lnTo>
                    <a:pt x="33" y="172"/>
                  </a:lnTo>
                  <a:lnTo>
                    <a:pt x="32" y="171"/>
                  </a:lnTo>
                  <a:lnTo>
                    <a:pt x="30" y="169"/>
                  </a:lnTo>
                  <a:lnTo>
                    <a:pt x="29" y="168"/>
                  </a:lnTo>
                  <a:lnTo>
                    <a:pt x="27" y="167"/>
                  </a:lnTo>
                  <a:lnTo>
                    <a:pt x="26" y="165"/>
                  </a:lnTo>
                  <a:lnTo>
                    <a:pt x="25" y="163"/>
                  </a:lnTo>
                  <a:lnTo>
                    <a:pt x="24" y="162"/>
                  </a:lnTo>
                  <a:lnTo>
                    <a:pt x="23" y="160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1" y="154"/>
                  </a:lnTo>
                  <a:lnTo>
                    <a:pt x="21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0" y="147"/>
                  </a:lnTo>
                  <a:lnTo>
                    <a:pt x="20" y="141"/>
                  </a:lnTo>
                  <a:lnTo>
                    <a:pt x="20" y="136"/>
                  </a:lnTo>
                  <a:lnTo>
                    <a:pt x="20" y="125"/>
                  </a:lnTo>
                  <a:lnTo>
                    <a:pt x="20" y="121"/>
                  </a:lnTo>
                  <a:lnTo>
                    <a:pt x="20" y="114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5" y="100"/>
                  </a:lnTo>
                  <a:lnTo>
                    <a:pt x="14" y="97"/>
                  </a:lnTo>
                  <a:lnTo>
                    <a:pt x="12" y="95"/>
                  </a:lnTo>
                  <a:lnTo>
                    <a:pt x="12" y="92"/>
                  </a:lnTo>
                  <a:lnTo>
                    <a:pt x="11" y="90"/>
                  </a:lnTo>
                  <a:lnTo>
                    <a:pt x="10" y="87"/>
                  </a:lnTo>
                  <a:lnTo>
                    <a:pt x="10" y="84"/>
                  </a:lnTo>
                  <a:lnTo>
                    <a:pt x="10" y="72"/>
                  </a:lnTo>
                  <a:lnTo>
                    <a:pt x="9" y="68"/>
                  </a:lnTo>
                  <a:lnTo>
                    <a:pt x="8" y="65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5" y="57"/>
                  </a:lnTo>
                  <a:lnTo>
                    <a:pt x="1" y="52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1" y="37"/>
                  </a:lnTo>
                  <a:lnTo>
                    <a:pt x="2" y="34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22" y="28"/>
                  </a:lnTo>
                  <a:lnTo>
                    <a:pt x="25" y="29"/>
                  </a:lnTo>
                  <a:lnTo>
                    <a:pt x="33" y="34"/>
                  </a:lnTo>
                  <a:lnTo>
                    <a:pt x="41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5" y="40"/>
                  </a:lnTo>
                  <a:lnTo>
                    <a:pt x="59" y="41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5" y="40"/>
                  </a:lnTo>
                  <a:lnTo>
                    <a:pt x="67" y="38"/>
                  </a:lnTo>
                  <a:lnTo>
                    <a:pt x="69" y="36"/>
                  </a:lnTo>
                  <a:lnTo>
                    <a:pt x="71" y="34"/>
                  </a:lnTo>
                  <a:lnTo>
                    <a:pt x="72" y="32"/>
                  </a:lnTo>
                  <a:lnTo>
                    <a:pt x="74" y="30"/>
                  </a:lnTo>
                  <a:lnTo>
                    <a:pt x="77" y="22"/>
                  </a:lnTo>
                  <a:lnTo>
                    <a:pt x="80" y="19"/>
                  </a:lnTo>
                  <a:lnTo>
                    <a:pt x="81" y="17"/>
                  </a:lnTo>
                  <a:lnTo>
                    <a:pt x="83" y="15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7" y="7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id="{405974E7-1E2D-CC87-C826-00CFB9057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108">
              <a:extLst>
                <a:ext uri="{FF2B5EF4-FFF2-40B4-BE49-F238E27FC236}">
                  <a16:creationId xmlns:a16="http://schemas.microsoft.com/office/drawing/2014/main" id="{883202EE-4E85-9DDA-8AF3-F4B40EBE0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110">
              <a:extLst>
                <a:ext uri="{FF2B5EF4-FFF2-40B4-BE49-F238E27FC236}">
                  <a16:creationId xmlns:a16="http://schemas.microsoft.com/office/drawing/2014/main" id="{3A0F8B92-C0BD-6EEB-3BBB-FE6A538C9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solidFill>
              <a:srgbClr val="BC8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191">
              <a:extLst>
                <a:ext uri="{FF2B5EF4-FFF2-40B4-BE49-F238E27FC236}">
                  <a16:creationId xmlns:a16="http://schemas.microsoft.com/office/drawing/2014/main" id="{110F1A47-246B-3C64-D21D-66C5B9D48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3324" y="1911613"/>
              <a:ext cx="134652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</a:p>
          </p:txBody>
        </p:sp>
        <p:sp>
          <p:nvSpPr>
            <p:cNvPr id="63" name="Rectangle 207">
              <a:extLst>
                <a:ext uri="{FF2B5EF4-FFF2-40B4-BE49-F238E27FC236}">
                  <a16:creationId xmlns:a16="http://schemas.microsoft.com/office/drawing/2014/main" id="{B5806484-5D63-7BA0-D1FC-85B01DEC9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93" y="793275"/>
              <a:ext cx="131446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C</a:t>
              </a:r>
            </a:p>
          </p:txBody>
        </p:sp>
        <p:sp>
          <p:nvSpPr>
            <p:cNvPr id="128" name="Rectangle 210">
              <a:extLst>
                <a:ext uri="{FF2B5EF4-FFF2-40B4-BE49-F238E27FC236}">
                  <a16:creationId xmlns:a16="http://schemas.microsoft.com/office/drawing/2014/main" id="{29CA186C-4686-754F-AA25-CD222B4430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8998" y="512088"/>
              <a:ext cx="129844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S</a:t>
              </a:r>
            </a:p>
          </p:txBody>
        </p:sp>
        <p:sp>
          <p:nvSpPr>
            <p:cNvPr id="132" name="Rectangle 218">
              <a:extLst>
                <a:ext uri="{FF2B5EF4-FFF2-40B4-BE49-F238E27FC236}">
                  <a16:creationId xmlns:a16="http://schemas.microsoft.com/office/drawing/2014/main" id="{E0002D43-4B3E-524E-CE72-D3294006E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029" y="1281154"/>
              <a:ext cx="110608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J</a:t>
              </a:r>
            </a:p>
          </p:txBody>
        </p:sp>
        <p:sp>
          <p:nvSpPr>
            <p:cNvPr id="133" name="Rectangle 225">
              <a:extLst>
                <a:ext uri="{FF2B5EF4-FFF2-40B4-BE49-F238E27FC236}">
                  <a16:creationId xmlns:a16="http://schemas.microsoft.com/office/drawing/2014/main" id="{74B31312-AF5E-B6E8-D0C9-7E54A1730E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346" y="1428412"/>
              <a:ext cx="166712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</a:t>
              </a:r>
            </a:p>
          </p:txBody>
        </p:sp>
        <p:sp>
          <p:nvSpPr>
            <p:cNvPr id="134" name="Rectangle 249">
              <a:extLst>
                <a:ext uri="{FF2B5EF4-FFF2-40B4-BE49-F238E27FC236}">
                  <a16:creationId xmlns:a16="http://schemas.microsoft.com/office/drawing/2014/main" id="{4E868E8D-A42D-E332-EEA7-D40025D87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603" y="703241"/>
              <a:ext cx="158698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</a:t>
              </a:r>
            </a:p>
          </p:txBody>
        </p:sp>
        <p:sp>
          <p:nvSpPr>
            <p:cNvPr id="136" name="Rectangle 264">
              <a:extLst>
                <a:ext uri="{FF2B5EF4-FFF2-40B4-BE49-F238E27FC236}">
                  <a16:creationId xmlns:a16="http://schemas.microsoft.com/office/drawing/2014/main" id="{3F1D3C26-37E5-F2C7-149B-B03D1834E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2193" y="894448"/>
              <a:ext cx="181140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12858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25C584A9-EC5A-9BC5-016F-F7EA640C81CD}"/>
              </a:ext>
            </a:extLst>
          </p:cNvPr>
          <p:cNvSpPr/>
          <p:nvPr/>
        </p:nvSpPr>
        <p:spPr>
          <a:xfrm>
            <a:off x="498603" y="1218421"/>
            <a:ext cx="7341805" cy="176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zhoubných novotvarů v letech 2019–2023: srovnání PLK a ČR</a:t>
            </a:r>
            <a:br>
              <a:rPr lang="cs-CZ" dirty="0"/>
            </a:br>
            <a:endParaRPr lang="cs-CZ" dirty="0"/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931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zemřelých s onemocněním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5901183" y="3014815"/>
          <a:ext cx="5714117" cy="1219200"/>
        </p:xfrm>
        <a:graphic>
          <a:graphicData uri="http://schemas.openxmlformats.org/drawingml/2006/table">
            <a:tbl>
              <a:tblPr/>
              <a:tblGrid>
                <a:gridCol w="3987979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863069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863069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33, C34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85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33, C34 ročně na 100 000 osob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1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9034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3925" y="849915"/>
            <a:ext cx="26615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43600" y="2408305"/>
            <a:ext cx="107950" cy="107950"/>
          </a:xfrm>
          <a:prstGeom prst="rect">
            <a:avLst/>
          </a:prstGeom>
          <a:solidFill>
            <a:srgbClr val="858585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43600" y="2238933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96000" y="2193292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zeň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graphicFrame>
        <p:nvGraphicFramePr>
          <p:cNvPr id="6" name="Object 35">
            <a:extLst>
              <a:ext uri="{FF2B5EF4-FFF2-40B4-BE49-F238E27FC236}">
                <a16:creationId xmlns:a16="http://schemas.microsoft.com/office/drawing/2014/main" id="{972266D8-440D-9C15-AA99-E160C2030BBE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7" name="Group 91">
            <a:extLst>
              <a:ext uri="{FF2B5EF4-FFF2-40B4-BE49-F238E27FC236}">
                <a16:creationId xmlns:a16="http://schemas.microsoft.com/office/drawing/2014/main" id="{62659B86-52D3-324B-BAB8-4EFD29BCC2EA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1038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Epidemiologie nádorů prsu a onkologická léčba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2543925-3314-FC7D-5A63-1A33CD0F4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63946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Nadpis 138">
            <a:extLst>
              <a:ext uri="{FF2B5EF4-FFF2-40B4-BE49-F238E27FC236}">
                <a16:creationId xmlns:a16="http://schemas.microsoft.com/office/drawing/2014/main" id="{6839B9D1-D146-07B7-88E2-886672E6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</a:t>
            </a:r>
            <a:r>
              <a:rPr lang="es-ES" dirty="0"/>
              <a:t>ZN </a:t>
            </a:r>
            <a:r>
              <a:rPr lang="cs-CZ" dirty="0"/>
              <a:t>průdušnice, průdušky a plíce </a:t>
            </a:r>
            <a:r>
              <a:rPr lang="es-ES" dirty="0"/>
              <a:t>(C</a:t>
            </a:r>
            <a:r>
              <a:rPr lang="cs-CZ" dirty="0"/>
              <a:t>33, C34</a:t>
            </a:r>
            <a:r>
              <a:rPr lang="es-ES" dirty="0"/>
              <a:t>)</a:t>
            </a:r>
            <a:br>
              <a:rPr lang="es-ES" dirty="0"/>
            </a:br>
            <a:endParaRPr lang="cs-CZ" dirty="0"/>
          </a:p>
        </p:txBody>
      </p:sp>
      <p:graphicFrame>
        <p:nvGraphicFramePr>
          <p:cNvPr id="36" name="Object 123">
            <a:extLst>
              <a:ext uri="{FF2B5EF4-FFF2-40B4-BE49-F238E27FC236}">
                <a16:creationId xmlns:a16="http://schemas.microsoft.com/office/drawing/2014/main" id="{3C877F9B-0772-2307-4A69-A6BC69F9DD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01106" y="1911300"/>
          <a:ext cx="4122000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97801" y="1833771"/>
          <a:ext cx="1931064" cy="24840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998859" y="3547350"/>
            <a:ext cx="27715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osob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9670" y="3622369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,2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16861" y="1026669"/>
            <a:ext cx="35748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oso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89670" y="3494341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,2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8C8C8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zeň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858585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8281" y="468586"/>
            <a:ext cx="3720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, Český statistický úřad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aphicFrame>
        <p:nvGraphicFramePr>
          <p:cNvPr id="42" name="Object 16">
            <a:extLst>
              <a:ext uri="{FF2B5EF4-FFF2-40B4-BE49-F238E27FC236}">
                <a16:creationId xmlns:a16="http://schemas.microsoft.com/office/drawing/2014/main" id="{02F703FC-0E33-607B-7EAD-913892D77A8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6449966" y="4396196"/>
          <a:ext cx="2311760" cy="2039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A8A8A8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59595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828282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D1D1D1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0" name="Group 110">
            <a:extLst>
              <a:ext uri="{FF2B5EF4-FFF2-40B4-BE49-F238E27FC236}">
                <a16:creationId xmlns:a16="http://schemas.microsoft.com/office/drawing/2014/main" id="{A9C1A962-4C00-B40E-D34E-FC6A7C5DEC32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4597801" y="4721322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734587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5E26F96F-505C-FFD6-29C3-39D1FE31CF9C}"/>
              </a:ext>
            </a:extLst>
          </p:cNvPr>
          <p:cNvSpPr txBox="1"/>
          <p:nvPr/>
        </p:nvSpPr>
        <p:spPr>
          <a:xfrm rot="18828707">
            <a:off x="4211261" y="5337702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BBD31A-36D6-F23E-A804-6FD08B60CFDD}"/>
              </a:ext>
            </a:extLst>
          </p:cNvPr>
          <p:cNvGrpSpPr/>
          <p:nvPr/>
        </p:nvGrpSpPr>
        <p:grpSpPr>
          <a:xfrm>
            <a:off x="10951469" y="4605461"/>
            <a:ext cx="920040" cy="839147"/>
            <a:chOff x="5368539" y="5686843"/>
            <a:chExt cx="920040" cy="839147"/>
          </a:xfrm>
        </p:grpSpPr>
        <p:sp>
          <p:nvSpPr>
            <p:cNvPr id="29" name="Text Box 58">
              <a:extLst>
                <a:ext uri="{FF2B5EF4-FFF2-40B4-BE49-F238E27FC236}">
                  <a16:creationId xmlns:a16="http://schemas.microsoft.com/office/drawing/2014/main" id="{23968A25-6290-638F-DB6D-021B3B98B2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30" name="Rectangle 56">
              <a:extLst>
                <a:ext uri="{FF2B5EF4-FFF2-40B4-BE49-F238E27FC236}">
                  <a16:creationId xmlns:a16="http://schemas.microsoft.com/office/drawing/2014/main" id="{3596278E-D756-C4AE-F079-4525B4B4B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Rectangle 56">
              <a:extLst>
                <a:ext uri="{FF2B5EF4-FFF2-40B4-BE49-F238E27FC236}">
                  <a16:creationId xmlns:a16="http://schemas.microsoft.com/office/drawing/2014/main" id="{A58FA8A1-CED0-3FE7-6845-392B4DDE4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" name="Rectangle 56">
              <a:extLst>
                <a:ext uri="{FF2B5EF4-FFF2-40B4-BE49-F238E27FC236}">
                  <a16:creationId xmlns:a16="http://schemas.microsoft.com/office/drawing/2014/main" id="{CAF9CB6C-CE4F-CF17-65DA-06469F6F4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" name="Rectangle 56">
              <a:extLst>
                <a:ext uri="{FF2B5EF4-FFF2-40B4-BE49-F238E27FC236}">
                  <a16:creationId xmlns:a16="http://schemas.microsoft.com/office/drawing/2014/main" id="{DC9AE77A-2676-9579-EF5B-58879F360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59595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8CCC63C0-FE1D-0CBD-3A3B-5BE47669337A}"/>
              </a:ext>
            </a:extLst>
          </p:cNvPr>
          <p:cNvGrpSpPr>
            <a:grpSpLocks noChangeAspect="1"/>
          </p:cNvGrpSpPr>
          <p:nvPr/>
        </p:nvGrpSpPr>
        <p:grpSpPr>
          <a:xfrm>
            <a:off x="8955157" y="4391856"/>
            <a:ext cx="1617371" cy="2031177"/>
            <a:chOff x="4041462" y="133955"/>
            <a:chExt cx="2035175" cy="2555875"/>
          </a:xfrm>
          <a:solidFill>
            <a:srgbClr val="FFCC29"/>
          </a:solidFill>
        </p:grpSpPr>
        <p:sp>
          <p:nvSpPr>
            <p:cNvPr id="22" name="Freeform 104">
              <a:extLst>
                <a:ext uri="{FF2B5EF4-FFF2-40B4-BE49-F238E27FC236}">
                  <a16:creationId xmlns:a16="http://schemas.microsoft.com/office/drawing/2014/main" id="{292A3B44-897F-549F-6AF8-270FDDCA2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C6C2BA96-DCB0-AFE0-3E92-AE39E583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08">
              <a:extLst>
                <a:ext uri="{FF2B5EF4-FFF2-40B4-BE49-F238E27FC236}">
                  <a16:creationId xmlns:a16="http://schemas.microsoft.com/office/drawing/2014/main" id="{DB00D3C2-981F-B960-301E-04DEF317C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09">
              <a:extLst>
                <a:ext uri="{FF2B5EF4-FFF2-40B4-BE49-F238E27FC236}">
                  <a16:creationId xmlns:a16="http://schemas.microsoft.com/office/drawing/2014/main" id="{501A0037-2819-3AC5-E71E-6A14A8E79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09">
              <a:extLst>
                <a:ext uri="{FF2B5EF4-FFF2-40B4-BE49-F238E27FC236}">
                  <a16:creationId xmlns:a16="http://schemas.microsoft.com/office/drawing/2014/main" id="{9AC9A023-E81B-0C02-4E25-9BEFEC30A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07">
              <a:extLst>
                <a:ext uri="{FF2B5EF4-FFF2-40B4-BE49-F238E27FC236}">
                  <a16:creationId xmlns:a16="http://schemas.microsoft.com/office/drawing/2014/main" id="{F6415A3D-1025-AAAA-63DC-A83057963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ACAAF0AF-6D8A-C627-AE7C-2E2E43C8F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5">
              <a:extLst>
                <a:ext uri="{FF2B5EF4-FFF2-40B4-BE49-F238E27FC236}">
                  <a16:creationId xmlns:a16="http://schemas.microsoft.com/office/drawing/2014/main" id="{BF0C05EE-6C74-EC1C-E541-4B68EBAEF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04">
              <a:extLst>
                <a:ext uri="{FF2B5EF4-FFF2-40B4-BE49-F238E27FC236}">
                  <a16:creationId xmlns:a16="http://schemas.microsoft.com/office/drawing/2014/main" id="{978E6BD7-343E-51B9-50B8-66F74204B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06">
              <a:extLst>
                <a:ext uri="{FF2B5EF4-FFF2-40B4-BE49-F238E27FC236}">
                  <a16:creationId xmlns:a16="http://schemas.microsoft.com/office/drawing/2014/main" id="{9B0B51E1-C712-BEA6-3FEF-48F2D36CE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474" y="781655"/>
              <a:ext cx="422275" cy="420688"/>
            </a:xfrm>
            <a:custGeom>
              <a:avLst/>
              <a:gdLst>
                <a:gd name="T0" fmla="*/ 103 w 266"/>
                <a:gd name="T1" fmla="*/ 7 h 265"/>
                <a:gd name="T2" fmla="*/ 112 w 266"/>
                <a:gd name="T3" fmla="*/ 13 h 265"/>
                <a:gd name="T4" fmla="*/ 120 w 266"/>
                <a:gd name="T5" fmla="*/ 26 h 265"/>
                <a:gd name="T6" fmla="*/ 127 w 266"/>
                <a:gd name="T7" fmla="*/ 40 h 265"/>
                <a:gd name="T8" fmla="*/ 135 w 266"/>
                <a:gd name="T9" fmla="*/ 39 h 265"/>
                <a:gd name="T10" fmla="*/ 140 w 266"/>
                <a:gd name="T11" fmla="*/ 42 h 265"/>
                <a:gd name="T12" fmla="*/ 145 w 266"/>
                <a:gd name="T13" fmla="*/ 48 h 265"/>
                <a:gd name="T14" fmla="*/ 150 w 266"/>
                <a:gd name="T15" fmla="*/ 47 h 265"/>
                <a:gd name="T16" fmla="*/ 169 w 266"/>
                <a:gd name="T17" fmla="*/ 23 h 265"/>
                <a:gd name="T18" fmla="*/ 194 w 266"/>
                <a:gd name="T19" fmla="*/ 5 h 265"/>
                <a:gd name="T20" fmla="*/ 202 w 266"/>
                <a:gd name="T21" fmla="*/ 0 h 265"/>
                <a:gd name="T22" fmla="*/ 205 w 266"/>
                <a:gd name="T23" fmla="*/ 7 h 265"/>
                <a:gd name="T24" fmla="*/ 211 w 266"/>
                <a:gd name="T25" fmla="*/ 30 h 265"/>
                <a:gd name="T26" fmla="*/ 226 w 266"/>
                <a:gd name="T27" fmla="*/ 46 h 265"/>
                <a:gd name="T28" fmla="*/ 229 w 266"/>
                <a:gd name="T29" fmla="*/ 57 h 265"/>
                <a:gd name="T30" fmla="*/ 217 w 266"/>
                <a:gd name="T31" fmla="*/ 73 h 265"/>
                <a:gd name="T32" fmla="*/ 204 w 266"/>
                <a:gd name="T33" fmla="*/ 90 h 265"/>
                <a:gd name="T34" fmla="*/ 202 w 266"/>
                <a:gd name="T35" fmla="*/ 100 h 265"/>
                <a:gd name="T36" fmla="*/ 213 w 266"/>
                <a:gd name="T37" fmla="*/ 111 h 265"/>
                <a:gd name="T38" fmla="*/ 239 w 266"/>
                <a:gd name="T39" fmla="*/ 134 h 265"/>
                <a:gd name="T40" fmla="*/ 239 w 266"/>
                <a:gd name="T41" fmla="*/ 139 h 265"/>
                <a:gd name="T42" fmla="*/ 234 w 266"/>
                <a:gd name="T43" fmla="*/ 149 h 265"/>
                <a:gd name="T44" fmla="*/ 240 w 266"/>
                <a:gd name="T45" fmla="*/ 159 h 265"/>
                <a:gd name="T46" fmla="*/ 259 w 266"/>
                <a:gd name="T47" fmla="*/ 169 h 265"/>
                <a:gd name="T48" fmla="*/ 263 w 266"/>
                <a:gd name="T49" fmla="*/ 177 h 265"/>
                <a:gd name="T50" fmla="*/ 249 w 266"/>
                <a:gd name="T51" fmla="*/ 203 h 265"/>
                <a:gd name="T52" fmla="*/ 245 w 266"/>
                <a:gd name="T53" fmla="*/ 220 h 265"/>
                <a:gd name="T54" fmla="*/ 232 w 266"/>
                <a:gd name="T55" fmla="*/ 238 h 265"/>
                <a:gd name="T56" fmla="*/ 207 w 266"/>
                <a:gd name="T57" fmla="*/ 256 h 265"/>
                <a:gd name="T58" fmla="*/ 189 w 266"/>
                <a:gd name="T59" fmla="*/ 263 h 265"/>
                <a:gd name="T60" fmla="*/ 177 w 266"/>
                <a:gd name="T61" fmla="*/ 265 h 265"/>
                <a:gd name="T62" fmla="*/ 164 w 266"/>
                <a:gd name="T63" fmla="*/ 257 h 265"/>
                <a:gd name="T64" fmla="*/ 143 w 266"/>
                <a:gd name="T65" fmla="*/ 238 h 265"/>
                <a:gd name="T66" fmla="*/ 122 w 266"/>
                <a:gd name="T67" fmla="*/ 230 h 265"/>
                <a:gd name="T68" fmla="*/ 116 w 266"/>
                <a:gd name="T69" fmla="*/ 222 h 265"/>
                <a:gd name="T70" fmla="*/ 121 w 266"/>
                <a:gd name="T71" fmla="*/ 212 h 265"/>
                <a:gd name="T72" fmla="*/ 126 w 266"/>
                <a:gd name="T73" fmla="*/ 202 h 265"/>
                <a:gd name="T74" fmla="*/ 126 w 266"/>
                <a:gd name="T75" fmla="*/ 189 h 265"/>
                <a:gd name="T76" fmla="*/ 120 w 266"/>
                <a:gd name="T77" fmla="*/ 180 h 265"/>
                <a:gd name="T78" fmla="*/ 102 w 266"/>
                <a:gd name="T79" fmla="*/ 171 h 265"/>
                <a:gd name="T80" fmla="*/ 80 w 266"/>
                <a:gd name="T81" fmla="*/ 174 h 265"/>
                <a:gd name="T82" fmla="*/ 49 w 266"/>
                <a:gd name="T83" fmla="*/ 176 h 265"/>
                <a:gd name="T84" fmla="*/ 32 w 266"/>
                <a:gd name="T85" fmla="*/ 171 h 265"/>
                <a:gd name="T86" fmla="*/ 25 w 266"/>
                <a:gd name="T87" fmla="*/ 163 h 265"/>
                <a:gd name="T88" fmla="*/ 21 w 266"/>
                <a:gd name="T89" fmla="*/ 154 h 265"/>
                <a:gd name="T90" fmla="*/ 20 w 266"/>
                <a:gd name="T91" fmla="*/ 141 h 265"/>
                <a:gd name="T92" fmla="*/ 20 w 266"/>
                <a:gd name="T93" fmla="*/ 107 h 265"/>
                <a:gd name="T94" fmla="*/ 14 w 266"/>
                <a:gd name="T95" fmla="*/ 97 h 265"/>
                <a:gd name="T96" fmla="*/ 10 w 266"/>
                <a:gd name="T97" fmla="*/ 84 h 265"/>
                <a:gd name="T98" fmla="*/ 7 w 266"/>
                <a:gd name="T99" fmla="*/ 60 h 265"/>
                <a:gd name="T100" fmla="*/ 0 w 266"/>
                <a:gd name="T101" fmla="*/ 46 h 265"/>
                <a:gd name="T102" fmla="*/ 1 w 266"/>
                <a:gd name="T103" fmla="*/ 37 h 265"/>
                <a:gd name="T104" fmla="*/ 8 w 266"/>
                <a:gd name="T105" fmla="*/ 27 h 265"/>
                <a:gd name="T106" fmla="*/ 17 w 266"/>
                <a:gd name="T107" fmla="*/ 26 h 265"/>
                <a:gd name="T108" fmla="*/ 41 w 266"/>
                <a:gd name="T109" fmla="*/ 37 h 265"/>
                <a:gd name="T110" fmla="*/ 59 w 266"/>
                <a:gd name="T111" fmla="*/ 41 h 265"/>
                <a:gd name="T112" fmla="*/ 69 w 266"/>
                <a:gd name="T113" fmla="*/ 36 h 265"/>
                <a:gd name="T114" fmla="*/ 80 w 266"/>
                <a:gd name="T115" fmla="*/ 19 h 265"/>
                <a:gd name="T116" fmla="*/ 91 w 266"/>
                <a:gd name="T117" fmla="*/ 1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265">
                  <a:moveTo>
                    <a:pt x="97" y="7"/>
                  </a:moveTo>
                  <a:lnTo>
                    <a:pt x="97" y="7"/>
                  </a:lnTo>
                  <a:lnTo>
                    <a:pt x="98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5" y="9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2"/>
                  </a:lnTo>
                  <a:lnTo>
                    <a:pt x="112" y="13"/>
                  </a:lnTo>
                  <a:lnTo>
                    <a:pt x="115" y="16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8" y="22"/>
                  </a:lnTo>
                  <a:lnTo>
                    <a:pt x="120" y="26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3" y="37"/>
                  </a:lnTo>
                  <a:lnTo>
                    <a:pt x="125" y="39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3" y="39"/>
                  </a:lnTo>
                  <a:lnTo>
                    <a:pt x="135" y="39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8" y="40"/>
                  </a:lnTo>
                  <a:lnTo>
                    <a:pt x="139" y="41"/>
                  </a:lnTo>
                  <a:lnTo>
                    <a:pt x="140" y="42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3" y="47"/>
                  </a:lnTo>
                  <a:lnTo>
                    <a:pt x="145" y="48"/>
                  </a:lnTo>
                  <a:lnTo>
                    <a:pt x="146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51" y="46"/>
                  </a:lnTo>
                  <a:lnTo>
                    <a:pt x="164" y="29"/>
                  </a:lnTo>
                  <a:lnTo>
                    <a:pt x="166" y="27"/>
                  </a:lnTo>
                  <a:lnTo>
                    <a:pt x="168" y="25"/>
                  </a:lnTo>
                  <a:lnTo>
                    <a:pt x="169" y="23"/>
                  </a:lnTo>
                  <a:lnTo>
                    <a:pt x="172" y="22"/>
                  </a:lnTo>
                  <a:lnTo>
                    <a:pt x="180" y="17"/>
                  </a:lnTo>
                  <a:lnTo>
                    <a:pt x="184" y="14"/>
                  </a:lnTo>
                  <a:lnTo>
                    <a:pt x="189" y="10"/>
                  </a:lnTo>
                  <a:lnTo>
                    <a:pt x="194" y="5"/>
                  </a:lnTo>
                  <a:lnTo>
                    <a:pt x="196" y="3"/>
                  </a:lnTo>
                  <a:lnTo>
                    <a:pt x="199" y="1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4" y="2"/>
                  </a:lnTo>
                  <a:lnTo>
                    <a:pt x="204" y="4"/>
                  </a:lnTo>
                  <a:lnTo>
                    <a:pt x="205" y="7"/>
                  </a:lnTo>
                  <a:lnTo>
                    <a:pt x="206" y="15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9" y="24"/>
                  </a:lnTo>
                  <a:lnTo>
                    <a:pt x="211" y="30"/>
                  </a:lnTo>
                  <a:lnTo>
                    <a:pt x="212" y="32"/>
                  </a:lnTo>
                  <a:lnTo>
                    <a:pt x="213" y="33"/>
                  </a:lnTo>
                  <a:lnTo>
                    <a:pt x="220" y="39"/>
                  </a:lnTo>
                  <a:lnTo>
                    <a:pt x="224" y="43"/>
                  </a:lnTo>
                  <a:lnTo>
                    <a:pt x="226" y="46"/>
                  </a:lnTo>
                  <a:lnTo>
                    <a:pt x="227" y="48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9" y="55"/>
                  </a:lnTo>
                  <a:lnTo>
                    <a:pt x="229" y="57"/>
                  </a:lnTo>
                  <a:lnTo>
                    <a:pt x="228" y="60"/>
                  </a:lnTo>
                  <a:lnTo>
                    <a:pt x="227" y="62"/>
                  </a:lnTo>
                  <a:lnTo>
                    <a:pt x="225" y="65"/>
                  </a:lnTo>
                  <a:lnTo>
                    <a:pt x="223" y="67"/>
                  </a:lnTo>
                  <a:lnTo>
                    <a:pt x="217" y="73"/>
                  </a:lnTo>
                  <a:lnTo>
                    <a:pt x="210" y="80"/>
                  </a:lnTo>
                  <a:lnTo>
                    <a:pt x="208" y="82"/>
                  </a:lnTo>
                  <a:lnTo>
                    <a:pt x="206" y="85"/>
                  </a:lnTo>
                  <a:lnTo>
                    <a:pt x="205" y="87"/>
                  </a:lnTo>
                  <a:lnTo>
                    <a:pt x="204" y="90"/>
                  </a:lnTo>
                  <a:lnTo>
                    <a:pt x="203" y="92"/>
                  </a:lnTo>
                  <a:lnTo>
                    <a:pt x="202" y="95"/>
                  </a:lnTo>
                  <a:lnTo>
                    <a:pt x="202" y="97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3" y="102"/>
                  </a:lnTo>
                  <a:lnTo>
                    <a:pt x="204" y="104"/>
                  </a:lnTo>
                  <a:lnTo>
                    <a:pt x="205" y="105"/>
                  </a:lnTo>
                  <a:lnTo>
                    <a:pt x="207" y="107"/>
                  </a:lnTo>
                  <a:lnTo>
                    <a:pt x="213" y="111"/>
                  </a:lnTo>
                  <a:lnTo>
                    <a:pt x="220" y="116"/>
                  </a:lnTo>
                  <a:lnTo>
                    <a:pt x="227" y="122"/>
                  </a:lnTo>
                  <a:lnTo>
                    <a:pt x="231" y="126"/>
                  </a:lnTo>
                  <a:lnTo>
                    <a:pt x="238" y="132"/>
                  </a:lnTo>
                  <a:lnTo>
                    <a:pt x="239" y="134"/>
                  </a:lnTo>
                  <a:lnTo>
                    <a:pt x="240" y="134"/>
                  </a:lnTo>
                  <a:lnTo>
                    <a:pt x="240" y="135"/>
                  </a:lnTo>
                  <a:lnTo>
                    <a:pt x="240" y="137"/>
                  </a:lnTo>
                  <a:lnTo>
                    <a:pt x="239" y="137"/>
                  </a:lnTo>
                  <a:lnTo>
                    <a:pt x="239" y="139"/>
                  </a:lnTo>
                  <a:lnTo>
                    <a:pt x="236" y="143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49"/>
                  </a:lnTo>
                  <a:lnTo>
                    <a:pt x="234" y="150"/>
                  </a:lnTo>
                  <a:lnTo>
                    <a:pt x="234" y="152"/>
                  </a:lnTo>
                  <a:lnTo>
                    <a:pt x="236" y="154"/>
                  </a:lnTo>
                  <a:lnTo>
                    <a:pt x="238" y="157"/>
                  </a:lnTo>
                  <a:lnTo>
                    <a:pt x="240" y="159"/>
                  </a:lnTo>
                  <a:lnTo>
                    <a:pt x="243" y="162"/>
                  </a:lnTo>
                  <a:lnTo>
                    <a:pt x="246" y="163"/>
                  </a:lnTo>
                  <a:lnTo>
                    <a:pt x="254" y="166"/>
                  </a:lnTo>
                  <a:lnTo>
                    <a:pt x="257" y="167"/>
                  </a:lnTo>
                  <a:lnTo>
                    <a:pt x="259" y="169"/>
                  </a:lnTo>
                  <a:lnTo>
                    <a:pt x="264" y="172"/>
                  </a:lnTo>
                  <a:lnTo>
                    <a:pt x="265" y="173"/>
                  </a:lnTo>
                  <a:lnTo>
                    <a:pt x="266" y="173"/>
                  </a:lnTo>
                  <a:lnTo>
                    <a:pt x="265" y="174"/>
                  </a:lnTo>
                  <a:lnTo>
                    <a:pt x="263" y="177"/>
                  </a:lnTo>
                  <a:lnTo>
                    <a:pt x="259" y="184"/>
                  </a:lnTo>
                  <a:lnTo>
                    <a:pt x="255" y="189"/>
                  </a:lnTo>
                  <a:lnTo>
                    <a:pt x="253" y="194"/>
                  </a:lnTo>
                  <a:lnTo>
                    <a:pt x="250" y="199"/>
                  </a:lnTo>
                  <a:lnTo>
                    <a:pt x="249" y="203"/>
                  </a:lnTo>
                  <a:lnTo>
                    <a:pt x="248" y="207"/>
                  </a:lnTo>
                  <a:lnTo>
                    <a:pt x="247" y="211"/>
                  </a:lnTo>
                  <a:lnTo>
                    <a:pt x="247" y="217"/>
                  </a:lnTo>
                  <a:lnTo>
                    <a:pt x="246" y="219"/>
                  </a:lnTo>
                  <a:lnTo>
                    <a:pt x="245" y="220"/>
                  </a:lnTo>
                  <a:lnTo>
                    <a:pt x="244" y="224"/>
                  </a:lnTo>
                  <a:lnTo>
                    <a:pt x="242" y="227"/>
                  </a:lnTo>
                  <a:lnTo>
                    <a:pt x="239" y="231"/>
                  </a:lnTo>
                  <a:lnTo>
                    <a:pt x="237" y="234"/>
                  </a:lnTo>
                  <a:lnTo>
                    <a:pt x="232" y="238"/>
                  </a:lnTo>
                  <a:lnTo>
                    <a:pt x="227" y="242"/>
                  </a:lnTo>
                  <a:lnTo>
                    <a:pt x="224" y="244"/>
                  </a:lnTo>
                  <a:lnTo>
                    <a:pt x="216" y="249"/>
                  </a:lnTo>
                  <a:lnTo>
                    <a:pt x="213" y="251"/>
                  </a:lnTo>
                  <a:lnTo>
                    <a:pt x="207" y="256"/>
                  </a:lnTo>
                  <a:lnTo>
                    <a:pt x="206" y="257"/>
                  </a:lnTo>
                  <a:lnTo>
                    <a:pt x="204" y="257"/>
                  </a:lnTo>
                  <a:lnTo>
                    <a:pt x="202" y="259"/>
                  </a:lnTo>
                  <a:lnTo>
                    <a:pt x="195" y="261"/>
                  </a:lnTo>
                  <a:lnTo>
                    <a:pt x="189" y="263"/>
                  </a:lnTo>
                  <a:lnTo>
                    <a:pt x="187" y="264"/>
                  </a:lnTo>
                  <a:lnTo>
                    <a:pt x="184" y="264"/>
                  </a:lnTo>
                  <a:lnTo>
                    <a:pt x="182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4"/>
                  </a:lnTo>
                  <a:lnTo>
                    <a:pt x="173" y="264"/>
                  </a:lnTo>
                  <a:lnTo>
                    <a:pt x="170" y="262"/>
                  </a:lnTo>
                  <a:lnTo>
                    <a:pt x="167" y="260"/>
                  </a:lnTo>
                  <a:lnTo>
                    <a:pt x="164" y="257"/>
                  </a:lnTo>
                  <a:lnTo>
                    <a:pt x="156" y="249"/>
                  </a:lnTo>
                  <a:lnTo>
                    <a:pt x="153" y="245"/>
                  </a:lnTo>
                  <a:lnTo>
                    <a:pt x="150" y="242"/>
                  </a:lnTo>
                  <a:lnTo>
                    <a:pt x="146" y="239"/>
                  </a:lnTo>
                  <a:lnTo>
                    <a:pt x="143" y="238"/>
                  </a:lnTo>
                  <a:lnTo>
                    <a:pt x="140" y="237"/>
                  </a:lnTo>
                  <a:lnTo>
                    <a:pt x="136" y="235"/>
                  </a:lnTo>
                  <a:lnTo>
                    <a:pt x="127" y="233"/>
                  </a:lnTo>
                  <a:lnTo>
                    <a:pt x="124" y="232"/>
                  </a:lnTo>
                  <a:lnTo>
                    <a:pt x="122" y="230"/>
                  </a:lnTo>
                  <a:lnTo>
                    <a:pt x="120" y="229"/>
                  </a:lnTo>
                  <a:lnTo>
                    <a:pt x="119" y="228"/>
                  </a:lnTo>
                  <a:lnTo>
                    <a:pt x="117" y="227"/>
                  </a:lnTo>
                  <a:lnTo>
                    <a:pt x="117" y="224"/>
                  </a:lnTo>
                  <a:lnTo>
                    <a:pt x="116" y="222"/>
                  </a:lnTo>
                  <a:lnTo>
                    <a:pt x="116" y="220"/>
                  </a:lnTo>
                  <a:lnTo>
                    <a:pt x="116" y="219"/>
                  </a:lnTo>
                  <a:lnTo>
                    <a:pt x="117" y="217"/>
                  </a:lnTo>
                  <a:lnTo>
                    <a:pt x="117" y="216"/>
                  </a:lnTo>
                  <a:lnTo>
                    <a:pt x="121" y="212"/>
                  </a:lnTo>
                  <a:lnTo>
                    <a:pt x="122" y="210"/>
                  </a:lnTo>
                  <a:lnTo>
                    <a:pt x="124" y="209"/>
                  </a:lnTo>
                  <a:lnTo>
                    <a:pt x="125" y="207"/>
                  </a:lnTo>
                  <a:lnTo>
                    <a:pt x="125" y="204"/>
                  </a:lnTo>
                  <a:lnTo>
                    <a:pt x="126" y="202"/>
                  </a:lnTo>
                  <a:lnTo>
                    <a:pt x="127" y="199"/>
                  </a:lnTo>
                  <a:lnTo>
                    <a:pt x="127" y="197"/>
                  </a:lnTo>
                  <a:lnTo>
                    <a:pt x="127" y="194"/>
                  </a:lnTo>
                  <a:lnTo>
                    <a:pt x="127" y="191"/>
                  </a:lnTo>
                  <a:lnTo>
                    <a:pt x="126" y="189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3" y="184"/>
                  </a:lnTo>
                  <a:lnTo>
                    <a:pt x="122" y="182"/>
                  </a:lnTo>
                  <a:lnTo>
                    <a:pt x="120" y="180"/>
                  </a:lnTo>
                  <a:lnTo>
                    <a:pt x="112" y="174"/>
                  </a:lnTo>
                  <a:lnTo>
                    <a:pt x="108" y="173"/>
                  </a:lnTo>
                  <a:lnTo>
                    <a:pt x="107" y="172"/>
                  </a:lnTo>
                  <a:lnTo>
                    <a:pt x="105" y="172"/>
                  </a:lnTo>
                  <a:lnTo>
                    <a:pt x="102" y="171"/>
                  </a:lnTo>
                  <a:lnTo>
                    <a:pt x="100" y="171"/>
                  </a:lnTo>
                  <a:lnTo>
                    <a:pt x="95" y="171"/>
                  </a:lnTo>
                  <a:lnTo>
                    <a:pt x="92" y="171"/>
                  </a:lnTo>
                  <a:lnTo>
                    <a:pt x="90" y="172"/>
                  </a:lnTo>
                  <a:lnTo>
                    <a:pt x="80" y="174"/>
                  </a:lnTo>
                  <a:lnTo>
                    <a:pt x="76" y="174"/>
                  </a:lnTo>
                  <a:lnTo>
                    <a:pt x="70" y="175"/>
                  </a:lnTo>
                  <a:lnTo>
                    <a:pt x="60" y="176"/>
                  </a:lnTo>
                  <a:lnTo>
                    <a:pt x="53" y="176"/>
                  </a:lnTo>
                  <a:lnTo>
                    <a:pt x="49" y="176"/>
                  </a:lnTo>
                  <a:lnTo>
                    <a:pt x="45" y="175"/>
                  </a:lnTo>
                  <a:lnTo>
                    <a:pt x="40" y="174"/>
                  </a:lnTo>
                  <a:lnTo>
                    <a:pt x="35" y="172"/>
                  </a:lnTo>
                  <a:lnTo>
                    <a:pt x="33" y="172"/>
                  </a:lnTo>
                  <a:lnTo>
                    <a:pt x="32" y="171"/>
                  </a:lnTo>
                  <a:lnTo>
                    <a:pt x="30" y="169"/>
                  </a:lnTo>
                  <a:lnTo>
                    <a:pt x="29" y="168"/>
                  </a:lnTo>
                  <a:lnTo>
                    <a:pt x="27" y="167"/>
                  </a:lnTo>
                  <a:lnTo>
                    <a:pt x="26" y="165"/>
                  </a:lnTo>
                  <a:lnTo>
                    <a:pt x="25" y="163"/>
                  </a:lnTo>
                  <a:lnTo>
                    <a:pt x="24" y="162"/>
                  </a:lnTo>
                  <a:lnTo>
                    <a:pt x="23" y="160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1" y="154"/>
                  </a:lnTo>
                  <a:lnTo>
                    <a:pt x="21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0" y="147"/>
                  </a:lnTo>
                  <a:lnTo>
                    <a:pt x="20" y="141"/>
                  </a:lnTo>
                  <a:lnTo>
                    <a:pt x="20" y="136"/>
                  </a:lnTo>
                  <a:lnTo>
                    <a:pt x="20" y="125"/>
                  </a:lnTo>
                  <a:lnTo>
                    <a:pt x="20" y="121"/>
                  </a:lnTo>
                  <a:lnTo>
                    <a:pt x="20" y="114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5" y="100"/>
                  </a:lnTo>
                  <a:lnTo>
                    <a:pt x="14" y="97"/>
                  </a:lnTo>
                  <a:lnTo>
                    <a:pt x="12" y="95"/>
                  </a:lnTo>
                  <a:lnTo>
                    <a:pt x="12" y="92"/>
                  </a:lnTo>
                  <a:lnTo>
                    <a:pt x="11" y="90"/>
                  </a:lnTo>
                  <a:lnTo>
                    <a:pt x="10" y="87"/>
                  </a:lnTo>
                  <a:lnTo>
                    <a:pt x="10" y="84"/>
                  </a:lnTo>
                  <a:lnTo>
                    <a:pt x="10" y="72"/>
                  </a:lnTo>
                  <a:lnTo>
                    <a:pt x="9" y="68"/>
                  </a:lnTo>
                  <a:lnTo>
                    <a:pt x="8" y="65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5" y="57"/>
                  </a:lnTo>
                  <a:lnTo>
                    <a:pt x="1" y="52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1" y="37"/>
                  </a:lnTo>
                  <a:lnTo>
                    <a:pt x="2" y="34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22" y="28"/>
                  </a:lnTo>
                  <a:lnTo>
                    <a:pt x="25" y="29"/>
                  </a:lnTo>
                  <a:lnTo>
                    <a:pt x="33" y="34"/>
                  </a:lnTo>
                  <a:lnTo>
                    <a:pt x="41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5" y="40"/>
                  </a:lnTo>
                  <a:lnTo>
                    <a:pt x="59" y="41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5" y="40"/>
                  </a:lnTo>
                  <a:lnTo>
                    <a:pt x="67" y="38"/>
                  </a:lnTo>
                  <a:lnTo>
                    <a:pt x="69" y="36"/>
                  </a:lnTo>
                  <a:lnTo>
                    <a:pt x="71" y="34"/>
                  </a:lnTo>
                  <a:lnTo>
                    <a:pt x="72" y="32"/>
                  </a:lnTo>
                  <a:lnTo>
                    <a:pt x="74" y="30"/>
                  </a:lnTo>
                  <a:lnTo>
                    <a:pt x="77" y="22"/>
                  </a:lnTo>
                  <a:lnTo>
                    <a:pt x="80" y="19"/>
                  </a:lnTo>
                  <a:lnTo>
                    <a:pt x="81" y="17"/>
                  </a:lnTo>
                  <a:lnTo>
                    <a:pt x="83" y="15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7" y="7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107">
              <a:extLst>
                <a:ext uri="{FF2B5EF4-FFF2-40B4-BE49-F238E27FC236}">
                  <a16:creationId xmlns:a16="http://schemas.microsoft.com/office/drawing/2014/main" id="{2708B5CF-91E7-0EC3-1BD9-462DFC99E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solidFill>
              <a:srgbClr val="828282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108">
              <a:extLst>
                <a:ext uri="{FF2B5EF4-FFF2-40B4-BE49-F238E27FC236}">
                  <a16:creationId xmlns:a16="http://schemas.microsoft.com/office/drawing/2014/main" id="{517920F5-7198-84E2-EC2F-1C217FE65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solidFill>
              <a:srgbClr val="828282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110">
              <a:extLst>
                <a:ext uri="{FF2B5EF4-FFF2-40B4-BE49-F238E27FC236}">
                  <a16:creationId xmlns:a16="http://schemas.microsoft.com/office/drawing/2014/main" id="{E63CC6B6-07EA-A9D1-63E5-4B1E615EC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191">
              <a:extLst>
                <a:ext uri="{FF2B5EF4-FFF2-40B4-BE49-F238E27FC236}">
                  <a16:creationId xmlns:a16="http://schemas.microsoft.com/office/drawing/2014/main" id="{C4A758F4-2EA7-C799-DB15-6A52E6F6C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3324" y="1911613"/>
              <a:ext cx="134652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</a:p>
          </p:txBody>
        </p:sp>
        <p:sp>
          <p:nvSpPr>
            <p:cNvPr id="128" name="Rectangle 207">
              <a:extLst>
                <a:ext uri="{FF2B5EF4-FFF2-40B4-BE49-F238E27FC236}">
                  <a16:creationId xmlns:a16="http://schemas.microsoft.com/office/drawing/2014/main" id="{69394C8C-DC02-7C1B-0CCA-47E60CE95B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93" y="793275"/>
              <a:ext cx="131446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C</a:t>
              </a:r>
            </a:p>
          </p:txBody>
        </p:sp>
        <p:sp>
          <p:nvSpPr>
            <p:cNvPr id="132" name="Rectangle 210">
              <a:extLst>
                <a:ext uri="{FF2B5EF4-FFF2-40B4-BE49-F238E27FC236}">
                  <a16:creationId xmlns:a16="http://schemas.microsoft.com/office/drawing/2014/main" id="{C91A7B90-4584-A3F8-7BB5-0FF27EBFC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8998" y="512088"/>
              <a:ext cx="129844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S</a:t>
              </a:r>
            </a:p>
          </p:txBody>
        </p:sp>
        <p:sp>
          <p:nvSpPr>
            <p:cNvPr id="133" name="Rectangle 218">
              <a:extLst>
                <a:ext uri="{FF2B5EF4-FFF2-40B4-BE49-F238E27FC236}">
                  <a16:creationId xmlns:a16="http://schemas.microsoft.com/office/drawing/2014/main" id="{C9FB132A-CB72-9419-1FC1-F4C7C16294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029" y="1281154"/>
              <a:ext cx="110608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J</a:t>
              </a:r>
            </a:p>
          </p:txBody>
        </p:sp>
        <p:sp>
          <p:nvSpPr>
            <p:cNvPr id="134" name="Rectangle 225">
              <a:extLst>
                <a:ext uri="{FF2B5EF4-FFF2-40B4-BE49-F238E27FC236}">
                  <a16:creationId xmlns:a16="http://schemas.microsoft.com/office/drawing/2014/main" id="{4831FE98-6191-929E-CD5B-5BCBDD36D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346" y="1428412"/>
              <a:ext cx="166712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</a:t>
              </a:r>
            </a:p>
          </p:txBody>
        </p:sp>
        <p:sp>
          <p:nvSpPr>
            <p:cNvPr id="135" name="Rectangle 249">
              <a:extLst>
                <a:ext uri="{FF2B5EF4-FFF2-40B4-BE49-F238E27FC236}">
                  <a16:creationId xmlns:a16="http://schemas.microsoft.com/office/drawing/2014/main" id="{89520048-72D0-87B4-D0E4-5F8A5042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603" y="703241"/>
              <a:ext cx="158698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</a:t>
              </a:r>
            </a:p>
          </p:txBody>
        </p:sp>
        <p:sp>
          <p:nvSpPr>
            <p:cNvPr id="136" name="Rectangle 264">
              <a:extLst>
                <a:ext uri="{FF2B5EF4-FFF2-40B4-BE49-F238E27FC236}">
                  <a16:creationId xmlns:a16="http://schemas.microsoft.com/office/drawing/2014/main" id="{DC4BBD18-70F2-48F3-380A-74A985536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2193" y="894448"/>
              <a:ext cx="181140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000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délník 19">
            <a:extLst>
              <a:ext uri="{FF2B5EF4-FFF2-40B4-BE49-F238E27FC236}">
                <a16:creationId xmlns:a16="http://schemas.microsoft.com/office/drawing/2014/main" id="{076A7662-2018-A293-1A5C-47041A1A4825}"/>
              </a:ext>
            </a:extLst>
          </p:cNvPr>
          <p:cNvSpPr/>
          <p:nvPr/>
        </p:nvSpPr>
        <p:spPr>
          <a:xfrm>
            <a:off x="196086" y="4154608"/>
            <a:ext cx="11444400" cy="288000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9B8C5DF-55F7-2D85-D032-E3D6ADB36F9A}"/>
              </a:ext>
            </a:extLst>
          </p:cNvPr>
          <p:cNvSpPr/>
          <p:nvPr/>
        </p:nvSpPr>
        <p:spPr>
          <a:xfrm>
            <a:off x="196086" y="2425468"/>
            <a:ext cx="11444400" cy="261818"/>
          </a:xfrm>
          <a:prstGeom prst="rect">
            <a:avLst/>
          </a:prstGeom>
          <a:solidFill>
            <a:srgbClr val="FFB9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Nadpis 17">
            <a:extLst>
              <a:ext uri="{FF2B5EF4-FFF2-40B4-BE49-F238E27FC236}">
                <a16:creationId xmlns:a16="http://schemas.microsoft.com/office/drawing/2014/main" id="{72CE58F4-DC4A-537B-6056-99AF97F47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Podíl a zastoupení stadií u nově diagnostikovaných pacientů se ZN průdušnice, průdušky a plíce (C33, C34) v krajích ČR (období 2019–2023)</a:t>
            </a:r>
            <a:br>
              <a:rPr lang="cs-CZ" sz="2400" dirty="0"/>
            </a:br>
            <a:endParaRPr lang="cs-CZ" sz="2400" dirty="0"/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B9DA35E5-8A09-CECA-B5DA-0FC85A9AB47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6250" y="1507803"/>
          <a:ext cx="9953625" cy="4825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D553C8EA-D986-D082-2419-08F1A3F18312}"/>
              </a:ext>
            </a:extLst>
          </p:cNvPr>
          <p:cNvSpPr/>
          <p:nvPr/>
        </p:nvSpPr>
        <p:spPr>
          <a:xfrm>
            <a:off x="2006188" y="1168659"/>
            <a:ext cx="87129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dium při diagnóze:        1         2        3        4         neuvedeno z objektivních důvodů        neznámo – neúplný záznam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45BC298B-F877-486C-0C5E-3017B1BC3D12}"/>
              </a:ext>
            </a:extLst>
          </p:cNvPr>
          <p:cNvSpPr/>
          <p:nvPr/>
        </p:nvSpPr>
        <p:spPr>
          <a:xfrm>
            <a:off x="3760997" y="1186890"/>
            <a:ext cx="144000" cy="144000"/>
          </a:xfrm>
          <a:prstGeom prst="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F25BBBA-8BCC-FD13-49E9-2D1F042BA4CD}"/>
              </a:ext>
            </a:extLst>
          </p:cNvPr>
          <p:cNvSpPr/>
          <p:nvPr/>
        </p:nvSpPr>
        <p:spPr>
          <a:xfrm>
            <a:off x="4208720" y="1186890"/>
            <a:ext cx="144000" cy="144000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37A24B2-E0A4-712E-DF4E-0177B0DE4371}"/>
              </a:ext>
            </a:extLst>
          </p:cNvPr>
          <p:cNvSpPr/>
          <p:nvPr/>
        </p:nvSpPr>
        <p:spPr>
          <a:xfrm>
            <a:off x="4656443" y="1186890"/>
            <a:ext cx="144000" cy="144000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4A3DD82B-1442-2F74-D898-F063A31F0C38}"/>
              </a:ext>
            </a:extLst>
          </p:cNvPr>
          <p:cNvSpPr/>
          <p:nvPr/>
        </p:nvSpPr>
        <p:spPr>
          <a:xfrm>
            <a:off x="5104166" y="1186890"/>
            <a:ext cx="144000" cy="144000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75172B2-2A2F-75D9-647F-F220FD25B602}"/>
              </a:ext>
            </a:extLst>
          </p:cNvPr>
          <p:cNvSpPr/>
          <p:nvPr/>
        </p:nvSpPr>
        <p:spPr>
          <a:xfrm>
            <a:off x="5551889" y="1186890"/>
            <a:ext cx="144000" cy="14400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3256543-FB67-A49A-F0F2-CFABB320D562}"/>
              </a:ext>
            </a:extLst>
          </p:cNvPr>
          <p:cNvSpPr/>
          <p:nvPr/>
        </p:nvSpPr>
        <p:spPr>
          <a:xfrm>
            <a:off x="8359651" y="1186890"/>
            <a:ext cx="144000" cy="14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13319F71-58F1-AA27-6D5D-79A802C1B7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33351" y="1470160"/>
            <a:ext cx="18024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počet nově diagnostikovaných ročně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A8CE454-7912-1DC0-DA3F-B12D9D70BBE4}"/>
              </a:ext>
            </a:extLst>
          </p:cNvPr>
          <p:cNvGraphicFramePr>
            <a:graphicFrameLocks noGrp="1"/>
          </p:cNvGraphicFramePr>
          <p:nvPr/>
        </p:nvGraphicFramePr>
        <p:xfrm>
          <a:off x="10325055" y="1837547"/>
          <a:ext cx="904919" cy="4349565"/>
        </p:xfrm>
        <a:graphic>
          <a:graphicData uri="http://schemas.openxmlformats.org/drawingml/2006/table">
            <a:tbl>
              <a:tblPr/>
              <a:tblGrid>
                <a:gridCol w="904919">
                  <a:extLst>
                    <a:ext uri="{9D8B030D-6E8A-4147-A177-3AD203B41FA5}">
                      <a16:colId xmlns:a16="http://schemas.microsoft.com/office/drawing/2014/main" val="4292166783"/>
                    </a:ext>
                  </a:extLst>
                </a:gridCol>
              </a:tblGrid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69627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345229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48265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0840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31573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5341452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69204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8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920078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6 6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44038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61700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930922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594631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106528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2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39752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6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5493707"/>
                  </a:ext>
                </a:extLst>
              </a:tr>
            </a:tbl>
          </a:graphicData>
        </a:graphic>
      </p:graphicFrame>
      <p:sp>
        <p:nvSpPr>
          <p:cNvPr id="14" name="TextBox 6">
            <a:extLst>
              <a:ext uri="{FF2B5EF4-FFF2-40B4-BE49-F238E27FC236}">
                <a16:creationId xmlns:a16="http://schemas.microsoft.com/office/drawing/2014/main" id="{BCBE1F97-0821-B054-C1C8-0E807C8D8DA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96943" y="79671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6619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164993" y="845290"/>
          <a:ext cx="10847403" cy="5541620"/>
        </p:xfrm>
        <a:graphic>
          <a:graphicData uri="http://schemas.openxmlformats.org/drawingml/2006/table">
            <a:tbl>
              <a:tblPr/>
              <a:tblGrid>
                <a:gridCol w="2886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23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57058986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28279049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274195822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1185986903"/>
                    </a:ext>
                  </a:extLst>
                </a:gridCol>
              </a:tblGrid>
              <a:tr h="59594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4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5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9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perioda 202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22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ozdíl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řežití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7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.1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.8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9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0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3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9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8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5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2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2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8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6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9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. střeva a konečníku (C18–C2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3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ivových a měk. tkání (C47, C49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.5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1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4.1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8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4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2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9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2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02068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 a míchy (C70–C7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9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14357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 a plíce (C33, C3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03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675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. cest (C23, C2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8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67518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1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98952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7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4248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ahep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žluč. cest (C2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2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Vývoj 5letého relativního přežití pacientů v České republice</a:t>
            </a:r>
          </a:p>
        </p:txBody>
      </p:sp>
      <p:sp>
        <p:nvSpPr>
          <p:cNvPr id="3" name="TextovéPole 20">
            <a:extLst>
              <a:ext uri="{FF2B5EF4-FFF2-40B4-BE49-F238E27FC236}">
                <a16:creationId xmlns:a16="http://schemas.microsoft.com/office/drawing/2014/main" id="{5E71DC4B-3B54-4FCB-8BD9-8A49465B98B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998" y="703701"/>
            <a:ext cx="53384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y jsou řazeny sestupně dle 5letého přežití pro analýzu periody 2020</a:t>
            </a:r>
            <a:r>
              <a:rPr kumimoji="0" lang="cs-CZ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</a:t>
            </a: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2.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371783" y="964161"/>
          <a:ext cx="5540228" cy="542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36801" y="891040"/>
            <a:ext cx="30257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[%]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/>
        </p:nvSpPr>
        <p:spPr>
          <a:xfrm>
            <a:off x="271398" y="883273"/>
            <a:ext cx="29354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roj: Národní onkologický registr, ÚZIS ČR</a:t>
            </a: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232CFFF3-BC01-473A-A980-39DAF219E2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8000" y="530262"/>
            <a:ext cx="5674925" cy="26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0" rIns="91420" bIns="4571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ichni pacienti s diagnostikovaným onemocněním.</a:t>
            </a: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98FAA048-90A8-4BB0-A76C-729CF7E5E28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75844" y="1146461"/>
            <a:ext cx="3195814" cy="828775"/>
            <a:chOff x="375844" y="1146461"/>
            <a:chExt cx="3195814" cy="828775"/>
          </a:xfrm>
        </p:grpSpPr>
        <p:sp>
          <p:nvSpPr>
            <p:cNvPr id="27" name="Ovál 26">
              <a:extLst>
                <a:ext uri="{FF2B5EF4-FFF2-40B4-BE49-F238E27FC236}">
                  <a16:creationId xmlns:a16="http://schemas.microsoft.com/office/drawing/2014/main" id="{E3941126-8CF3-4742-9701-3562FE2424ED}"/>
                </a:ext>
              </a:extLst>
            </p:cNvPr>
            <p:cNvSpPr/>
            <p:nvPr/>
          </p:nvSpPr>
          <p:spPr>
            <a:xfrm>
              <a:off x="375844" y="1186793"/>
              <a:ext cx="180000" cy="180000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ovéPole 29">
              <a:extLst>
                <a:ext uri="{FF2B5EF4-FFF2-40B4-BE49-F238E27FC236}">
                  <a16:creationId xmlns:a16="http://schemas.microsoft.com/office/drawing/2014/main" id="{252FB36A-F224-4E82-B0C4-CBD6EE67FA3C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55844" y="1146461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4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ovéPole 29">
              <a:extLst>
                <a:ext uri="{FF2B5EF4-FFF2-40B4-BE49-F238E27FC236}">
                  <a16:creationId xmlns:a16="http://schemas.microsoft.com/office/drawing/2014/main" id="{08C98FE0-1254-4804-96AE-21560EE40C8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5844" y="1413070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15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9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ovéPole 29">
              <a:extLst>
                <a:ext uri="{FF2B5EF4-FFF2-40B4-BE49-F238E27FC236}">
                  <a16:creationId xmlns:a16="http://schemas.microsoft.com/office/drawing/2014/main" id="{57280BA1-82F6-4523-AA34-FAA3DE41D51B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45883" y="1698237"/>
              <a:ext cx="30257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ýza periody 20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2</a:t>
              </a:r>
            </a:p>
          </p:txBody>
        </p:sp>
        <p:grpSp>
          <p:nvGrpSpPr>
            <p:cNvPr id="7" name="Skupina 34">
              <a:extLst>
                <a:ext uri="{FF2B5EF4-FFF2-40B4-BE49-F238E27FC236}">
                  <a16:creationId xmlns:a16="http://schemas.microsoft.com/office/drawing/2014/main" id="{4CC44408-DA10-482D-A8AB-D66BC4A27F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5947" y="1748951"/>
              <a:ext cx="161925" cy="176077"/>
              <a:chOff x="4508326" y="837418"/>
              <a:chExt cx="161925" cy="162000"/>
            </a:xfrm>
          </p:grpSpPr>
          <p:sp>
            <p:nvSpPr>
              <p:cNvPr id="10" name="Obdélník 9">
                <a:extLst>
                  <a:ext uri="{FF2B5EF4-FFF2-40B4-BE49-F238E27FC236}">
                    <a16:creationId xmlns:a16="http://schemas.microsoft.com/office/drawing/2014/main" id="{9241B836-B695-468B-B5B1-7444789DF8E0}"/>
                  </a:ext>
                </a:extLst>
              </p:cNvPr>
              <p:cNvSpPr/>
              <p:nvPr/>
            </p:nvSpPr>
            <p:spPr bwMode="auto">
              <a:xfrm>
                <a:off x="4508326" y="837418"/>
                <a:ext cx="161925" cy="162000"/>
              </a:xfrm>
              <a:prstGeom prst="rect">
                <a:avLst/>
              </a:prstGeom>
              <a:solidFill>
                <a:srgbClr val="99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Obdélník 8">
                <a:extLst>
                  <a:ext uri="{FF2B5EF4-FFF2-40B4-BE49-F238E27FC236}">
                    <a16:creationId xmlns:a16="http://schemas.microsoft.com/office/drawing/2014/main" id="{2A2A0786-43F5-431D-8E38-E186F2E0C2C0}"/>
                  </a:ext>
                </a:extLst>
              </p:cNvPr>
              <p:cNvSpPr/>
              <p:nvPr/>
            </p:nvSpPr>
            <p:spPr bwMode="auto">
              <a:xfrm>
                <a:off x="4521737" y="851649"/>
                <a:ext cx="136525" cy="136588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D5EF048C-C581-4293-8ECF-50219B7FBC81}"/>
                </a:ext>
              </a:extLst>
            </p:cNvPr>
            <p:cNvSpPr/>
            <p:nvPr/>
          </p:nvSpPr>
          <p:spPr>
            <a:xfrm>
              <a:off x="377872" y="1467872"/>
              <a:ext cx="180000" cy="180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6855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88000" y="493506"/>
            <a:ext cx="91547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: Národní onkologický registr, ÚZIS ČR;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periody 2020–2022, všichni pacienti s diagnostikovaným onemocněn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pl-PL" alt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 "/>
                <a:ea typeface="+mn-ea"/>
                <a:cs typeface="+mn-cs"/>
              </a:rPr>
              <a:t> jsou řazeny sestupně dle 5letého přežití.</a:t>
            </a:r>
          </a:p>
        </p:txBody>
      </p:sp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033141" y="953332"/>
          <a:ext cx="10014989" cy="5190836"/>
        </p:xfrm>
        <a:graphic>
          <a:graphicData uri="http://schemas.openxmlformats.org/drawingml/2006/table">
            <a:tbl>
              <a:tblPr/>
              <a:tblGrid>
                <a:gridCol w="3108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7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421">
                  <a:extLst>
                    <a:ext uri="{9D8B030D-6E8A-4147-A177-3AD203B41FA5}">
                      <a16:colId xmlns:a16="http://schemas.microsoft.com/office/drawing/2014/main" val="3441950630"/>
                    </a:ext>
                  </a:extLst>
                </a:gridCol>
              </a:tblGrid>
              <a:tr h="82630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rgbClr val="000000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očet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pacientů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</a:t>
                      </a:r>
                      <a:r>
                        <a:rPr lang="en-US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)</a:t>
                      </a:r>
                      <a:r>
                        <a:rPr lang="cs-CZ" sz="14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, </a:t>
                      </a: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8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295469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059035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90462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chemeClr val="tx1"/>
                        </a:solidFill>
                        <a:latin typeface="Calibri  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4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40114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7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54536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0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82472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1" i="0" u="none" strike="noStrike" kern="12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 134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.7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ct val="100000"/>
                        </a:lnSpc>
                      </a:pP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3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6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1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96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400" b="0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 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5leté relativní přežití pacientů se </a:t>
            </a:r>
            <a:r>
              <a:rPr lang="cs-CZ" u="sng" dirty="0"/>
              <a:t>ZN plic</a:t>
            </a:r>
            <a:r>
              <a:rPr lang="cs-CZ" dirty="0"/>
              <a:t> dle krajů (perioda 2020–2022)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997666" y="1108069"/>
          <a:ext cx="5634051" cy="5291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0548" y="1004108"/>
            <a:ext cx="472828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pacientů s C33, C34 [%]</a:t>
            </a:r>
          </a:p>
        </p:txBody>
      </p:sp>
    </p:spTree>
    <p:extLst>
      <p:ext uri="{BB962C8B-B14F-4D97-AF65-F5344CB8AC3E}">
        <p14:creationId xmlns:p14="http://schemas.microsoft.com/office/powerpoint/2010/main" val="17786378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56DB691D-403F-F0A0-260D-66A82C70CB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15737" y="3985600"/>
            <a:ext cx="6010274" cy="252000"/>
          </a:xfrm>
          <a:prstGeom prst="rect">
            <a:avLst/>
          </a:prstGeom>
          <a:solidFill>
            <a:srgbClr val="97BA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D34476E-FBB5-61F3-DACF-94481BAAD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0700209" cy="538364"/>
          </a:xfrm>
        </p:spPr>
        <p:txBody>
          <a:bodyPr/>
          <a:lstStyle/>
          <a:p>
            <a:r>
              <a:rPr lang="cs-CZ" sz="2400" dirty="0"/>
              <a:t>Primární protinádorová léčba</a:t>
            </a:r>
            <a:r>
              <a:rPr lang="cs-CZ" sz="2400" b="1" noProof="0" dirty="0">
                <a:solidFill>
                  <a:srgbClr val="D71440"/>
                </a:solidFill>
                <a:latin typeface="+mn-lt"/>
              </a:rPr>
              <a:t> pacientů se </a:t>
            </a:r>
            <a:r>
              <a:rPr lang="cs-CZ" sz="2400" b="1" u="sng" noProof="0" dirty="0">
                <a:solidFill>
                  <a:srgbClr val="D71440"/>
                </a:solidFill>
                <a:latin typeface="+mn-lt"/>
              </a:rPr>
              <a:t>ZN průdušnice, průdušky a plíce </a:t>
            </a:r>
            <a:br>
              <a:rPr lang="en-US" sz="2400" b="1" u="sng" noProof="0" dirty="0">
                <a:solidFill>
                  <a:srgbClr val="D71440"/>
                </a:solidFill>
                <a:latin typeface="+mn-lt"/>
              </a:rPr>
            </a:br>
            <a:r>
              <a:rPr lang="cs-CZ" sz="2400" b="1" u="sng" noProof="0" dirty="0">
                <a:solidFill>
                  <a:srgbClr val="D71440"/>
                </a:solidFill>
                <a:latin typeface="+mn-lt"/>
              </a:rPr>
              <a:t>(C33, C34)</a:t>
            </a:r>
            <a:r>
              <a:rPr lang="cs-CZ" sz="2400" b="1" noProof="0" dirty="0">
                <a:solidFill>
                  <a:srgbClr val="D71440"/>
                </a:solidFill>
                <a:latin typeface="+mn-lt"/>
              </a:rPr>
              <a:t> v KOC a mimo KOC: </a:t>
            </a:r>
            <a:r>
              <a:rPr lang="cs-CZ" sz="2400" dirty="0"/>
              <a:t>dle kraje bydliště pacienta </a:t>
            </a:r>
            <a:r>
              <a:rPr lang="cs-CZ" sz="2400" noProof="0" dirty="0"/>
              <a:t>(2018–2022)</a:t>
            </a:r>
            <a:endParaRPr lang="cs-CZ" sz="2400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FB2422F-E955-3264-B4AC-910935BF7E1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864000"/>
            <a:ext cx="11862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OR + NRHZS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8–202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; primární léčba zhoubného novotvaru (ZN) průdušnice, průdušky a plíce (C33, C34) vykázaná v datech NRHZS u novotvarů hlášených v datech NOR u dospělých pacientů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CBB92F03-3554-1A58-A134-F116B5122C2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7150" y="1697786"/>
          <a:ext cx="6033052" cy="48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527FC453-FB7F-DE95-C8D7-E5DCD3621B8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8464" y="1236950"/>
            <a:ext cx="48639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rimárně léčených onkologických pacientů se ZN plic podle bydliště pacienta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F80D6C5-988C-F262-2FB3-6CA7D1A7ACAE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896858" y="1821725"/>
          <a:ext cx="5739156" cy="4602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FC05BBB3-A990-BB84-C4C3-E250FFA5F1B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86182" y="6251635"/>
            <a:ext cx="3936485" cy="261610"/>
          </a:xfrm>
          <a:prstGeom prst="rect">
            <a:avLst/>
          </a:prstGeom>
          <a:noFill/>
          <a:ln w="1905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cient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ez místa bydliště jsou v součtu za Č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hrnut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A273CE7-A85F-51F3-BCA8-1C564706FA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090202" y="2694159"/>
            <a:ext cx="6010274" cy="2592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DAB78114-CEA3-3F58-69A2-1696D4D3B61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27858" y="4922656"/>
            <a:ext cx="5472000" cy="270000"/>
          </a:xfrm>
          <a:prstGeom prst="rect">
            <a:avLst/>
          </a:prstGeom>
          <a:noFill/>
          <a:ln w="19050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6F94202-D27A-4048-9A15-FCEF04A7B7D1}"/>
              </a:ext>
            </a:extLst>
          </p:cNvPr>
          <p:cNvSpPr txBox="1"/>
          <p:nvPr/>
        </p:nvSpPr>
        <p:spPr>
          <a:xfrm>
            <a:off x="6704228" y="1236950"/>
            <a:ext cx="47970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rimárně léčených onkologických pacientů se ZN plic podle 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dliště pacienta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3015651-E51E-DFB2-E3F6-1FA548C2BDD0}"/>
              </a:ext>
            </a:extLst>
          </p:cNvPr>
          <p:cNvGraphicFramePr>
            <a:graphicFrameLocks noGrp="1"/>
          </p:cNvGraphicFramePr>
          <p:nvPr/>
        </p:nvGraphicFramePr>
        <p:xfrm>
          <a:off x="11396302" y="2430299"/>
          <a:ext cx="710855" cy="3856200"/>
        </p:xfrm>
        <a:graphic>
          <a:graphicData uri="http://schemas.openxmlformats.org/drawingml/2006/table">
            <a:tbl>
              <a:tblPr/>
              <a:tblGrid>
                <a:gridCol w="710855">
                  <a:extLst>
                    <a:ext uri="{9D8B030D-6E8A-4147-A177-3AD203B41FA5}">
                      <a16:colId xmlns:a16="http://schemas.microsoft.com/office/drawing/2014/main" val="1752176451"/>
                    </a:ext>
                  </a:extLst>
                </a:gridCol>
              </a:tblGrid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1197353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09465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27229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94620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87795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536518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430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345022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74263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463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301318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833449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307107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12266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69871"/>
                  </a:ext>
                </a:extLst>
              </a:tr>
              <a:tr h="25708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12830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9273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7F4CB2-FFE9-8E41-D5D0-96615FE74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Onkologičtí pacienti se </a:t>
            </a:r>
            <a:r>
              <a:rPr lang="cs-CZ" sz="2400" u="sng" dirty="0"/>
              <a:t>ZN plic</a:t>
            </a:r>
            <a:r>
              <a:rPr lang="cs-CZ" sz="2400" dirty="0"/>
              <a:t> s konzultací multidisciplinárního týmu (MDT)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310C877F-A6B0-28BD-CD16-6B14EA31243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40000"/>
            <a:ext cx="10426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 + NOR; kód 51881 = MULTIDISCIPLINÁRNÍ INDIKAČNÍ SEMINÁŘ K URČENÍ OPTIMÁLNÍHO ZPŮSOBU LÉČBY U NEMOCNÝCH SE ZHOUBNÝM ONKOLOGICKÝM ONEMOCNĚNÍM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04934D6-6E59-B163-430F-DB42E467764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053526" y="1219767"/>
          <a:ext cx="7865884" cy="45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11531D73-80F4-DD26-25DE-D83CCDEB9F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0" y="1521432"/>
            <a:ext cx="353215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, kteří měli v daném roce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ován zhoubný novotvar průdušnice, průdušky a plíce (C33, C34)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OR </a:t>
            </a:r>
            <a:b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roveň měli vykázaný výkon konzultace MDT*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E82D288-36BA-8E62-28D6-6BBA48271A0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39913" y="6000912"/>
            <a:ext cx="1066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ledujeme konzultace MDT vykázané max. 93 dní před datem diagnózy a max. 370 dní po datu diagnózy v NOR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F43506BE-BDCC-65C3-5FF3-8C02051185F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181783" y="1225169"/>
            <a:ext cx="4141326" cy="215444"/>
            <a:chOff x="801839" y="1079898"/>
            <a:chExt cx="4141326" cy="215444"/>
          </a:xfrm>
        </p:grpSpPr>
        <p:sp>
          <p:nvSpPr>
            <p:cNvPr id="8" name="TextovéPole 7">
              <a:extLst>
                <a:ext uri="{FF2B5EF4-FFF2-40B4-BE49-F238E27FC236}">
                  <a16:creationId xmlns:a16="http://schemas.microsoft.com/office/drawing/2014/main" id="{725EE07E-4458-4FEE-F858-53F5965280D9}"/>
                </a:ext>
              </a:extLst>
            </p:cNvPr>
            <p:cNvSpPr txBox="1"/>
            <p:nvPr/>
          </p:nvSpPr>
          <p:spPr>
            <a:xfrm>
              <a:off x="1088773" y="1079898"/>
              <a:ext cx="3854392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zeňský kraj	Česká republika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79E7F03F-08BC-4639-FC05-326518990B2A}"/>
                </a:ext>
              </a:extLst>
            </p:cNvPr>
            <p:cNvSpPr/>
            <p:nvPr/>
          </p:nvSpPr>
          <p:spPr>
            <a:xfrm>
              <a:off x="801839" y="1121488"/>
              <a:ext cx="144000" cy="144000"/>
            </a:xfrm>
            <a:prstGeom prst="rect">
              <a:avLst/>
            </a:prstGeom>
            <a:solidFill>
              <a:srgbClr val="6598C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B8B5EA82-A0B1-A621-13D3-B1CC318E1270}"/>
                </a:ext>
              </a:extLst>
            </p:cNvPr>
            <p:cNvSpPr/>
            <p:nvPr/>
          </p:nvSpPr>
          <p:spPr>
            <a:xfrm>
              <a:off x="2678051" y="1121488"/>
              <a:ext cx="144000" cy="144000"/>
            </a:xfrm>
            <a:prstGeom prst="rect">
              <a:avLst/>
            </a:prstGeom>
            <a:solidFill>
              <a:srgbClr val="2E59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09260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97F032E-B927-27A1-1061-76FB63DA19F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creening karcinomu plic</a:t>
            </a:r>
          </a:p>
        </p:txBody>
      </p:sp>
      <p:pic>
        <p:nvPicPr>
          <p:cNvPr id="3" name="Zástupný symbol obrázku 6">
            <a:extLst>
              <a:ext uri="{FF2B5EF4-FFF2-40B4-BE49-F238E27FC236}">
                <a16:creationId xmlns:a16="http://schemas.microsoft.com/office/drawing/2014/main" id="{593EE05E-6495-D952-6C86-2AF90DA755AD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5"/>
          <a:srcRect t="28733" b="28733"/>
          <a:stretch>
            <a:fillRect/>
          </a:stretch>
        </p:blipFill>
        <p:spPr>
          <a:xfrm>
            <a:off x="0" y="2297272"/>
            <a:ext cx="7983110" cy="2263455"/>
          </a:xfrm>
        </p:spPr>
      </p:pic>
    </p:spTree>
    <p:extLst>
      <p:ext uri="{BB962C8B-B14F-4D97-AF65-F5344CB8AC3E}">
        <p14:creationId xmlns:p14="http://schemas.microsoft.com/office/powerpoint/2010/main" val="42343864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071776" y="1450176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FCD2C015-47D3-9EA3-D95D-B7694F9FF7F6}"/>
              </a:ext>
            </a:extLst>
          </p:cNvPr>
          <p:cNvSpPr txBox="1"/>
          <p:nvPr/>
        </p:nvSpPr>
        <p:spPr>
          <a:xfrm>
            <a:off x="426860" y="6346811"/>
            <a:ext cx="113382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Ve specifických případech je možné přímé odeslání osob splňující vstupní kritéria praktickým lékařem na radiologické centrum a dále pak koordinuje následnou péči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117CB099-C28A-EFB9-66E2-1AAEC2A3B893}"/>
              </a:ext>
            </a:extLst>
          </p:cNvPr>
          <p:cNvGrpSpPr/>
          <p:nvPr/>
        </p:nvGrpSpPr>
        <p:grpSpPr>
          <a:xfrm>
            <a:off x="3268896" y="1571980"/>
            <a:ext cx="8059127" cy="4400584"/>
            <a:chOff x="941710" y="1675611"/>
            <a:chExt cx="8059127" cy="4400584"/>
          </a:xfrm>
        </p:grpSpPr>
        <p:grpSp>
          <p:nvGrpSpPr>
            <p:cNvPr id="3" name="Skupina 2">
              <a:extLst>
                <a:ext uri="{FF2B5EF4-FFF2-40B4-BE49-F238E27FC236}">
                  <a16:creationId xmlns:a16="http://schemas.microsoft.com/office/drawing/2014/main" id="{0427DA59-B665-675B-2294-A55015BD48EA}"/>
                </a:ext>
              </a:extLst>
            </p:cNvPr>
            <p:cNvGrpSpPr/>
            <p:nvPr/>
          </p:nvGrpSpPr>
          <p:grpSpPr>
            <a:xfrm>
              <a:off x="941710" y="1675611"/>
              <a:ext cx="8059127" cy="4400584"/>
              <a:chOff x="1690941" y="1116917"/>
              <a:chExt cx="8059127" cy="4400584"/>
            </a:xfrm>
          </p:grpSpPr>
          <p:sp>
            <p:nvSpPr>
              <p:cNvPr id="4" name="Obdélník 3">
                <a:extLst>
                  <a:ext uri="{FF2B5EF4-FFF2-40B4-BE49-F238E27FC236}">
                    <a16:creationId xmlns:a16="http://schemas.microsoft.com/office/drawing/2014/main" id="{93F03830-432D-B46A-D859-6B902C153488}"/>
                  </a:ext>
                </a:extLst>
              </p:cNvPr>
              <p:cNvSpPr/>
              <p:nvPr/>
            </p:nvSpPr>
            <p:spPr>
              <a:xfrm>
                <a:off x="5414999" y="1116917"/>
                <a:ext cx="1800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mbulantní </a:t>
                </a:r>
                <a:b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licní lékař</a:t>
                </a:r>
              </a:p>
            </p:txBody>
          </p:sp>
          <p:sp>
            <p:nvSpPr>
              <p:cNvPr id="6" name="Obdélník 5">
                <a:extLst>
                  <a:ext uri="{FF2B5EF4-FFF2-40B4-BE49-F238E27FC236}">
                    <a16:creationId xmlns:a16="http://schemas.microsoft.com/office/drawing/2014/main" id="{6C850E73-6E8E-17D9-F672-9ACBCC9D088E}"/>
                  </a:ext>
                </a:extLst>
              </p:cNvPr>
              <p:cNvSpPr/>
              <p:nvPr/>
            </p:nvSpPr>
            <p:spPr>
              <a:xfrm>
                <a:off x="2803974" y="1116917"/>
                <a:ext cx="1800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slovení pacienta praktickým lékařem *</a:t>
                </a:r>
              </a:p>
            </p:txBody>
          </p:sp>
          <p:sp>
            <p:nvSpPr>
              <p:cNvPr id="7" name="Obdélník 6">
                <a:extLst>
                  <a:ext uri="{FF2B5EF4-FFF2-40B4-BE49-F238E27FC236}">
                    <a16:creationId xmlns:a16="http://schemas.microsoft.com/office/drawing/2014/main" id="{B22CE795-C8F0-D35C-FBF2-8EDF0284E95A}"/>
                  </a:ext>
                </a:extLst>
              </p:cNvPr>
              <p:cNvSpPr/>
              <p:nvPr/>
            </p:nvSpPr>
            <p:spPr>
              <a:xfrm>
                <a:off x="5414999" y="2236131"/>
                <a:ext cx="1800000" cy="6450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adiologické screeningové centrum </a:t>
                </a:r>
                <a:b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ři KOC</a:t>
                </a:r>
              </a:p>
            </p:txBody>
          </p:sp>
          <p:sp>
            <p:nvSpPr>
              <p:cNvPr id="8" name="Kosočtverec 7">
                <a:extLst>
                  <a:ext uri="{FF2B5EF4-FFF2-40B4-BE49-F238E27FC236}">
                    <a16:creationId xmlns:a16="http://schemas.microsoft.com/office/drawing/2014/main" id="{3E25DDF7-8B6C-2854-CB91-EFD7FF8F7556}"/>
                  </a:ext>
                </a:extLst>
              </p:cNvPr>
              <p:cNvSpPr/>
              <p:nvPr/>
            </p:nvSpPr>
            <p:spPr>
              <a:xfrm>
                <a:off x="5126330" y="3069000"/>
                <a:ext cx="2377338" cy="720000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ýsledek screeningového CT</a:t>
                </a:r>
              </a:p>
            </p:txBody>
          </p:sp>
          <p:cxnSp>
            <p:nvCxnSpPr>
              <p:cNvPr id="9" name="Přímá spojnice se šipkou 8">
                <a:extLst>
                  <a:ext uri="{FF2B5EF4-FFF2-40B4-BE49-F238E27FC236}">
                    <a16:creationId xmlns:a16="http://schemas.microsoft.com/office/drawing/2014/main" id="{2EA314C8-97BF-BA84-930C-335898E9C897}"/>
                  </a:ext>
                </a:extLst>
              </p:cNvPr>
              <p:cNvCxnSpPr>
                <a:cxnSpLocks/>
                <a:endCxn id="4" idx="1"/>
              </p:cNvCxnSpPr>
              <p:nvPr/>
            </p:nvCxnSpPr>
            <p:spPr>
              <a:xfrm>
                <a:off x="4603974" y="1386917"/>
                <a:ext cx="811025" cy="0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bdélník 9">
                <a:extLst>
                  <a:ext uri="{FF2B5EF4-FFF2-40B4-BE49-F238E27FC236}">
                    <a16:creationId xmlns:a16="http://schemas.microsoft.com/office/drawing/2014/main" id="{E0A394A2-E6B5-AA99-03AF-BBFEF32EB4AE}"/>
                  </a:ext>
                </a:extLst>
              </p:cNvPr>
              <p:cNvSpPr/>
              <p:nvPr/>
            </p:nvSpPr>
            <p:spPr>
              <a:xfrm>
                <a:off x="7950068" y="4977501"/>
                <a:ext cx="1800000" cy="54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KOC/POCH</a:t>
                </a:r>
                <a:endPara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11" name="Přímá spojnice se šipkou 10">
                <a:extLst>
                  <a:ext uri="{FF2B5EF4-FFF2-40B4-BE49-F238E27FC236}">
                    <a16:creationId xmlns:a16="http://schemas.microsoft.com/office/drawing/2014/main" id="{4D01E5CD-7384-9B22-4B69-9283C7295E9E}"/>
                  </a:ext>
                </a:extLst>
              </p:cNvPr>
              <p:cNvCxnSpPr>
                <a:cxnSpLocks/>
                <a:stCxn id="8" idx="2"/>
                <a:endCxn id="12" idx="0"/>
              </p:cNvCxnSpPr>
              <p:nvPr/>
            </p:nvCxnSpPr>
            <p:spPr>
              <a:xfrm>
                <a:off x="6314999" y="3789000"/>
                <a:ext cx="0" cy="468501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Kosočtverec 11">
                <a:extLst>
                  <a:ext uri="{FF2B5EF4-FFF2-40B4-BE49-F238E27FC236}">
                    <a16:creationId xmlns:a16="http://schemas.microsoft.com/office/drawing/2014/main" id="{BDD63FF6-7788-72BF-37E6-4BCF47A28BB9}"/>
                  </a:ext>
                </a:extLst>
              </p:cNvPr>
              <p:cNvSpPr/>
              <p:nvPr/>
            </p:nvSpPr>
            <p:spPr>
              <a:xfrm>
                <a:off x="5126330" y="4257501"/>
                <a:ext cx="2377338" cy="720000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ýsledek opakovaného CT</a:t>
                </a:r>
              </a:p>
            </p:txBody>
          </p:sp>
          <p:cxnSp>
            <p:nvCxnSpPr>
              <p:cNvPr id="13" name="Přímá spojnice se šipkou 12">
                <a:extLst>
                  <a:ext uri="{FF2B5EF4-FFF2-40B4-BE49-F238E27FC236}">
                    <a16:creationId xmlns:a16="http://schemas.microsoft.com/office/drawing/2014/main" id="{2D55027B-82CB-BD18-F7A1-FA01DFD67CAD}"/>
                  </a:ext>
                </a:extLst>
              </p:cNvPr>
              <p:cNvCxnSpPr>
                <a:cxnSpLocks/>
                <a:endCxn id="8" idx="0"/>
              </p:cNvCxnSpPr>
              <p:nvPr/>
            </p:nvCxnSpPr>
            <p:spPr>
              <a:xfrm>
                <a:off x="6314999" y="2834749"/>
                <a:ext cx="0" cy="234251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A358EDD3-1E82-7C09-DE95-B69678C5C111}"/>
                  </a:ext>
                </a:extLst>
              </p:cNvPr>
              <p:cNvSpPr txBox="1"/>
              <p:nvPr/>
            </p:nvSpPr>
            <p:spPr>
              <a:xfrm>
                <a:off x="7512366" y="3107792"/>
                <a:ext cx="10262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cs-CZ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100" b="0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zitivní</a:t>
                </a:r>
              </a:p>
            </p:txBody>
          </p:sp>
          <p:sp>
            <p:nvSpPr>
              <p:cNvPr id="15" name="TextovéPole 14">
                <a:extLst>
                  <a:ext uri="{FF2B5EF4-FFF2-40B4-BE49-F238E27FC236}">
                    <a16:creationId xmlns:a16="http://schemas.microsoft.com/office/drawing/2014/main" id="{FC794180-B018-3012-B982-AFFF95724E3D}"/>
                  </a:ext>
                </a:extLst>
              </p:cNvPr>
              <p:cNvSpPr txBox="1"/>
              <p:nvPr/>
            </p:nvSpPr>
            <p:spPr>
              <a:xfrm>
                <a:off x="6354486" y="3866723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určitý</a:t>
                </a:r>
              </a:p>
            </p:txBody>
          </p:sp>
          <p:cxnSp>
            <p:nvCxnSpPr>
              <p:cNvPr id="16" name="Přímá spojnice se šipkou 15">
                <a:extLst>
                  <a:ext uri="{FF2B5EF4-FFF2-40B4-BE49-F238E27FC236}">
                    <a16:creationId xmlns:a16="http://schemas.microsoft.com/office/drawing/2014/main" id="{FB9ED9A4-E6AF-FCA6-69E0-4459D50756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51539" y="3429000"/>
                <a:ext cx="0" cy="1548501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Přímá spojnice 16">
                <a:extLst>
                  <a:ext uri="{FF2B5EF4-FFF2-40B4-BE49-F238E27FC236}">
                    <a16:creationId xmlns:a16="http://schemas.microsoft.com/office/drawing/2014/main" id="{1069CC1A-39F0-0A19-FC8E-8602CFC48167}"/>
                  </a:ext>
                </a:extLst>
              </p:cNvPr>
              <p:cNvCxnSpPr>
                <a:cxnSpLocks/>
                <a:stCxn id="8" idx="3"/>
              </p:cNvCxnSpPr>
              <p:nvPr/>
            </p:nvCxnSpPr>
            <p:spPr>
              <a:xfrm>
                <a:off x="7503668" y="3429000"/>
                <a:ext cx="1346400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Přímá spojnice 17">
                <a:extLst>
                  <a:ext uri="{FF2B5EF4-FFF2-40B4-BE49-F238E27FC236}">
                    <a16:creationId xmlns:a16="http://schemas.microsoft.com/office/drawing/2014/main" id="{55A7B5AA-34B3-D79F-D746-76C47308994E}"/>
                  </a:ext>
                </a:extLst>
              </p:cNvPr>
              <p:cNvCxnSpPr/>
              <p:nvPr/>
            </p:nvCxnSpPr>
            <p:spPr>
              <a:xfrm>
                <a:off x="7503668" y="4617664"/>
                <a:ext cx="1346400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ovéPole 18">
                <a:extLst>
                  <a:ext uri="{FF2B5EF4-FFF2-40B4-BE49-F238E27FC236}">
                    <a16:creationId xmlns:a16="http://schemas.microsoft.com/office/drawing/2014/main" id="{B8E00B36-D57F-FCB3-6579-9EAE023557B8}"/>
                  </a:ext>
                </a:extLst>
              </p:cNvPr>
              <p:cNvSpPr txBox="1"/>
              <p:nvPr/>
            </p:nvSpPr>
            <p:spPr>
              <a:xfrm>
                <a:off x="7380761" y="4335224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ozitivní</a:t>
                </a:r>
              </a:p>
            </p:txBody>
          </p:sp>
          <p:cxnSp>
            <p:nvCxnSpPr>
              <p:cNvPr id="20" name="Přímá spojnice 19">
                <a:extLst>
                  <a:ext uri="{FF2B5EF4-FFF2-40B4-BE49-F238E27FC236}">
                    <a16:creationId xmlns:a16="http://schemas.microsoft.com/office/drawing/2014/main" id="{44EDD03A-AADB-1C32-C470-427E0EA856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78696" y="3429000"/>
                <a:ext cx="1347634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5A0DCFC8-5F0C-0265-D4C1-B583FDC5AEEA}"/>
                  </a:ext>
                </a:extLst>
              </p:cNvPr>
              <p:cNvSpPr txBox="1"/>
              <p:nvPr/>
            </p:nvSpPr>
            <p:spPr>
              <a:xfrm>
                <a:off x="4108753" y="3121223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gativní</a:t>
                </a:r>
              </a:p>
            </p:txBody>
          </p:sp>
          <p:cxnSp>
            <p:nvCxnSpPr>
              <p:cNvPr id="22" name="Přímá spojnice 21">
                <a:extLst>
                  <a:ext uri="{FF2B5EF4-FFF2-40B4-BE49-F238E27FC236}">
                    <a16:creationId xmlns:a16="http://schemas.microsoft.com/office/drawing/2014/main" id="{1A639331-7378-4BEB-534E-69328959B9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78696" y="4614082"/>
                <a:ext cx="1347634" cy="0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C7CB6189-5F90-7055-9DA5-CADFCD5ED0D6}"/>
                  </a:ext>
                </a:extLst>
              </p:cNvPr>
              <p:cNvSpPr txBox="1"/>
              <p:nvPr/>
            </p:nvSpPr>
            <p:spPr>
              <a:xfrm>
                <a:off x="4108753" y="4301543"/>
                <a:ext cx="10262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2C2F7A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gativní</a:t>
                </a:r>
              </a:p>
            </p:txBody>
          </p:sp>
          <p:cxnSp>
            <p:nvCxnSpPr>
              <p:cNvPr id="25" name="Přímá spojnice 24">
                <a:extLst>
                  <a:ext uri="{FF2B5EF4-FFF2-40B4-BE49-F238E27FC236}">
                    <a16:creationId xmlns:a16="http://schemas.microsoft.com/office/drawing/2014/main" id="{E30EAC51-AF14-5AD7-2C6B-50BFD8B53D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778696" y="3429000"/>
                <a:ext cx="0" cy="1188665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Obdélník 25">
                <a:extLst>
                  <a:ext uri="{FF2B5EF4-FFF2-40B4-BE49-F238E27FC236}">
                    <a16:creationId xmlns:a16="http://schemas.microsoft.com/office/drawing/2014/main" id="{DF1D1936-C43C-A0D1-424E-4D9AF2E65D43}"/>
                  </a:ext>
                </a:extLst>
              </p:cNvPr>
              <p:cNvSpPr/>
              <p:nvPr/>
            </p:nvSpPr>
            <p:spPr>
              <a:xfrm>
                <a:off x="1690941" y="3566722"/>
                <a:ext cx="1800000" cy="877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mbulantní plicní lékař, opakovaný screening </a:t>
                </a:r>
                <a:b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 doporučeném intervalu</a:t>
                </a:r>
              </a:p>
            </p:txBody>
          </p:sp>
          <p:cxnSp>
            <p:nvCxnSpPr>
              <p:cNvPr id="27" name="Přímá spojnice se šipkou 26">
                <a:extLst>
                  <a:ext uri="{FF2B5EF4-FFF2-40B4-BE49-F238E27FC236}">
                    <a16:creationId xmlns:a16="http://schemas.microsoft.com/office/drawing/2014/main" id="{ECE9551E-0856-C5DF-55B2-BE2B8A4DD2B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490941" y="4005222"/>
                <a:ext cx="287755" cy="0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95C2A288-6651-CE7C-BF56-007A56E74D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90941" y="2558664"/>
                <a:ext cx="0" cy="1008058"/>
              </a:xfrm>
              <a:prstGeom prst="line">
                <a:avLst/>
              </a:prstGeom>
              <a:ln>
                <a:solidFill>
                  <a:srgbClr val="004E8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Přímá spojnice se šipkou 28">
                <a:extLst>
                  <a:ext uri="{FF2B5EF4-FFF2-40B4-BE49-F238E27FC236}">
                    <a16:creationId xmlns:a16="http://schemas.microsoft.com/office/drawing/2014/main" id="{2B0CA05F-3584-6F67-9DD2-A55937E33647}"/>
                  </a:ext>
                </a:extLst>
              </p:cNvPr>
              <p:cNvCxnSpPr>
                <a:endCxn id="7" idx="1"/>
              </p:cNvCxnSpPr>
              <p:nvPr/>
            </p:nvCxnSpPr>
            <p:spPr>
              <a:xfrm>
                <a:off x="2590941" y="2558664"/>
                <a:ext cx="2824058" cy="0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Přímá spojnice se šipkou 29">
                <a:extLst>
                  <a:ext uri="{FF2B5EF4-FFF2-40B4-BE49-F238E27FC236}">
                    <a16:creationId xmlns:a16="http://schemas.microsoft.com/office/drawing/2014/main" id="{45E17BB2-4157-42DF-FC87-CF6F9EFF30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14999" y="1656917"/>
                <a:ext cx="0" cy="579214"/>
              </a:xfrm>
              <a:prstGeom prst="straightConnector1">
                <a:avLst/>
              </a:prstGeom>
              <a:ln>
                <a:solidFill>
                  <a:srgbClr val="004E8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930ADA6F-277D-F8FA-065B-355189056645}"/>
                </a:ext>
              </a:extLst>
            </p:cNvPr>
            <p:cNvSpPr txBox="1"/>
            <p:nvPr/>
          </p:nvSpPr>
          <p:spPr>
            <a:xfrm>
              <a:off x="6541809" y="2184224"/>
              <a:ext cx="2278550" cy="645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učástí je krátká intervence</a:t>
              </a:r>
            </a:p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 odvykání kouření, nabídka léčby závislosti na tabáku</a:t>
              </a:r>
            </a:p>
          </p:txBody>
        </p:sp>
      </p:grpSp>
      <p:sp>
        <p:nvSpPr>
          <p:cNvPr id="39" name="Nadpis 4">
            <a:extLst>
              <a:ext uri="{FF2B5EF4-FFF2-40B4-BE49-F238E27FC236}">
                <a16:creationId xmlns:a16="http://schemas.microsoft.com/office/drawing/2014/main" id="{97553285-8658-0CB3-B8A6-0DD0F81B8C3C}"/>
              </a:ext>
            </a:extLst>
          </p:cNvPr>
          <p:cNvSpPr txBox="1">
            <a:spLocks/>
          </p:cNvSpPr>
          <p:nvPr/>
        </p:nvSpPr>
        <p:spPr>
          <a:xfrm>
            <a:off x="1436772" y="477734"/>
            <a:ext cx="9802034" cy="720000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all" spc="0" normalizeH="0" baseline="0" noProof="0">
                <a:ln>
                  <a:noFill/>
                </a:ln>
                <a:solidFill>
                  <a:srgbClr val="2C2F7A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lgoritmus programu časného záchytu karcinomu plic</a:t>
            </a:r>
            <a:endParaRPr kumimoji="0" lang="cs-CZ" sz="2400" b="1" i="0" u="none" strike="noStrike" kern="1200" cap="all" spc="0" normalizeH="0" baseline="0" noProof="0" dirty="0">
              <a:ln>
                <a:noFill/>
              </a:ln>
              <a:solidFill>
                <a:srgbClr val="2C2F7A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E117F8AE-7205-92C7-D5D7-EB3B30291E68}"/>
              </a:ext>
            </a:extLst>
          </p:cNvPr>
          <p:cNvSpPr txBox="1"/>
          <p:nvPr/>
        </p:nvSpPr>
        <p:spPr>
          <a:xfrm>
            <a:off x="189262" y="1468346"/>
            <a:ext cx="3352048" cy="892552"/>
          </a:xfrm>
          <a:prstGeom prst="rect">
            <a:avLst/>
          </a:prstGeom>
          <a:solidFill>
            <a:srgbClr val="2C2F7A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300" b="1" dirty="0">
                <a:solidFill>
                  <a:schemeClr val="bg1"/>
                </a:solidFill>
                <a:latin typeface="Arial" panose="020B0604020202020204"/>
              </a:rPr>
              <a:t>Program je určen pr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b</a:t>
            </a:r>
            <a:r>
              <a:rPr kumimoji="0" lang="cs-CZ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valé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bo současné kuř</a:t>
            </a:r>
            <a:r>
              <a:rPr lang="cs-CZ" sz="1300" dirty="0" err="1">
                <a:solidFill>
                  <a:schemeClr val="bg1"/>
                </a:solidFill>
                <a:latin typeface="Arial" panose="020B0604020202020204"/>
              </a:rPr>
              <a:t>áky</a:t>
            </a: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v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 věku 55</a:t>
            </a: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–74 let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300" dirty="0">
                <a:solidFill>
                  <a:schemeClr val="bg1"/>
                </a:solidFill>
                <a:latin typeface="Arial" panose="020B0604020202020204"/>
              </a:rPr>
              <a:t>s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čtem </a:t>
            </a:r>
            <a:r>
              <a:rPr kumimoji="0" lang="cs-CZ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íčkoroků</a:t>
            </a:r>
            <a:r>
              <a:rPr kumimoji="0" lang="cs-CZ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lespoň 20 </a:t>
            </a:r>
          </a:p>
        </p:txBody>
      </p:sp>
      <p:pic>
        <p:nvPicPr>
          <p:cNvPr id="33" name="Grafický objekt 32">
            <a:extLst>
              <a:ext uri="{FF2B5EF4-FFF2-40B4-BE49-F238E27FC236}">
                <a16:creationId xmlns:a16="http://schemas.microsoft.com/office/drawing/2014/main" id="{C93AD58A-0BAA-0F80-770A-1CE41CD61F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1529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C3209B94-D503-BE29-7FEB-F306A8D97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1" y="485644"/>
            <a:ext cx="9802034" cy="720000"/>
          </a:xfrm>
        </p:spPr>
        <p:txBody>
          <a:bodyPr>
            <a:normAutofit/>
          </a:bodyPr>
          <a:lstStyle/>
          <a:p>
            <a:r>
              <a:rPr lang="cs-CZ" dirty="0"/>
              <a:t>Počet zapojených osob do programu</a:t>
            </a:r>
          </a:p>
        </p:txBody>
      </p:sp>
      <p:sp>
        <p:nvSpPr>
          <p:cNvPr id="4" name="Zaoblený obdélník 22">
            <a:extLst>
              <a:ext uri="{FF2B5EF4-FFF2-40B4-BE49-F238E27FC236}">
                <a16:creationId xmlns:a16="http://schemas.microsoft.com/office/drawing/2014/main" id="{EEB65EC0-BF63-7882-1652-5BEAB736BAEE}"/>
              </a:ext>
            </a:extLst>
          </p:cNvPr>
          <p:cNvSpPr/>
          <p:nvPr/>
        </p:nvSpPr>
        <p:spPr>
          <a:xfrm>
            <a:off x="9229592" y="3506030"/>
            <a:ext cx="2425702" cy="1015200"/>
          </a:xfrm>
          <a:prstGeom prst="roundRect">
            <a:avLst/>
          </a:prstGeom>
          <a:solidFill>
            <a:srgbClr val="2C2F79"/>
          </a:solidFill>
          <a:ln>
            <a:solidFill>
              <a:srgbClr val="2C2F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soby s provedeným LDCT na radiologickém pracoviš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 = 14 989</a:t>
            </a:r>
            <a:endParaRPr kumimoji="0" lang="nb-NO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Zaoblený obdélník 22">
            <a:extLst>
              <a:ext uri="{FF2B5EF4-FFF2-40B4-BE49-F238E27FC236}">
                <a16:creationId xmlns:a16="http://schemas.microsoft.com/office/drawing/2014/main" id="{FD1BD401-A0FD-E55D-4DF5-2DCB718470AC}"/>
              </a:ext>
            </a:extLst>
          </p:cNvPr>
          <p:cNvSpPr/>
          <p:nvPr/>
        </p:nvSpPr>
        <p:spPr>
          <a:xfrm>
            <a:off x="5680924" y="3144378"/>
            <a:ext cx="2771516" cy="1738983"/>
          </a:xfrm>
          <a:prstGeom prst="roundRect">
            <a:avLst/>
          </a:prstGeom>
          <a:ln>
            <a:solidFill>
              <a:srgbClr val="2C2F79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yšetření u pneumologa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 = 20</a:t>
            </a:r>
            <a:r>
              <a:rPr lang="cs-CZ" sz="1600" b="1" dirty="0">
                <a:solidFill>
                  <a:prstClr val="white"/>
                </a:solidFill>
                <a:latin typeface="Calibri"/>
              </a:rPr>
              <a:t> 34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cient přichází od PL: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lang="cs-CZ" sz="1100" b="1" dirty="0">
                <a:solidFill>
                  <a:schemeClr val="bg1"/>
                </a:solidFill>
                <a:latin typeface="+mj-lt"/>
              </a:rPr>
              <a:t>10 45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cient přichází přímo k PN: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lang="cs-CZ" sz="1100" b="1" dirty="0">
                <a:solidFill>
                  <a:prstClr val="white"/>
                </a:solidFill>
                <a:latin typeface="+mj-lt"/>
              </a:rPr>
              <a:t>9 898</a:t>
            </a:r>
            <a:endParaRPr kumimoji="0" lang="nb-NO" sz="11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B3B87E26-6DFA-EB46-53E3-82DF8DABC37C}"/>
              </a:ext>
            </a:extLst>
          </p:cNvPr>
          <p:cNvCxnSpPr>
            <a:cxnSpLocks/>
          </p:cNvCxnSpPr>
          <p:nvPr/>
        </p:nvCxnSpPr>
        <p:spPr>
          <a:xfrm>
            <a:off x="5263764" y="2549667"/>
            <a:ext cx="0" cy="2880123"/>
          </a:xfrm>
          <a:prstGeom prst="line">
            <a:avLst/>
          </a:prstGeom>
          <a:ln>
            <a:solidFill>
              <a:srgbClr val="2C2F79"/>
            </a:solidFill>
            <a:prstDash val="sysDot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2109C244-592A-B4BB-0CEA-FB1E8D8B6AB4}"/>
              </a:ext>
            </a:extLst>
          </p:cNvPr>
          <p:cNvCxnSpPr>
            <a:cxnSpLocks/>
          </p:cNvCxnSpPr>
          <p:nvPr/>
        </p:nvCxnSpPr>
        <p:spPr>
          <a:xfrm>
            <a:off x="8745045" y="2549667"/>
            <a:ext cx="0" cy="2868175"/>
          </a:xfrm>
          <a:prstGeom prst="line">
            <a:avLst/>
          </a:prstGeom>
          <a:ln>
            <a:solidFill>
              <a:srgbClr val="2C2F79"/>
            </a:solidFill>
            <a:prstDash val="sysDot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cxnSp>
      <p:pic>
        <p:nvPicPr>
          <p:cNvPr id="17" name="Grafický objekt 16" descr="Lékař samčího pohlaví se souvislou výplní">
            <a:extLst>
              <a:ext uri="{FF2B5EF4-FFF2-40B4-BE49-F238E27FC236}">
                <a16:creationId xmlns:a16="http://schemas.microsoft.com/office/drawing/2014/main" id="{5ED89C2B-8861-C1BE-B5FD-A8B65626B2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36548" y="1929731"/>
            <a:ext cx="914400" cy="914400"/>
          </a:xfrm>
          <a:prstGeom prst="rect">
            <a:avLst/>
          </a:prstGeom>
        </p:spPr>
      </p:pic>
      <p:pic>
        <p:nvPicPr>
          <p:cNvPr id="18" name="Grafický objekt 17" descr="Plíce obrys">
            <a:extLst>
              <a:ext uri="{FF2B5EF4-FFF2-40B4-BE49-F238E27FC236}">
                <a16:creationId xmlns:a16="http://schemas.microsoft.com/office/drawing/2014/main" id="{C33EB7C9-3B82-2E9E-5E1E-BBE29DB0FAF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18227" y="1908565"/>
            <a:ext cx="625216" cy="625216"/>
          </a:xfrm>
          <a:prstGeom prst="rect">
            <a:avLst/>
          </a:prstGeom>
        </p:spPr>
      </p:pic>
      <p:pic>
        <p:nvPicPr>
          <p:cNvPr id="19" name="Grafický objekt 18" descr="Radioaktivní obrys">
            <a:extLst>
              <a:ext uri="{FF2B5EF4-FFF2-40B4-BE49-F238E27FC236}">
                <a16:creationId xmlns:a16="http://schemas.microsoft.com/office/drawing/2014/main" id="{178EAB71-FF5E-7535-4B9C-FA1D5D42B86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499327" y="1963467"/>
            <a:ext cx="457200" cy="457200"/>
          </a:xfrm>
          <a:prstGeom prst="rect">
            <a:avLst/>
          </a:prstGeom>
        </p:spPr>
      </p:pic>
      <p:pic>
        <p:nvPicPr>
          <p:cNvPr id="20" name="Grafický objekt 19" descr="Lékař samčího pohlaví se souvislou výplní">
            <a:extLst>
              <a:ext uri="{FF2B5EF4-FFF2-40B4-BE49-F238E27FC236}">
                <a16:creationId xmlns:a16="http://schemas.microsoft.com/office/drawing/2014/main" id="{8AB9E006-6575-D6AF-D04B-924D2CFFA13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17828" y="1929731"/>
            <a:ext cx="914400" cy="914400"/>
          </a:xfrm>
          <a:prstGeom prst="rect">
            <a:avLst/>
          </a:prstGeom>
        </p:spPr>
      </p:pic>
      <p:sp>
        <p:nvSpPr>
          <p:cNvPr id="7" name="Zaoblený obdélník 21">
            <a:extLst>
              <a:ext uri="{FF2B5EF4-FFF2-40B4-BE49-F238E27FC236}">
                <a16:creationId xmlns:a16="http://schemas.microsoft.com/office/drawing/2014/main" id="{563A70DB-2D5E-0C42-403A-3575370EC2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32377" y="4414590"/>
            <a:ext cx="2114228" cy="1015200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odeslán k P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ýkon 01196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16 787 (</a:t>
            </a:r>
            <a:r>
              <a:rPr lang="cs-CZ" sz="1400" b="1" kern="0" dirty="0">
                <a:solidFill>
                  <a:prstClr val="white"/>
                </a:solidFill>
                <a:latin typeface="Arial" panose="020B0604020202020204"/>
              </a:rPr>
              <a:t>50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6 %)</a:t>
            </a: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oblený obdélník 22">
            <a:extLst>
              <a:ext uri="{FF2B5EF4-FFF2-40B4-BE49-F238E27FC236}">
                <a16:creationId xmlns:a16="http://schemas.microsoft.com/office/drawing/2014/main" id="{22095223-A94A-D618-F063-C2496DBA3896}"/>
              </a:ext>
            </a:extLst>
          </p:cNvPr>
          <p:cNvSpPr/>
          <p:nvPr/>
        </p:nvSpPr>
        <p:spPr>
          <a:xfrm>
            <a:off x="507430" y="4421046"/>
            <a:ext cx="2113200" cy="1015200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odmítá úča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ýkon 01197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 16 367 (</a:t>
            </a:r>
            <a:r>
              <a:rPr lang="cs-CZ" sz="1400" b="1" kern="0" dirty="0">
                <a:solidFill>
                  <a:prstClr val="white"/>
                </a:solidFill>
                <a:latin typeface="Arial" panose="020B0604020202020204"/>
              </a:rPr>
              <a:t>49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4 %)</a:t>
            </a: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Šipka doprava 39">
            <a:extLst>
              <a:ext uri="{FF2B5EF4-FFF2-40B4-BE49-F238E27FC236}">
                <a16:creationId xmlns:a16="http://schemas.microsoft.com/office/drawing/2014/main" id="{5E313F6A-D86C-1A64-E7DC-011282F89ED0}"/>
              </a:ext>
            </a:extLst>
          </p:cNvPr>
          <p:cNvSpPr/>
          <p:nvPr/>
        </p:nvSpPr>
        <p:spPr>
          <a:xfrm rot="2488568">
            <a:off x="2668648" y="3872306"/>
            <a:ext cx="845339" cy="352587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Šipka doprava 40">
            <a:extLst>
              <a:ext uri="{FF2B5EF4-FFF2-40B4-BE49-F238E27FC236}">
                <a16:creationId xmlns:a16="http://schemas.microsoft.com/office/drawing/2014/main" id="{21E25C77-692A-F532-E2D9-018C2A7C9627}"/>
              </a:ext>
            </a:extLst>
          </p:cNvPr>
          <p:cNvSpPr/>
          <p:nvPr/>
        </p:nvSpPr>
        <p:spPr>
          <a:xfrm rot="8469263">
            <a:off x="1947258" y="3837337"/>
            <a:ext cx="1065507" cy="352587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Zaoblený obdélník 25">
            <a:extLst>
              <a:ext uri="{FF2B5EF4-FFF2-40B4-BE49-F238E27FC236}">
                <a16:creationId xmlns:a16="http://schemas.microsoft.com/office/drawing/2014/main" id="{C12DD54B-7657-CC16-FFB4-40B6F9B08A3A}"/>
              </a:ext>
            </a:extLst>
          </p:cNvPr>
          <p:cNvSpPr/>
          <p:nvPr/>
        </p:nvSpPr>
        <p:spPr>
          <a:xfrm>
            <a:off x="1662267" y="2824951"/>
            <a:ext cx="2114228" cy="1014108"/>
          </a:xfrm>
          <a:prstGeom prst="roundRect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osloven</a:t>
            </a:r>
            <a:b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praktického lékař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33</a:t>
            </a:r>
            <a:r>
              <a:rPr lang="cs-CZ" sz="1400" b="1" kern="0" dirty="0">
                <a:solidFill>
                  <a:prstClr val="white"/>
                </a:solidFill>
                <a:latin typeface="Arial" panose="020B0604020202020204"/>
              </a:rPr>
              <a:t> 154</a:t>
            </a:r>
            <a:endParaRPr kumimoji="0" lang="cs-CZ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ABECB8CF-5EF4-DD5E-D0A3-D78D03CEEAE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953018" y="1421754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26" name="Zástupný text 5">
            <a:extLst>
              <a:ext uri="{FF2B5EF4-FFF2-40B4-BE49-F238E27FC236}">
                <a16:creationId xmlns:a16="http://schemas.microsoft.com/office/drawing/2014/main" id="{0EF9D203-633D-AE1D-D1F1-6A0DA5073204}"/>
              </a:ext>
            </a:extLst>
          </p:cNvPr>
          <p:cNvSpPr txBox="1">
            <a:spLocks/>
          </p:cNvSpPr>
          <p:nvPr/>
        </p:nvSpPr>
        <p:spPr>
          <a:xfrm>
            <a:off x="732000" y="5913309"/>
            <a:ext cx="10728000" cy="720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rámci programu bylo </a:t>
            </a:r>
            <a:r>
              <a:rPr kumimoji="0" lang="cs-CZ" sz="15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období 1. 1. 2022 – 31. </a:t>
            </a:r>
            <a:r>
              <a:rPr lang="cs-CZ" sz="15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12</a:t>
            </a:r>
            <a:r>
              <a:rPr kumimoji="0" lang="cs-CZ" sz="15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 </a:t>
            </a:r>
            <a:r>
              <a:rPr lang="cs-CZ" sz="1500" b="1" dirty="0">
                <a:solidFill>
                  <a:schemeClr val="accent1"/>
                </a:solidFill>
              </a:rPr>
              <a:t>celkově osloveno 43 052 osob. Praktičtí lékaři oslovili 33 154 osob</a:t>
            </a: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b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nichž přibližně </a:t>
            </a:r>
            <a:r>
              <a:rPr kumimoji="0" lang="cs-CZ" sz="15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</a:t>
            </a:r>
            <a:r>
              <a:rPr lang="cs-CZ" sz="1500" b="1" dirty="0">
                <a:solidFill>
                  <a:schemeClr val="accent1"/>
                </a:solidFill>
              </a:rPr>
              <a:t> % souhlasilo s účastí v programu</a:t>
            </a: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V uvedeném období bylo celkově </a:t>
            </a:r>
            <a:r>
              <a:rPr lang="cs-CZ" sz="1500" b="1" dirty="0">
                <a:solidFill>
                  <a:schemeClr val="accent1"/>
                </a:solidFill>
              </a:rPr>
              <a:t>vyšetřeno 20 349 osob u pneumologa </a:t>
            </a:r>
            <a:br>
              <a:rPr lang="cs-CZ" sz="1500" b="1" dirty="0">
                <a:solidFill>
                  <a:schemeClr val="accent1"/>
                </a:solidFill>
              </a:rPr>
            </a:br>
            <a:r>
              <a:rPr lang="cs-CZ" sz="1500" dirty="0">
                <a:solidFill>
                  <a:schemeClr val="bg2">
                    <a:lumMod val="10000"/>
                  </a:schemeClr>
                </a:solidFill>
              </a:rPr>
              <a:t>(9 898 napřímo bez předchozí návštěvy u PL), </a:t>
            </a:r>
            <a:r>
              <a:rPr lang="cs-CZ" sz="1500" b="1" dirty="0">
                <a:solidFill>
                  <a:schemeClr val="accent1"/>
                </a:solidFill>
              </a:rPr>
              <a:t>14 989 osob </a:t>
            </a:r>
            <a:r>
              <a:rPr kumimoji="0" lang="cs-CZ" sz="15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stoupilo </a:t>
            </a:r>
            <a:r>
              <a:rPr lang="cs-CZ" sz="1500" b="1" dirty="0">
                <a:solidFill>
                  <a:schemeClr val="accent1"/>
                </a:solidFill>
              </a:rPr>
              <a:t>první </a:t>
            </a:r>
            <a:r>
              <a:rPr lang="cs-CZ" sz="1500" b="1" dirty="0" err="1">
                <a:solidFill>
                  <a:schemeClr val="accent1"/>
                </a:solidFill>
              </a:rPr>
              <a:t>nízkodávkové</a:t>
            </a:r>
            <a:r>
              <a:rPr lang="cs-CZ" sz="1500" b="1" dirty="0">
                <a:solidFill>
                  <a:schemeClr val="accent1"/>
                </a:solidFill>
              </a:rPr>
              <a:t> CT (LDCT).</a:t>
            </a:r>
          </a:p>
        </p:txBody>
      </p:sp>
      <p:pic>
        <p:nvPicPr>
          <p:cNvPr id="9" name="Grafický objekt 8" descr="Lékař samčího pohlaví se souvislou výplní">
            <a:extLst>
              <a:ext uri="{FF2B5EF4-FFF2-40B4-BE49-F238E27FC236}">
                <a16:creationId xmlns:a16="http://schemas.microsoft.com/office/drawing/2014/main" id="{6CBE4886-511B-4C13-335F-01CA328358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62181" y="1926590"/>
            <a:ext cx="914400" cy="914400"/>
          </a:xfrm>
          <a:prstGeom prst="rect">
            <a:avLst/>
          </a:prstGeom>
        </p:spPr>
      </p:pic>
      <p:sp>
        <p:nvSpPr>
          <p:cNvPr id="8" name="Zástupný symbol pro obsah 4">
            <a:extLst>
              <a:ext uri="{FF2B5EF4-FFF2-40B4-BE49-F238E27FC236}">
                <a16:creationId xmlns:a16="http://schemas.microsoft.com/office/drawing/2014/main" id="{D826AACD-8B30-0B85-4F6A-9A8411E71C8C}"/>
              </a:ext>
            </a:extLst>
          </p:cNvPr>
          <p:cNvSpPr txBox="1">
            <a:spLocks/>
          </p:cNvSpPr>
          <p:nvPr/>
        </p:nvSpPr>
        <p:spPr>
          <a:xfrm>
            <a:off x="1473554" y="1093604"/>
            <a:ext cx="7742037" cy="8098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</a:t>
            </a:r>
          </a:p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N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neumolog (25507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5022, 25023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V případě vykázaného výkonů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21</a:t>
            </a:r>
            <a:r>
              <a:rPr lang="cs-CZ" sz="1100" b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22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bo </a:t>
            </a:r>
            <a:r>
              <a:rPr lang="cs-CZ" sz="1100" b="0" dirty="0">
                <a:solidFill>
                  <a:srgbClr val="C00000"/>
                </a:solidFill>
                <a:latin typeface="Arial" panose="020B0604020202020204"/>
              </a:rPr>
              <a:t>25023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y uvažovány jen takové osoby, které měly současně s tímto výkonem vykázán jeden z výkonů u radiologa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89663, 89664, 89665).</a:t>
            </a:r>
          </a:p>
        </p:txBody>
      </p:sp>
      <p:sp>
        <p:nvSpPr>
          <p:cNvPr id="10" name="Zástupný text 3">
            <a:extLst>
              <a:ext uri="{FF2B5EF4-FFF2-40B4-BE49-F238E27FC236}">
                <a16:creationId xmlns:a16="http://schemas.microsoft.com/office/drawing/2014/main" id="{9BF727FC-41BF-15E4-3CCE-D79A2C3CD8FD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498B7F34-DF7E-F5B7-2656-CF8B585C97D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4470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 descr="Obsah obrázku mapa, Elektricky modrá&#10;&#10;Obsah vygenerovaný umělou inteligencí může být nesprávný.">
            <a:extLst>
              <a:ext uri="{FF2B5EF4-FFF2-40B4-BE49-F238E27FC236}">
                <a16:creationId xmlns:a16="http://schemas.microsoft.com/office/drawing/2014/main" id="{0FD1CFA9-82F4-E426-AB0D-910619E0C3B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739" t="2448" r="9722" b="5209"/>
          <a:stretch/>
        </p:blipFill>
        <p:spPr>
          <a:xfrm>
            <a:off x="5856483" y="2178802"/>
            <a:ext cx="6069025" cy="3503485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5849" y="490974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výsledky oslovení osob u praktického lékaře</a:t>
            </a:r>
            <a:br>
              <a:rPr lang="cs-CZ" dirty="0"/>
            </a:br>
            <a:r>
              <a:rPr lang="cs-CZ" dirty="0"/>
              <a:t>v 1. screeningové epizodě –</a:t>
            </a:r>
            <a:r>
              <a:rPr lang="cs-CZ" dirty="0">
                <a:solidFill>
                  <a:schemeClr val="accent3"/>
                </a:solidFill>
              </a:rPr>
              <a:t> ČR vs. plzeňský kraj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816F2048-3F45-35CE-84FD-CF118F6788E1}"/>
              </a:ext>
            </a:extLst>
          </p:cNvPr>
          <p:cNvGrpSpPr/>
          <p:nvPr/>
        </p:nvGrpSpPr>
        <p:grpSpPr>
          <a:xfrm>
            <a:off x="427494" y="3926368"/>
            <a:ext cx="5313470" cy="1892874"/>
            <a:chOff x="550973" y="2267806"/>
            <a:chExt cx="4946961" cy="2604839"/>
          </a:xfrm>
        </p:grpSpPr>
        <p:sp>
          <p:nvSpPr>
            <p:cNvPr id="29" name="Zaoblený obdélník 21">
              <a:extLst>
                <a:ext uri="{FF2B5EF4-FFF2-40B4-BE49-F238E27FC236}">
                  <a16:creationId xmlns:a16="http://schemas.microsoft.com/office/drawing/2014/main" id="{BDDB3944-E264-3C7E-4CC8-6D79DA836A8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50973" y="3857446"/>
              <a:ext cx="2114228" cy="1015199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uhlasí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 účastí </a:t>
              </a:r>
              <a:r>
                <a:rPr kumimoji="0" lang="cs-CZ" sz="11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6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</a:t>
              </a:r>
              <a:r>
                <a:rPr lang="cs-CZ" sz="1100" b="1" kern="0" dirty="0">
                  <a:solidFill>
                    <a:prstClr val="white"/>
                  </a:solidFill>
                  <a:latin typeface="Arial" panose="020B0604020202020204"/>
                </a:rPr>
                <a:t>570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(50,2 %)</a:t>
              </a:r>
              <a:endParaRPr kumimoji="0" lang="nb-NO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Zaoblený obdélník 22">
              <a:extLst>
                <a:ext uri="{FF2B5EF4-FFF2-40B4-BE49-F238E27FC236}">
                  <a16:creationId xmlns:a16="http://schemas.microsoft.com/office/drawing/2014/main" id="{CE2D5944-BE8D-10FD-231C-E39536EF305A}"/>
                </a:ext>
              </a:extLst>
            </p:cNvPr>
            <p:cNvSpPr/>
            <p:nvPr/>
          </p:nvSpPr>
          <p:spPr>
            <a:xfrm>
              <a:off x="3384734" y="3845497"/>
              <a:ext cx="2113200" cy="1015199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dmítá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účas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7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566 (49,8 %)</a:t>
              </a:r>
              <a:endParaRPr kumimoji="0" lang="nb-NO" sz="1100" b="1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Šipka doprava 39">
              <a:extLst>
                <a:ext uri="{FF2B5EF4-FFF2-40B4-BE49-F238E27FC236}">
                  <a16:creationId xmlns:a16="http://schemas.microsoft.com/office/drawing/2014/main" id="{10A1880A-4154-EE7C-AA62-8E3E9CCB776F}"/>
                </a:ext>
              </a:extLst>
            </p:cNvPr>
            <p:cNvSpPr/>
            <p:nvPr/>
          </p:nvSpPr>
          <p:spPr>
            <a:xfrm rot="2488568">
              <a:off x="3015515" y="3258868"/>
              <a:ext cx="683588" cy="352588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Šipka doprava 40">
              <a:extLst>
                <a:ext uri="{FF2B5EF4-FFF2-40B4-BE49-F238E27FC236}">
                  <a16:creationId xmlns:a16="http://schemas.microsoft.com/office/drawing/2014/main" id="{7D4F5A34-07CA-8ADF-80BA-DB0078A82F01}"/>
                </a:ext>
              </a:extLst>
            </p:cNvPr>
            <p:cNvSpPr/>
            <p:nvPr/>
          </p:nvSpPr>
          <p:spPr>
            <a:xfrm rot="8469263">
              <a:off x="2430192" y="3186605"/>
              <a:ext cx="863612" cy="352588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Zaoblený obdélník 25">
              <a:extLst>
                <a:ext uri="{FF2B5EF4-FFF2-40B4-BE49-F238E27FC236}">
                  <a16:creationId xmlns:a16="http://schemas.microsoft.com/office/drawing/2014/main" id="{37422D94-505A-F2AB-88E2-25C70BA106BA}"/>
                </a:ext>
              </a:extLst>
            </p:cNvPr>
            <p:cNvSpPr/>
            <p:nvPr/>
          </p:nvSpPr>
          <p:spPr>
            <a:xfrm>
              <a:off x="1965635" y="2267806"/>
              <a:ext cx="2114228" cy="101410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slovené osoby u PL </a:t>
              </a:r>
              <a:b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 okresem bydliště </a:t>
              </a:r>
              <a:b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 Plzeňském</a:t>
              </a:r>
              <a:r>
                <a:rPr lang="cs-CZ" sz="1100" b="1" kern="0" dirty="0">
                  <a:solidFill>
                    <a:srgbClr val="C00000"/>
                  </a:solidFill>
                  <a:latin typeface="Arial" panose="020B0604020202020204"/>
                </a:rPr>
                <a:t> kraji</a:t>
              </a: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1 136</a:t>
              </a:r>
            </a:p>
          </p:txBody>
        </p:sp>
      </p:grpSp>
      <p:sp>
        <p:nvSpPr>
          <p:cNvPr id="36" name="Rectangle 21">
            <a:extLst>
              <a:ext uri="{FF2B5EF4-FFF2-40B4-BE49-F238E27FC236}">
                <a16:creationId xmlns:a16="http://schemas.microsoft.com/office/drawing/2014/main" id="{4768BA82-BB3B-F743-0B30-F95B6DA7094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150712" y="1708920"/>
            <a:ext cx="2233496" cy="43085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 bydliště pacientů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722C3466-123A-8992-D7A0-947A76F4662E}"/>
              </a:ext>
            </a:extLst>
          </p:cNvPr>
          <p:cNvSpPr txBox="1"/>
          <p:nvPr/>
        </p:nvSpPr>
        <p:spPr>
          <a:xfrm>
            <a:off x="7123246" y="5648419"/>
            <a:ext cx="42713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.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227 pacientů nebyl k dispozici okres bydliště</a:t>
            </a:r>
          </a:p>
        </p:txBody>
      </p:sp>
      <p:sp>
        <p:nvSpPr>
          <p:cNvPr id="3" name="Zástupný text 5">
            <a:extLst>
              <a:ext uri="{FF2B5EF4-FFF2-40B4-BE49-F238E27FC236}">
                <a16:creationId xmlns:a16="http://schemas.microsoft.com/office/drawing/2014/main" id="{6112E57E-DA03-60B3-64BB-A610DBC3F9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5225" y="6030874"/>
            <a:ext cx="11460000" cy="672133"/>
          </a:xfrm>
        </p:spPr>
        <p:txBody>
          <a:bodyPr anchor="ctr">
            <a:normAutofit/>
          </a:bodyPr>
          <a:lstStyle/>
          <a:p>
            <a:pPr algn="ctr"/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 rámci programu bylo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za období 1. 1. 2022 – 31. 12. 2024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sloveno 1 136 osob s okresem bydliště v Plzeňském kraji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, </a:t>
            </a:r>
            <a:b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</a:b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z nichž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50 % souhlasilo s účastí v programu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.</a:t>
            </a:r>
            <a:b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</a:b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Nejvyšší počet oslovených osob 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v rámci Plzeňského kraje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byl v okrese Plzeň-město 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(N = 417) a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nejnižší v okrese Domažlice</a:t>
            </a:r>
            <a:r>
              <a:rPr lang="cs-CZ" sz="1400" kern="0" dirty="0">
                <a:solidFill>
                  <a:srgbClr val="DDDCE0">
                    <a:lumMod val="10000"/>
                  </a:srgbClr>
                </a:solidFill>
                <a:latin typeface="+mj-lt"/>
              </a:rPr>
              <a:t> (N = 47).</a:t>
            </a:r>
            <a:endParaRPr lang="cs-CZ" sz="1400" dirty="0"/>
          </a:p>
        </p:txBody>
      </p:sp>
      <p:sp>
        <p:nvSpPr>
          <p:cNvPr id="10" name="Zástupný symbol pro obsah 4">
            <a:extLst>
              <a:ext uri="{FF2B5EF4-FFF2-40B4-BE49-F238E27FC236}">
                <a16:creationId xmlns:a16="http://schemas.microsoft.com/office/drawing/2014/main" id="{DA24F2E9-31A5-CA0E-DA25-AA6CDE70F07C}"/>
              </a:ext>
            </a:extLst>
          </p:cNvPr>
          <p:cNvSpPr txBox="1">
            <a:spLocks/>
          </p:cNvSpPr>
          <p:nvPr/>
        </p:nvSpPr>
        <p:spPr>
          <a:xfrm>
            <a:off x="294209" y="1269961"/>
            <a:ext cx="2469269" cy="319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</a:t>
            </a:r>
          </a:p>
        </p:txBody>
      </p:sp>
      <p:grpSp>
        <p:nvGrpSpPr>
          <p:cNvPr id="41" name="Skupina 40">
            <a:extLst>
              <a:ext uri="{FF2B5EF4-FFF2-40B4-BE49-F238E27FC236}">
                <a16:creationId xmlns:a16="http://schemas.microsoft.com/office/drawing/2014/main" id="{7000DFDB-EC02-B92C-CBC1-69A35E83EAA3}"/>
              </a:ext>
            </a:extLst>
          </p:cNvPr>
          <p:cNvGrpSpPr/>
          <p:nvPr/>
        </p:nvGrpSpPr>
        <p:grpSpPr>
          <a:xfrm>
            <a:off x="10605657" y="1523614"/>
            <a:ext cx="1723887" cy="1728241"/>
            <a:chOff x="10334763" y="1823806"/>
            <a:chExt cx="1723887" cy="1728241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537BCD84-7E58-23B8-B833-C1B9B251FF87}"/>
                </a:ext>
              </a:extLst>
            </p:cNvPr>
            <p:cNvGrpSpPr/>
            <p:nvPr/>
          </p:nvGrpSpPr>
          <p:grpSpPr>
            <a:xfrm>
              <a:off x="10374838" y="1829240"/>
              <a:ext cx="1683812" cy="1722807"/>
              <a:chOff x="5643529" y="5319230"/>
              <a:chExt cx="1371405" cy="1681710"/>
            </a:xfrm>
          </p:grpSpPr>
          <p:grpSp>
            <p:nvGrpSpPr>
              <p:cNvPr id="12" name="Skupina 11">
                <a:extLst>
                  <a:ext uri="{FF2B5EF4-FFF2-40B4-BE49-F238E27FC236}">
                    <a16:creationId xmlns:a16="http://schemas.microsoft.com/office/drawing/2014/main" id="{2B5C800A-86C3-0F2A-F4B0-26D93F4B8421}"/>
                  </a:ext>
                </a:extLst>
              </p:cNvPr>
              <p:cNvGrpSpPr/>
              <p:nvPr/>
            </p:nvGrpSpPr>
            <p:grpSpPr>
              <a:xfrm>
                <a:off x="5643529" y="5319230"/>
                <a:ext cx="1371405" cy="1681710"/>
                <a:chOff x="7866483" y="2402404"/>
                <a:chExt cx="1371405" cy="1681710"/>
              </a:xfrm>
            </p:grpSpPr>
            <p:sp>
              <p:nvSpPr>
                <p:cNvPr id="15" name="Text Box 3">
                  <a:extLst>
                    <a:ext uri="{FF2B5EF4-FFF2-40B4-BE49-F238E27FC236}">
                      <a16:creationId xmlns:a16="http://schemas.microsoft.com/office/drawing/2014/main" id="{1A3625AB-49B8-3F1A-FC7F-7389D8199FA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866483" y="2402404"/>
                  <a:ext cx="1230382" cy="1681710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77">
                  <a:extLst>
                    <a:ext uri="{FF2B5EF4-FFF2-40B4-BE49-F238E27FC236}">
                      <a16:creationId xmlns:a16="http://schemas.microsoft.com/office/drawing/2014/main" id="{AF3DAAF0-26D8-72A6-EA32-7C59CA380A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5750" y="3067788"/>
                  <a:ext cx="180000" cy="180000"/>
                </a:xfrm>
                <a:prstGeom prst="rect">
                  <a:avLst/>
                </a:prstGeom>
                <a:solidFill>
                  <a:srgbClr val="BDD8F0"/>
                </a:solidFill>
                <a:ln w="952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lIns="90000" tIns="46800" rIns="90000" bIns="4680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7" name="Rectangle 177">
                  <a:extLst>
                    <a:ext uri="{FF2B5EF4-FFF2-40B4-BE49-F238E27FC236}">
                      <a16:creationId xmlns:a16="http://schemas.microsoft.com/office/drawing/2014/main" id="{720C1E1A-DD77-E63E-F24F-FBC15DDE16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5750" y="3309088"/>
                  <a:ext cx="180000" cy="180000"/>
                </a:xfrm>
                <a:prstGeom prst="rect">
                  <a:avLst/>
                </a:prstGeom>
                <a:solidFill>
                  <a:srgbClr val="73B3D8"/>
                </a:solidFill>
                <a:ln w="952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lIns="90000" tIns="46800" rIns="90000" bIns="4680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8" name="Rectangle 177">
                  <a:extLst>
                    <a:ext uri="{FF2B5EF4-FFF2-40B4-BE49-F238E27FC236}">
                      <a16:creationId xmlns:a16="http://schemas.microsoft.com/office/drawing/2014/main" id="{7650BAE0-7048-D521-842A-3F11F791C0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5750" y="3550388"/>
                  <a:ext cx="180000" cy="180000"/>
                </a:xfrm>
                <a:prstGeom prst="rect">
                  <a:avLst/>
                </a:prstGeom>
                <a:solidFill>
                  <a:srgbClr val="2879B9"/>
                </a:solidFill>
                <a:ln w="952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lIns="90000" tIns="46800" rIns="90000" bIns="4680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9" name="Text Box 3">
                  <a:extLst>
                    <a:ext uri="{FF2B5EF4-FFF2-40B4-BE49-F238E27FC236}">
                      <a16:creationId xmlns:a16="http://schemas.microsoft.com/office/drawing/2014/main" id="{99961F56-FF2C-B587-1CBA-4441D3594BC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85750" y="3021853"/>
                  <a:ext cx="1152138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92929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1 až 100</a:t>
                  </a:r>
                </a:p>
              </p:txBody>
            </p:sp>
            <p:sp>
              <p:nvSpPr>
                <p:cNvPr id="20" name="Text Box 3">
                  <a:extLst>
                    <a:ext uri="{FF2B5EF4-FFF2-40B4-BE49-F238E27FC236}">
                      <a16:creationId xmlns:a16="http://schemas.microsoft.com/office/drawing/2014/main" id="{ED4FB7DB-A923-1580-AC95-94C34227571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85750" y="3265718"/>
                  <a:ext cx="1152138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92929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100 až 200</a:t>
                  </a:r>
                </a:p>
              </p:txBody>
            </p:sp>
            <p:sp>
              <p:nvSpPr>
                <p:cNvPr id="21" name="Text Box 3">
                  <a:extLst>
                    <a:ext uri="{FF2B5EF4-FFF2-40B4-BE49-F238E27FC236}">
                      <a16:creationId xmlns:a16="http://schemas.microsoft.com/office/drawing/2014/main" id="{504EDE0E-DF8A-8825-619E-E499DC08034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85750" y="3509582"/>
                  <a:ext cx="1152138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cs-CZ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92929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200 až 300</a:t>
                  </a:r>
                </a:p>
              </p:txBody>
            </p:sp>
          </p:grpSp>
          <p:sp>
            <p:nvSpPr>
              <p:cNvPr id="13" name="Rectangle 177">
                <a:extLst>
                  <a:ext uri="{FF2B5EF4-FFF2-40B4-BE49-F238E27FC236}">
                    <a16:creationId xmlns:a16="http://schemas.microsoft.com/office/drawing/2014/main" id="{0681281E-C12B-4370-E88B-85A68AE54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2658" y="6724715"/>
                <a:ext cx="180000" cy="180000"/>
              </a:xfrm>
              <a:prstGeom prst="rect">
                <a:avLst/>
              </a:prstGeom>
              <a:solidFill>
                <a:srgbClr val="08306B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Text Box 3">
                <a:extLst>
                  <a:ext uri="{FF2B5EF4-FFF2-40B4-BE49-F238E27FC236}">
                    <a16:creationId xmlns:a16="http://schemas.microsoft.com/office/drawing/2014/main" id="{47677D65-ECF4-3258-8A9A-D3389A7598A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62658" y="6683909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00 a více</a:t>
                </a:r>
              </a:p>
            </p:txBody>
          </p:sp>
        </p:grpSp>
        <p:sp>
          <p:nvSpPr>
            <p:cNvPr id="49" name="Text Box 3">
              <a:extLst>
                <a:ext uri="{FF2B5EF4-FFF2-40B4-BE49-F238E27FC236}">
                  <a16:creationId xmlns:a16="http://schemas.microsoft.com/office/drawing/2014/main" id="{75D55E42-4D26-055F-0957-7EE736F861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334763" y="1823806"/>
              <a:ext cx="1609002" cy="60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čet pacientů </a:t>
              </a:r>
              <a:b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 rámci ČR</a:t>
              </a:r>
              <a:b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N = </a:t>
              </a:r>
              <a:r>
                <a:rPr lang="cs-CZ" sz="1100" b="1" dirty="0">
                  <a:solidFill>
                    <a:srgbClr val="DDDCE0">
                      <a:lumMod val="25000"/>
                    </a:srgbClr>
                  </a:solidFill>
                  <a:latin typeface="Arial" panose="020B0604020202020204"/>
                </a:rPr>
                <a:t>32</a:t>
              </a: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927 pacientů)</a:t>
              </a:r>
            </a:p>
          </p:txBody>
        </p:sp>
      </p:grpSp>
      <p:sp>
        <p:nvSpPr>
          <p:cNvPr id="8" name="Rectangle 21">
            <a:extLst>
              <a:ext uri="{FF2B5EF4-FFF2-40B4-BE49-F238E27FC236}">
                <a16:creationId xmlns:a16="http://schemas.microsoft.com/office/drawing/2014/main" id="{7272C277-34C8-4BE8-6AF9-961532FD7B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77545" y="1161498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E74F133-A861-4A6E-8D0F-3F9FC390D7E3}"/>
              </a:ext>
            </a:extLst>
          </p:cNvPr>
          <p:cNvSpPr txBox="1">
            <a:spLocks/>
          </p:cNvSpPr>
          <p:nvPr/>
        </p:nvSpPr>
        <p:spPr>
          <a:xfrm>
            <a:off x="8954464" y="815142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</a:t>
            </a:r>
            <a:r>
              <a:rPr lang="cs-CZ" sz="1050" b="1" dirty="0">
                <a:solidFill>
                  <a:srgbClr val="000000"/>
                </a:solidFill>
                <a:latin typeface="Arial" panose="020B0604020202020204"/>
              </a:rPr>
              <a:t>12</a:t>
            </a:r>
            <a:r>
              <a:rPr kumimoji="0" lang="cs-CZ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</a:t>
            </a:r>
          </a:p>
        </p:txBody>
      </p: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609787DA-3BFA-71F1-9B4C-68A2E5DDADC6}"/>
              </a:ext>
            </a:extLst>
          </p:cNvPr>
          <p:cNvGrpSpPr/>
          <p:nvPr/>
        </p:nvGrpSpPr>
        <p:grpSpPr>
          <a:xfrm>
            <a:off x="443239" y="1714779"/>
            <a:ext cx="5278336" cy="1937915"/>
            <a:chOff x="365225" y="2267806"/>
            <a:chExt cx="4946961" cy="2661934"/>
          </a:xfrm>
        </p:grpSpPr>
        <p:sp>
          <p:nvSpPr>
            <p:cNvPr id="34" name="Zaoblený obdélník 21">
              <a:extLst>
                <a:ext uri="{FF2B5EF4-FFF2-40B4-BE49-F238E27FC236}">
                  <a16:creationId xmlns:a16="http://schemas.microsoft.com/office/drawing/2014/main" id="{BDDB3944-E264-3C7E-4CC8-6D79DA836A8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65225" y="3914540"/>
              <a:ext cx="2114228" cy="1015200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uhlasí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 účastí </a:t>
              </a: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6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16 787 (50,6 %)</a:t>
              </a:r>
              <a:endPara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Zaoblený obdélník 22">
              <a:extLst>
                <a:ext uri="{FF2B5EF4-FFF2-40B4-BE49-F238E27FC236}">
                  <a16:creationId xmlns:a16="http://schemas.microsoft.com/office/drawing/2014/main" id="{CE2D5944-BE8D-10FD-231C-E39536EF305A}"/>
                </a:ext>
              </a:extLst>
            </p:cNvPr>
            <p:cNvSpPr/>
            <p:nvPr/>
          </p:nvSpPr>
          <p:spPr>
            <a:xfrm>
              <a:off x="3198986" y="3902592"/>
              <a:ext cx="2113200" cy="1015200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dmítá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účas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výkon 01197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16 367 (49,4 %)</a:t>
              </a:r>
              <a:endPara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Šipka doprava 39">
              <a:extLst>
                <a:ext uri="{FF2B5EF4-FFF2-40B4-BE49-F238E27FC236}">
                  <a16:creationId xmlns:a16="http://schemas.microsoft.com/office/drawing/2014/main" id="{10A1880A-4154-EE7C-AA62-8E3E9CCB776F}"/>
                </a:ext>
              </a:extLst>
            </p:cNvPr>
            <p:cNvSpPr/>
            <p:nvPr/>
          </p:nvSpPr>
          <p:spPr>
            <a:xfrm rot="2488568">
              <a:off x="2823643" y="3306647"/>
              <a:ext cx="733688" cy="352587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Šipka doprava 40">
              <a:extLst>
                <a:ext uri="{FF2B5EF4-FFF2-40B4-BE49-F238E27FC236}">
                  <a16:creationId xmlns:a16="http://schemas.microsoft.com/office/drawing/2014/main" id="{7D4F5A34-07CA-8ADF-80BA-DB0078A82F01}"/>
                </a:ext>
              </a:extLst>
            </p:cNvPr>
            <p:cNvSpPr/>
            <p:nvPr/>
          </p:nvSpPr>
          <p:spPr>
            <a:xfrm rot="8469263">
              <a:off x="2184343" y="3218453"/>
              <a:ext cx="931191" cy="352587"/>
            </a:xfrm>
            <a:prstGeom prst="rightArrow">
              <a:avLst/>
            </a:prstGeom>
            <a:solidFill>
              <a:schemeClr val="accent1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Zaoblený obdélník 25">
              <a:extLst>
                <a:ext uri="{FF2B5EF4-FFF2-40B4-BE49-F238E27FC236}">
                  <a16:creationId xmlns:a16="http://schemas.microsoft.com/office/drawing/2014/main" id="{37422D94-505A-F2AB-88E2-25C70BA106BA}"/>
                </a:ext>
              </a:extLst>
            </p:cNvPr>
            <p:cNvSpPr/>
            <p:nvPr/>
          </p:nvSpPr>
          <p:spPr>
            <a:xfrm>
              <a:off x="1779890" y="2267806"/>
              <a:ext cx="2114228" cy="101410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ient osloven u P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kern="0" dirty="0">
                  <a:solidFill>
                    <a:schemeClr val="bg2">
                      <a:lumMod val="10000"/>
                    </a:schemeClr>
                  </a:solidFill>
                  <a:latin typeface="Arial" panose="020B0604020202020204"/>
                </a:rPr>
                <a:t>(v rámci celé ČR)</a:t>
              </a: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 = </a:t>
              </a:r>
              <a:r>
                <a:rPr lang="cs-CZ" sz="1200" b="1" kern="0" dirty="0">
                  <a:solidFill>
                    <a:schemeClr val="bg2">
                      <a:lumMod val="10000"/>
                    </a:schemeClr>
                  </a:solidFill>
                  <a:latin typeface="Arial" panose="020B0604020202020204"/>
                </a:rPr>
                <a:t>33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154</a:t>
              </a:r>
            </a:p>
          </p:txBody>
        </p:sp>
      </p:grp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C1CA665C-E61E-7DCD-B5F9-84FAFC7456A8}"/>
              </a:ext>
            </a:extLst>
          </p:cNvPr>
          <p:cNvCxnSpPr>
            <a:cxnSpLocks/>
            <a:stCxn id="44" idx="3"/>
          </p:cNvCxnSpPr>
          <p:nvPr/>
        </p:nvCxnSpPr>
        <p:spPr>
          <a:xfrm flipV="1">
            <a:off x="5822112" y="4663296"/>
            <a:ext cx="820735" cy="20917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4" name="Obdélník 43">
            <a:extLst>
              <a:ext uri="{FF2B5EF4-FFF2-40B4-BE49-F238E27FC236}">
                <a16:creationId xmlns:a16="http://schemas.microsoft.com/office/drawing/2014/main" id="{8F77EB7F-07D0-E74A-AD9D-BEE302AF2C0F}"/>
              </a:ext>
            </a:extLst>
          </p:cNvPr>
          <p:cNvSpPr/>
          <p:nvPr/>
        </p:nvSpPr>
        <p:spPr>
          <a:xfrm>
            <a:off x="357454" y="3819525"/>
            <a:ext cx="5464658" cy="2105893"/>
          </a:xfrm>
          <a:prstGeom prst="rect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2" name="Obrázek 51" descr="Obsah obrázku mapa&#10;&#10;Obsah vygenerovaný umělou inteligencí může být nesprávný.">
            <a:extLst>
              <a:ext uri="{FF2B5EF4-FFF2-40B4-BE49-F238E27FC236}">
                <a16:creationId xmlns:a16="http://schemas.microsoft.com/office/drawing/2014/main" id="{4474D6BC-377E-BE0A-A349-7490AC6E7C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170">
            <a:off x="6087554" y="3418289"/>
            <a:ext cx="1324069" cy="1651171"/>
          </a:xfrm>
          <a:prstGeom prst="rect">
            <a:avLst/>
          </a:prstGeom>
        </p:spPr>
      </p:pic>
      <p:pic>
        <p:nvPicPr>
          <p:cNvPr id="54" name="Grafický objekt 53">
            <a:extLst>
              <a:ext uri="{FF2B5EF4-FFF2-40B4-BE49-F238E27FC236}">
                <a16:creationId xmlns:a16="http://schemas.microsoft.com/office/drawing/2014/main" id="{0E740F6E-EEFA-510B-25FA-9512A24C83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918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cidence zhoubných novotvarů v letech 2019–2023: srovnání PLK a ČR</a:t>
            </a:r>
            <a:br>
              <a:rPr lang="cs-CZ" dirty="0"/>
            </a:br>
            <a:endParaRPr lang="cs-CZ" dirty="0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F4EE0BE-9611-E1C4-EC50-8EEFCEFA9A66}"/>
              </a:ext>
            </a:extLst>
          </p:cNvPr>
          <p:cNvSpPr/>
          <p:nvPr/>
        </p:nvSpPr>
        <p:spPr>
          <a:xfrm>
            <a:off x="2131919" y="1397726"/>
            <a:ext cx="3113641" cy="19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58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nově diagnostikovaných onemocnění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5346700" y="3014815"/>
          <a:ext cx="6337300" cy="1524000"/>
        </p:xfrm>
        <a:graphic>
          <a:graphicData uri="http://schemas.openxmlformats.org/drawingml/2006/table">
            <a:tbl>
              <a:tblPr/>
              <a:tblGrid>
                <a:gridCol w="4422908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957196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957196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ově diagnostikovaných C50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9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nově diagnostikovaných C50 ročně na 100 000 osob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5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9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930776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 bez C44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787466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74699" y="849915"/>
            <a:ext cx="28107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graphicFrame>
        <p:nvGraphicFramePr>
          <p:cNvPr id="3" name="Object 35">
            <a:extLst>
              <a:ext uri="{FF2B5EF4-FFF2-40B4-BE49-F238E27FC236}">
                <a16:creationId xmlns:a16="http://schemas.microsoft.com/office/drawing/2014/main" id="{F9410E11-F3EC-80D4-775F-9FE1DE645E6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oup 91">
            <a:extLst>
              <a:ext uri="{FF2B5EF4-FFF2-40B4-BE49-F238E27FC236}">
                <a16:creationId xmlns:a16="http://schemas.microsoft.com/office/drawing/2014/main" id="{205739CA-1037-AF30-033F-1B7FD605A99E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46700" y="2497780"/>
            <a:ext cx="107950" cy="107950"/>
          </a:xfrm>
          <a:prstGeom prst="rect">
            <a:avLst/>
          </a:prstGeom>
          <a:solidFill>
            <a:srgbClr val="CC9900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46700" y="2328408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99100" y="2282767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zeň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</p:spTree>
    <p:extLst>
      <p:ext uri="{BB962C8B-B14F-4D97-AF65-F5344CB8AC3E}">
        <p14:creationId xmlns:p14="http://schemas.microsoft.com/office/powerpoint/2010/main" val="23730751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ázek 14" descr="Obsah obrázku mapa, atlas, text&#10;&#10;Obsah vygenerovaný umělou inteligencí může být nesprávný.">
            <a:extLst>
              <a:ext uri="{FF2B5EF4-FFF2-40B4-BE49-F238E27FC236}">
                <a16:creationId xmlns:a16="http://schemas.microsoft.com/office/drawing/2014/main" id="{E2ACEB2B-B3DA-D318-FC9F-8C98DFC1E15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750" t="8672" r="8155" b="6504"/>
          <a:stretch/>
        </p:blipFill>
        <p:spPr>
          <a:xfrm>
            <a:off x="6096000" y="2630030"/>
            <a:ext cx="5590912" cy="3197386"/>
          </a:xfrm>
          <a:prstGeom prst="rect">
            <a:avLst/>
          </a:prstGeom>
        </p:spPr>
      </p:pic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1CBC94A7-2AC5-FE39-5169-4C9819364E05}"/>
              </a:ext>
            </a:extLst>
          </p:cNvPr>
          <p:cNvCxnSpPr>
            <a:cxnSpLocks/>
          </p:cNvCxnSpPr>
          <p:nvPr/>
        </p:nvCxnSpPr>
        <p:spPr>
          <a:xfrm>
            <a:off x="1091677" y="3150744"/>
            <a:ext cx="4530525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Zástupný symbol pro obsah 5">
            <a:extLst>
              <a:ext uri="{FF2B5EF4-FFF2-40B4-BE49-F238E27FC236}">
                <a16:creationId xmlns:a16="http://schemas.microsoft.com/office/drawing/2014/main" id="{FDBDF2F1-3B1E-0008-83D3-4EFBD743DC88}"/>
              </a:ext>
            </a:extLst>
          </p:cNvPr>
          <p:cNvGraphicFramePr>
            <a:graphicFrameLocks/>
          </p:cNvGraphicFramePr>
          <p:nvPr/>
        </p:nvGraphicFramePr>
        <p:xfrm>
          <a:off x="327261" y="2035732"/>
          <a:ext cx="5399247" cy="3666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5832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Celkové Zapojení praktických lékařů do programu </a:t>
            </a:r>
            <a:br>
              <a:rPr lang="cs-CZ" dirty="0"/>
            </a:br>
            <a:r>
              <a:rPr lang="cs-CZ" dirty="0">
                <a:solidFill>
                  <a:schemeClr val="accent3"/>
                </a:solidFill>
              </a:rPr>
              <a:t>dle kraje </a:t>
            </a:r>
            <a:r>
              <a:rPr lang="cs-CZ" dirty="0"/>
              <a:t>působiště zdravotnického zařízení 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1">
            <a:extLst>
              <a:ext uri="{FF2B5EF4-FFF2-40B4-BE49-F238E27FC236}">
                <a16:creationId xmlns:a16="http://schemas.microsoft.com/office/drawing/2014/main" id="{F668721C-1AAA-41E9-6183-7B641347FF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59462" y="1841468"/>
            <a:ext cx="5087388" cy="43085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zapojených zdravotnických zařízení* (IČZ) dle kraj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4C98D16-BA86-251F-690F-B8E2ED60A466}"/>
              </a:ext>
            </a:extLst>
          </p:cNvPr>
          <p:cNvGrpSpPr/>
          <p:nvPr/>
        </p:nvGrpSpPr>
        <p:grpSpPr>
          <a:xfrm>
            <a:off x="10278925" y="1789982"/>
            <a:ext cx="1729172" cy="1519733"/>
            <a:chOff x="5606584" y="5462038"/>
            <a:chExt cx="1408350" cy="1483481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912AA42E-B922-0D1D-36FD-68B97EC8FE1D}"/>
                </a:ext>
              </a:extLst>
            </p:cNvPr>
            <p:cNvGrpSpPr/>
            <p:nvPr/>
          </p:nvGrpSpPr>
          <p:grpSpPr>
            <a:xfrm>
              <a:off x="5606584" y="5462038"/>
              <a:ext cx="1408350" cy="1483481"/>
              <a:chOff x="7829538" y="2545212"/>
              <a:chExt cx="1408350" cy="1483481"/>
            </a:xfrm>
          </p:grpSpPr>
          <p:sp>
            <p:nvSpPr>
              <p:cNvPr id="31" name="Text Box 3">
                <a:extLst>
                  <a:ext uri="{FF2B5EF4-FFF2-40B4-BE49-F238E27FC236}">
                    <a16:creationId xmlns:a16="http://schemas.microsoft.com/office/drawing/2014/main" id="{E258EFA3-C556-D2FD-BF92-D0F7244E824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29538" y="2545212"/>
                <a:ext cx="1310476" cy="1483481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Rectangle 177">
                <a:extLst>
                  <a:ext uri="{FF2B5EF4-FFF2-40B4-BE49-F238E27FC236}">
                    <a16:creationId xmlns:a16="http://schemas.microsoft.com/office/drawing/2014/main" id="{2054FC0E-F350-D824-B3E3-8E86A0042F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5750" y="3067788"/>
                <a:ext cx="180000" cy="180000"/>
              </a:xfrm>
              <a:prstGeom prst="rect">
                <a:avLst/>
              </a:prstGeom>
              <a:solidFill>
                <a:srgbClr val="BDD8F0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33" name="Rectangle 177">
                <a:extLst>
                  <a:ext uri="{FF2B5EF4-FFF2-40B4-BE49-F238E27FC236}">
                    <a16:creationId xmlns:a16="http://schemas.microsoft.com/office/drawing/2014/main" id="{B4688FED-D592-5316-5930-08B07D39B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5750" y="3309088"/>
                <a:ext cx="180000" cy="180000"/>
              </a:xfrm>
              <a:prstGeom prst="rect">
                <a:avLst/>
              </a:prstGeom>
              <a:solidFill>
                <a:srgbClr val="73B3D8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34" name="Rectangle 177">
                <a:extLst>
                  <a:ext uri="{FF2B5EF4-FFF2-40B4-BE49-F238E27FC236}">
                    <a16:creationId xmlns:a16="http://schemas.microsoft.com/office/drawing/2014/main" id="{7D699A7A-D2B5-783A-86BD-AEB6F332E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5750" y="3550387"/>
                <a:ext cx="180000" cy="180000"/>
              </a:xfrm>
              <a:prstGeom prst="rect">
                <a:avLst/>
              </a:prstGeom>
              <a:solidFill>
                <a:srgbClr val="2879B9"/>
              </a:solidFill>
              <a:ln w="9525">
                <a:solidFill>
                  <a:sysClr val="window" lastClr="FFFFFF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35" name="Text Box 3">
                <a:extLst>
                  <a:ext uri="{FF2B5EF4-FFF2-40B4-BE49-F238E27FC236}">
                    <a16:creationId xmlns:a16="http://schemas.microsoft.com/office/drawing/2014/main" id="{0129D90A-1367-A9FC-5EDA-32B71E8C56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85750" y="3021853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0 % až </a:t>
                </a:r>
                <a:r>
                  <a:rPr lang="cs-CZ" sz="1100" kern="0" dirty="0">
                    <a:solidFill>
                      <a:srgbClr val="292929"/>
                    </a:solidFill>
                    <a:latin typeface="Arial" panose="020B0604020202020204"/>
                  </a:rPr>
                  <a:t>40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%</a:t>
                </a:r>
              </a:p>
            </p:txBody>
          </p:sp>
          <p:sp>
            <p:nvSpPr>
              <p:cNvPr id="36" name="Text Box 3">
                <a:extLst>
                  <a:ext uri="{FF2B5EF4-FFF2-40B4-BE49-F238E27FC236}">
                    <a16:creationId xmlns:a16="http://schemas.microsoft.com/office/drawing/2014/main" id="{00C54EC1-2756-0325-A5AB-058E5976937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85750" y="3265718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cs-CZ" sz="1100" kern="0" dirty="0">
                    <a:solidFill>
                      <a:srgbClr val="292929"/>
                    </a:solidFill>
                    <a:latin typeface="Arial" panose="020B0604020202020204"/>
                  </a:rPr>
                  <a:t>40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% až 45 %</a:t>
                </a:r>
              </a:p>
            </p:txBody>
          </p:sp>
          <p:sp>
            <p:nvSpPr>
              <p:cNvPr id="37" name="Text Box 3">
                <a:extLst>
                  <a:ext uri="{FF2B5EF4-FFF2-40B4-BE49-F238E27FC236}">
                    <a16:creationId xmlns:a16="http://schemas.microsoft.com/office/drawing/2014/main" id="{3DE6043F-361D-D39F-B1A9-D0F43E857D9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85750" y="3509582"/>
                <a:ext cx="115213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9292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45 % až 50 %</a:t>
                </a:r>
              </a:p>
            </p:txBody>
          </p:sp>
        </p:grpSp>
        <p:sp>
          <p:nvSpPr>
            <p:cNvPr id="29" name="Rectangle 177">
              <a:extLst>
                <a:ext uri="{FF2B5EF4-FFF2-40B4-BE49-F238E27FC236}">
                  <a16:creationId xmlns:a16="http://schemas.microsoft.com/office/drawing/2014/main" id="{6FBF8AFA-D5DD-602A-812E-F98BFF181B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2658" y="6724714"/>
              <a:ext cx="180000" cy="180000"/>
            </a:xfrm>
            <a:prstGeom prst="rect">
              <a:avLst/>
            </a:prstGeom>
            <a:solidFill>
              <a:srgbClr val="08306B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0" name="Text Box 3">
              <a:extLst>
                <a:ext uri="{FF2B5EF4-FFF2-40B4-BE49-F238E27FC236}">
                  <a16:creationId xmlns:a16="http://schemas.microsoft.com/office/drawing/2014/main" id="{203FA114-FBC2-ED8D-CA68-86DDA85CA6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62658" y="6683909"/>
              <a:ext cx="115213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 50 %</a:t>
              </a:r>
            </a:p>
          </p:txBody>
        </p:sp>
      </p:grpSp>
      <p:sp>
        <p:nvSpPr>
          <p:cNvPr id="41" name="Text Box 3">
            <a:extLst>
              <a:ext uri="{FF2B5EF4-FFF2-40B4-BE49-F238E27FC236}">
                <a16:creationId xmlns:a16="http://schemas.microsoft.com/office/drawing/2014/main" id="{FAE085F7-F155-CAC8-8AB7-49CED11716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78925" y="1838695"/>
            <a:ext cx="1609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IČZ 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kraje působnosti</a:t>
            </a:r>
          </a:p>
        </p:txBody>
      </p:sp>
      <p:sp>
        <p:nvSpPr>
          <p:cNvPr id="42" name="Zástupný text 5">
            <a:extLst>
              <a:ext uri="{FF2B5EF4-FFF2-40B4-BE49-F238E27FC236}">
                <a16:creationId xmlns:a16="http://schemas.microsoft.com/office/drawing/2014/main" id="{F678C951-E088-C802-7AEA-28BE9066B8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4464" y="6272569"/>
            <a:ext cx="11863072" cy="494394"/>
          </a:xfrm>
        </p:spPr>
        <p:txBody>
          <a:bodyPr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V </a:t>
            </a:r>
            <a:r>
              <a:rPr lang="cs-CZ" sz="1400" b="1" dirty="0">
                <a:solidFill>
                  <a:schemeClr val="accent1"/>
                </a:solidFill>
              </a:rPr>
              <a:t>Plzeňském kraji 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bylo za obdob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 1. 2022 – 31. 12. 2024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cs-CZ" sz="1400" b="1" dirty="0">
                <a:solidFill>
                  <a:schemeClr val="accent1"/>
                </a:solidFill>
              </a:rPr>
              <a:t>zapojeno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 přibližně </a:t>
            </a:r>
            <a:r>
              <a:rPr lang="cs-CZ" sz="1400" b="1" dirty="0">
                <a:solidFill>
                  <a:schemeClr val="accent1"/>
                </a:solidFill>
              </a:rPr>
              <a:t>37 % PL, což je méně než celorepublikový průměr 45 %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chemeClr val="accent1"/>
                </a:solidFill>
              </a:rPr>
              <a:t>V rámci celé ČR bylo v Plzeňském kraji nejméně zapojených praktických lékařů.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159EBE57-874E-77F8-4027-D8CA74EE23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D0540ED5-C7A6-9A78-5B22-79392BCB04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45339" y="5507889"/>
            <a:ext cx="963089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IČZ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FE12D74-0C7F-C50C-365A-BB9A9B624261}"/>
              </a:ext>
            </a:extLst>
          </p:cNvPr>
          <p:cNvSpPr txBox="1"/>
          <p:nvPr/>
        </p:nvSpPr>
        <p:spPr>
          <a:xfrm>
            <a:off x="502440" y="5940820"/>
            <a:ext cx="10919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E6B03C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1 IČZ může sdružovat více praktických lékařů. Byla uvažována pouze IČZ s počtem kapitačních plateb větších jak 100.</a:t>
            </a:r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C961D45A-9E24-7071-E82A-5676499C22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83326" y="2201916"/>
            <a:ext cx="4475494" cy="251780"/>
          </a:xfrm>
          <a:prstGeom prst="rect">
            <a:avLst/>
          </a:prstGeom>
          <a:noFill/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každém kraji by se mělo zapojit 100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 % praktických lékařů</a:t>
            </a:r>
            <a:endParaRPr kumimoji="0" lang="cs-CZ" sz="12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A6F13A4-7ED8-CE63-CA12-9B092D2AC1F6}"/>
              </a:ext>
            </a:extLst>
          </p:cNvPr>
          <p:cNvSpPr txBox="1"/>
          <p:nvPr/>
        </p:nvSpPr>
        <p:spPr>
          <a:xfrm>
            <a:off x="4144763" y="2876772"/>
            <a:ext cx="1629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Průměr v rámci ČR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F547CBF5-ADA1-7834-C7BA-9F734CC3125E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DD552F67-813B-BB7F-F7AA-BC00435BF79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  <p:sp>
        <p:nvSpPr>
          <p:cNvPr id="3" name="Zástupný symbol pro obsah 4">
            <a:extLst>
              <a:ext uri="{FF2B5EF4-FFF2-40B4-BE49-F238E27FC236}">
                <a16:creationId xmlns:a16="http://schemas.microsoft.com/office/drawing/2014/main" id="{AEC87DAA-AE8C-48C0-76B3-103C2F483AF1}"/>
              </a:ext>
            </a:extLst>
          </p:cNvPr>
          <p:cNvSpPr txBox="1">
            <a:spLocks/>
          </p:cNvSpPr>
          <p:nvPr/>
        </p:nvSpPr>
        <p:spPr>
          <a:xfrm>
            <a:off x="294209" y="1343494"/>
            <a:ext cx="8383402" cy="4850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 – za zapojeného PL je uvažováno každé IČZ, které vykázalo alespoň 1 z uvažovaných výkonů </a:t>
            </a:r>
          </a:p>
        </p:txBody>
      </p:sp>
      <p:pic>
        <p:nvPicPr>
          <p:cNvPr id="23" name="Obrázek 22" descr="Obsah obrázku mapa&#10;&#10;Obsah vygenerovaný umělou inteligencí může být nesprávný.">
            <a:extLst>
              <a:ext uri="{FF2B5EF4-FFF2-40B4-BE49-F238E27FC236}">
                <a16:creationId xmlns:a16="http://schemas.microsoft.com/office/drawing/2014/main" id="{15AA5F9D-4D4D-DE10-4F8B-B4B61CE9FA9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622" y="3846387"/>
            <a:ext cx="1169703" cy="1458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0013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mapa, atlas, text&#10;&#10;Obsah vygenerovaný umělou inteligencí může být nesprávný.">
            <a:extLst>
              <a:ext uri="{FF2B5EF4-FFF2-40B4-BE49-F238E27FC236}">
                <a16:creationId xmlns:a16="http://schemas.microsoft.com/office/drawing/2014/main" id="{DBF716D4-4C2B-0EF1-B663-89E48E96F31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945" t="8536" r="7975" b="6015"/>
          <a:stretch/>
        </p:blipFill>
        <p:spPr>
          <a:xfrm>
            <a:off x="6155171" y="2493747"/>
            <a:ext cx="5468565" cy="3151033"/>
          </a:xfrm>
          <a:prstGeom prst="rect">
            <a:avLst/>
          </a:prstGeom>
        </p:spPr>
      </p:pic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CB939B44-7239-9734-33F6-8B70A8F23251}"/>
              </a:ext>
            </a:extLst>
          </p:cNvPr>
          <p:cNvCxnSpPr>
            <a:cxnSpLocks/>
          </p:cNvCxnSpPr>
          <p:nvPr/>
        </p:nvCxnSpPr>
        <p:spPr>
          <a:xfrm>
            <a:off x="1053113" y="3077736"/>
            <a:ext cx="4922915" cy="10302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88414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dirty="0"/>
              <a:t>Podíl oslovených osob v rámci 1. screeningové epizody</a:t>
            </a:r>
            <a:br>
              <a:rPr lang="cs-CZ" dirty="0"/>
            </a:br>
            <a:r>
              <a:rPr lang="cs-CZ" dirty="0"/>
              <a:t>dle kraje bydliště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FE93ACD4-60F8-F6A0-72AC-03AFF4EFE898}"/>
              </a:ext>
            </a:extLst>
          </p:cNvPr>
          <p:cNvSpPr txBox="1"/>
          <p:nvPr/>
        </p:nvSpPr>
        <p:spPr>
          <a:xfrm>
            <a:off x="90205" y="6407502"/>
            <a:ext cx="120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.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počet účastníků ve věku 55–74 let, kteří v období od 1. 1. 2022 do 31. </a:t>
            </a: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 navštívili PL, byl stanoven na základě vykázaných kapitačních plateb PL 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 </a:t>
            </a: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4 </a:t>
            </a:r>
            <a:r>
              <a:rPr lang="cs-CZ" sz="120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. Jde o všechny osoby v uvedeném věku bez ohledu na jejich kuřáckou anamnézu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1">
            <a:extLst>
              <a:ext uri="{FF2B5EF4-FFF2-40B4-BE49-F238E27FC236}">
                <a16:creationId xmlns:a16="http://schemas.microsoft.com/office/drawing/2014/main" id="{01566680-7AA2-FD19-4B00-56001DDEAD0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66313" y="2114065"/>
            <a:ext cx="2897728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slovených osob v krajích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78C61A97-748F-0839-FEAC-0BB85C0FD69A}"/>
              </a:ext>
            </a:extLst>
          </p:cNvPr>
          <p:cNvGrpSpPr/>
          <p:nvPr/>
        </p:nvGrpSpPr>
        <p:grpSpPr>
          <a:xfrm>
            <a:off x="10628010" y="1812000"/>
            <a:ext cx="1736898" cy="1558548"/>
            <a:chOff x="10594893" y="1453611"/>
            <a:chExt cx="1736898" cy="1558548"/>
          </a:xfrm>
        </p:grpSpPr>
        <p:sp>
          <p:nvSpPr>
            <p:cNvPr id="31" name="Text Box 3">
              <a:extLst>
                <a:ext uri="{FF2B5EF4-FFF2-40B4-BE49-F238E27FC236}">
                  <a16:creationId xmlns:a16="http://schemas.microsoft.com/office/drawing/2014/main" id="{B76AA95D-2CE3-A460-A217-6B2A112C18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17418" y="1476259"/>
              <a:ext cx="1382618" cy="1520468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77">
              <a:extLst>
                <a:ext uri="{FF2B5EF4-FFF2-40B4-BE49-F238E27FC236}">
                  <a16:creationId xmlns:a16="http://schemas.microsoft.com/office/drawing/2014/main" id="{96B66EA2-DF99-E110-AC0B-A11333581C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4930" y="2018473"/>
              <a:ext cx="221004" cy="184399"/>
            </a:xfrm>
            <a:prstGeom prst="rect">
              <a:avLst/>
            </a:prstGeom>
            <a:solidFill>
              <a:srgbClr val="BDD8F0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3" name="Rectangle 177">
              <a:extLst>
                <a:ext uri="{FF2B5EF4-FFF2-40B4-BE49-F238E27FC236}">
                  <a16:creationId xmlns:a16="http://schemas.microsoft.com/office/drawing/2014/main" id="{1DF18985-8FB5-3AD2-2A41-6C6B0565B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4930" y="2265670"/>
              <a:ext cx="221004" cy="184399"/>
            </a:xfrm>
            <a:prstGeom prst="rect">
              <a:avLst/>
            </a:prstGeom>
            <a:solidFill>
              <a:srgbClr val="73B3D8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4" name="Rectangle 177">
              <a:extLst>
                <a:ext uri="{FF2B5EF4-FFF2-40B4-BE49-F238E27FC236}">
                  <a16:creationId xmlns:a16="http://schemas.microsoft.com/office/drawing/2014/main" id="{EBBA7E56-EC03-F5DA-9AD2-228EB48ACA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192" y="2522166"/>
              <a:ext cx="221004" cy="184399"/>
            </a:xfrm>
            <a:prstGeom prst="rect">
              <a:avLst/>
            </a:prstGeom>
            <a:solidFill>
              <a:srgbClr val="2879B9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5" name="Text Box 3">
              <a:extLst>
                <a:ext uri="{FF2B5EF4-FFF2-40B4-BE49-F238E27FC236}">
                  <a16:creationId xmlns:a16="http://schemas.microsoft.com/office/drawing/2014/main" id="{81015473-5C04-6C61-708A-8C97944B08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196" y="1980715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0 % až 0,8 %</a:t>
              </a:r>
            </a:p>
          </p:txBody>
        </p:sp>
        <p:sp>
          <p:nvSpPr>
            <p:cNvPr id="36" name="Text Box 3">
              <a:extLst>
                <a:ext uri="{FF2B5EF4-FFF2-40B4-BE49-F238E27FC236}">
                  <a16:creationId xmlns:a16="http://schemas.microsoft.com/office/drawing/2014/main" id="{FE3CFAAC-F765-D8D8-D91A-1DDADD927A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196" y="2230539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,8 % až 1,2 %</a:t>
              </a:r>
            </a:p>
          </p:txBody>
        </p:sp>
        <p:sp>
          <p:nvSpPr>
            <p:cNvPr id="37" name="Text Box 3">
              <a:extLst>
                <a:ext uri="{FF2B5EF4-FFF2-40B4-BE49-F238E27FC236}">
                  <a16:creationId xmlns:a16="http://schemas.microsoft.com/office/drawing/2014/main" id="{189FBA42-C79C-A2AA-C14C-2909580241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196" y="2480363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2 % až 1,6 %</a:t>
              </a:r>
            </a:p>
          </p:txBody>
        </p:sp>
        <p:sp>
          <p:nvSpPr>
            <p:cNvPr id="38" name="Rectangle 177">
              <a:extLst>
                <a:ext uri="{FF2B5EF4-FFF2-40B4-BE49-F238E27FC236}">
                  <a16:creationId xmlns:a16="http://schemas.microsoft.com/office/drawing/2014/main" id="{02F37FAD-CC6B-727F-D238-09BA4A0D9A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022" y="2785960"/>
              <a:ext cx="221004" cy="184399"/>
            </a:xfrm>
            <a:prstGeom prst="rect">
              <a:avLst/>
            </a:prstGeom>
            <a:solidFill>
              <a:srgbClr val="08306B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9" name="Text Box 3">
              <a:extLst>
                <a:ext uri="{FF2B5EF4-FFF2-40B4-BE49-F238E27FC236}">
                  <a16:creationId xmlns:a16="http://schemas.microsoft.com/office/drawing/2014/main" id="{2A496979-AEF1-6D3E-9DFD-332B185FEE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17026" y="2744156"/>
              <a:ext cx="1414595" cy="268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 1,6 %</a:t>
              </a:r>
            </a:p>
          </p:txBody>
        </p:sp>
        <p:sp>
          <p:nvSpPr>
            <p:cNvPr id="40" name="Text Box 3">
              <a:extLst>
                <a:ext uri="{FF2B5EF4-FFF2-40B4-BE49-F238E27FC236}">
                  <a16:creationId xmlns:a16="http://schemas.microsoft.com/office/drawing/2014/main" id="{008D15CD-46FE-7964-7D6D-62DB15E04F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594893" y="1453611"/>
              <a:ext cx="1609002" cy="577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DDDCE0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díl oslovených osob dle kraje bydliště</a:t>
              </a:r>
            </a:p>
          </p:txBody>
        </p:sp>
      </p:grpSp>
      <p:sp>
        <p:nvSpPr>
          <p:cNvPr id="46" name="Zástupný text 5">
            <a:extLst>
              <a:ext uri="{FF2B5EF4-FFF2-40B4-BE49-F238E27FC236}">
                <a16:creationId xmlns:a16="http://schemas.microsoft.com/office/drawing/2014/main" id="{E0AC4D90-9B98-1A7B-FC92-491AE9322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7214" y="5823239"/>
            <a:ext cx="11477572" cy="517342"/>
          </a:xfrm>
        </p:spPr>
        <p:txBody>
          <a:bodyPr anchor="ctr">
            <a:noAutofit/>
          </a:bodyPr>
          <a:lstStyle/>
          <a:p>
            <a:pPr algn="ctr"/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Celkový podíl oslovených osob v rámci ČR činí přibližně 1,3 %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b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díl oslovených osob 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vštěvujících praktického lékaře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Plzeňském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kraji 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yl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0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8 %, tedy významně </a:t>
            </a:r>
            <a:r>
              <a:rPr lang="cs-CZ" sz="1400" b="1" kern="0" dirty="0">
                <a:solidFill>
                  <a:schemeClr val="accent1"/>
                </a:solidFill>
                <a:latin typeface="+mj-lt"/>
              </a:rPr>
              <a:t>nižší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než celorepublikový průměr.</a:t>
            </a:r>
            <a:endParaRPr lang="cs-CZ" sz="1400" b="1" kern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7D694904-83A7-B209-1C8F-D69B89B5FE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8" name="Zástupný symbol pro obsah 4">
            <a:extLst>
              <a:ext uri="{FF2B5EF4-FFF2-40B4-BE49-F238E27FC236}">
                <a16:creationId xmlns:a16="http://schemas.microsoft.com/office/drawing/2014/main" id="{0266F04E-D1FC-E7E6-EC96-759A1E1E8F31}"/>
              </a:ext>
            </a:extLst>
          </p:cNvPr>
          <p:cNvSpPr txBox="1">
            <a:spLocks/>
          </p:cNvSpPr>
          <p:nvPr/>
        </p:nvSpPr>
        <p:spPr>
          <a:xfrm>
            <a:off x="294209" y="1279486"/>
            <a:ext cx="2469269" cy="319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cký lékař (01196, 01197)</a:t>
            </a: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730CA756-1AC2-9AA7-60F2-0E78EA009F2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633788" y="5391848"/>
            <a:ext cx="1257149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bydliště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DC42040-4A59-E1F1-5DA3-FE573147FB83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78A8E22-DD99-80DB-8B85-12E75EB4A9DD}"/>
              </a:ext>
            </a:extLst>
          </p:cNvPr>
          <p:cNvSpPr txBox="1"/>
          <p:nvPr/>
        </p:nvSpPr>
        <p:spPr>
          <a:xfrm>
            <a:off x="4903254" y="2824212"/>
            <a:ext cx="114272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V rámci </a:t>
            </a:r>
            <a:r>
              <a:rPr kumimoji="0" lang="cs-CZ" sz="120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</a:t>
            </a:r>
          </a:p>
        </p:txBody>
      </p:sp>
      <p:graphicFrame>
        <p:nvGraphicFramePr>
          <p:cNvPr id="15" name="Zástupný symbol pro obsah 5">
            <a:extLst>
              <a:ext uri="{FF2B5EF4-FFF2-40B4-BE49-F238E27FC236}">
                <a16:creationId xmlns:a16="http://schemas.microsoft.com/office/drawing/2014/main" id="{3E5D23EC-C4D8-F31A-CE8B-AC9B54A51967}"/>
              </a:ext>
            </a:extLst>
          </p:cNvPr>
          <p:cNvGraphicFramePr>
            <a:graphicFrameLocks/>
          </p:cNvGraphicFramePr>
          <p:nvPr/>
        </p:nvGraphicFramePr>
        <p:xfrm>
          <a:off x="191964" y="2074829"/>
          <a:ext cx="5844867" cy="3531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Rectangle 21">
            <a:extLst>
              <a:ext uri="{FF2B5EF4-FFF2-40B4-BE49-F238E27FC236}">
                <a16:creationId xmlns:a16="http://schemas.microsoft.com/office/drawing/2014/main" id="{6552D9A9-042D-5FEF-D7FF-C22C6F7E043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98962" y="2469194"/>
            <a:ext cx="3078647" cy="250626"/>
          </a:xfrm>
          <a:prstGeom prst="rect">
            <a:avLst/>
          </a:prstGeom>
          <a:noFill/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„Ideální“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pokrytí v každém kraji </a:t>
            </a:r>
            <a:r>
              <a:rPr kumimoji="0" lang="cs-CZ" sz="12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15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 %</a:t>
            </a:r>
            <a:endParaRPr kumimoji="0" lang="cs-CZ" sz="12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3" name="Obrázek 42" descr="Obsah obrázku mapa&#10;&#10;Obsah vygenerovaný umělou inteligencí může být nesprávný.">
            <a:extLst>
              <a:ext uri="{FF2B5EF4-FFF2-40B4-BE49-F238E27FC236}">
                <a16:creationId xmlns:a16="http://schemas.microsoft.com/office/drawing/2014/main" id="{6B4F7F44-E687-7C15-55C4-4149ACE467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516" y="3677573"/>
            <a:ext cx="1169703" cy="1458670"/>
          </a:xfrm>
          <a:prstGeom prst="rect">
            <a:avLst/>
          </a:prstGeom>
        </p:spPr>
      </p:pic>
      <p:pic>
        <p:nvPicPr>
          <p:cNvPr id="44" name="Grafický objekt 43">
            <a:extLst>
              <a:ext uri="{FF2B5EF4-FFF2-40B4-BE49-F238E27FC236}">
                <a16:creationId xmlns:a16="http://schemas.microsoft.com/office/drawing/2014/main" id="{06B7D5A2-A2A0-D089-11D2-4DC9E3C32C6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7308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F1AA17F8-1573-0F02-6D6B-5B4868298E9C}"/>
              </a:ext>
            </a:extLst>
          </p:cNvPr>
          <p:cNvCxnSpPr>
            <a:cxnSpLocks/>
          </p:cNvCxnSpPr>
          <p:nvPr/>
        </p:nvCxnSpPr>
        <p:spPr>
          <a:xfrm>
            <a:off x="650949" y="2764435"/>
            <a:ext cx="5445051" cy="9746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Zástupný symbol pro obsah 5">
            <a:extLst>
              <a:ext uri="{FF2B5EF4-FFF2-40B4-BE49-F238E27FC236}">
                <a16:creationId xmlns:a16="http://schemas.microsoft.com/office/drawing/2014/main" id="{2417B6F4-FB65-82F9-4A09-E7AF9AD679F6}"/>
              </a:ext>
            </a:extLst>
          </p:cNvPr>
          <p:cNvGraphicFramePr>
            <a:graphicFrameLocks/>
          </p:cNvGraphicFramePr>
          <p:nvPr/>
        </p:nvGraphicFramePr>
        <p:xfrm>
          <a:off x="-154378" y="1612324"/>
          <a:ext cx="7807561" cy="4389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5832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sz="2400" dirty="0"/>
              <a:t>Interval mezi oslovením osoby u praktického lékaře</a:t>
            </a:r>
            <a:br>
              <a:rPr lang="cs-CZ" sz="2400" dirty="0"/>
            </a:br>
            <a:r>
              <a:rPr lang="cs-CZ" sz="2400" dirty="0"/>
              <a:t>a návštěvou pneumologa </a:t>
            </a:r>
            <a:r>
              <a:rPr lang="cs-CZ" dirty="0">
                <a:solidFill>
                  <a:schemeClr val="accent3"/>
                </a:solidFill>
              </a:rPr>
              <a:t>v rámci KRAJE v roce 2024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E62A73E-C051-AD0C-923E-F845A83BE199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159EBE57-874E-77F8-4027-D8CA74EE23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E3D4316F-FCED-5395-94CA-115BB2C0A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27254" y="5381710"/>
            <a:ext cx="2882348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IČZ pneumologického pracoviště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75C8ABB-BB27-9F5F-826E-A302E8119B88}"/>
              </a:ext>
            </a:extLst>
          </p:cNvPr>
          <p:cNvSpPr txBox="1"/>
          <p:nvPr/>
        </p:nvSpPr>
        <p:spPr>
          <a:xfrm>
            <a:off x="879373" y="1932389"/>
            <a:ext cx="517811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</a:t>
            </a:r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4 998</a:t>
            </a: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počet vyšetřených</a:t>
            </a:r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 osob u praktického lékaře, pneumologa)</a:t>
            </a:r>
            <a:endParaRPr kumimoji="0" lang="cs-CZ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vál 1">
            <a:extLst>
              <a:ext uri="{FF2B5EF4-FFF2-40B4-BE49-F238E27FC236}">
                <a16:creationId xmlns:a16="http://schemas.microsoft.com/office/drawing/2014/main" id="{EF6B0037-879F-9280-FDD6-4761570C6269}"/>
              </a:ext>
            </a:extLst>
          </p:cNvPr>
          <p:cNvSpPr/>
          <p:nvPr/>
        </p:nvSpPr>
        <p:spPr>
          <a:xfrm>
            <a:off x="167115" y="5553029"/>
            <a:ext cx="75415" cy="7560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11D591A-7F4A-AA27-E5D5-467EBC97001F}"/>
              </a:ext>
            </a:extLst>
          </p:cNvPr>
          <p:cNvSpPr txBox="1"/>
          <p:nvPr/>
        </p:nvSpPr>
        <p:spPr>
          <a:xfrm>
            <a:off x="242530" y="5442805"/>
            <a:ext cx="2018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E6B03C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lang="cs-CZ" sz="1200" dirty="0" err="1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očet</a:t>
            </a:r>
            <a:r>
              <a:rPr lang="cs-CZ" sz="1200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 vyšetřených osob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E6B03C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9108649-8FBF-5827-1E2A-4FCBF336E5E3}"/>
              </a:ext>
            </a:extLst>
          </p:cNvPr>
          <p:cNvSpPr txBox="1"/>
          <p:nvPr/>
        </p:nvSpPr>
        <p:spPr>
          <a:xfrm>
            <a:off x="5239411" y="5420911"/>
            <a:ext cx="290982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Medián doby v ČR v roce 2024: 63 dnů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9CB3302B-5468-E2A1-6862-F7756E360981}"/>
              </a:ext>
            </a:extLst>
          </p:cNvPr>
          <p:cNvCxnSpPr>
            <a:cxnSpLocks/>
          </p:cNvCxnSpPr>
          <p:nvPr/>
        </p:nvCxnSpPr>
        <p:spPr>
          <a:xfrm>
            <a:off x="4851922" y="5566942"/>
            <a:ext cx="360000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A891BB55-66E3-27BD-BA59-FD5B26CE74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122278BC-1F0F-3E28-B968-554F7C8582E6}"/>
              </a:ext>
            </a:extLst>
          </p:cNvPr>
          <p:cNvGraphicFramePr>
            <a:graphicFrameLocks noGrp="1"/>
          </p:cNvGraphicFramePr>
          <p:nvPr/>
        </p:nvGraphicFramePr>
        <p:xfrm>
          <a:off x="7006616" y="2629139"/>
          <a:ext cx="4983418" cy="1257300"/>
        </p:xfrm>
        <a:graphic>
          <a:graphicData uri="http://schemas.openxmlformats.org/drawingml/2006/table">
            <a:tbl>
              <a:tblPr firstRow="1" lastRow="1" bandRow="1">
                <a:tableStyleId>{69012ECD-51FC-41F1-AA8D-1B2483CD663E}</a:tableStyleId>
              </a:tblPr>
              <a:tblGrid>
                <a:gridCol w="657225">
                  <a:extLst>
                    <a:ext uri="{9D8B030D-6E8A-4147-A177-3AD203B41FA5}">
                      <a16:colId xmlns:a16="http://schemas.microsoft.com/office/drawing/2014/main" val="2813647728"/>
                    </a:ext>
                  </a:extLst>
                </a:gridCol>
                <a:gridCol w="1718037">
                  <a:extLst>
                    <a:ext uri="{9D8B030D-6E8A-4147-A177-3AD203B41FA5}">
                      <a16:colId xmlns:a16="http://schemas.microsoft.com/office/drawing/2014/main" val="1925499364"/>
                    </a:ext>
                  </a:extLst>
                </a:gridCol>
                <a:gridCol w="1398543">
                  <a:extLst>
                    <a:ext uri="{9D8B030D-6E8A-4147-A177-3AD203B41FA5}">
                      <a16:colId xmlns:a16="http://schemas.microsoft.com/office/drawing/2014/main" val="4157514003"/>
                    </a:ext>
                  </a:extLst>
                </a:gridCol>
                <a:gridCol w="1209613">
                  <a:extLst>
                    <a:ext uri="{9D8B030D-6E8A-4147-A177-3AD203B41FA5}">
                      <a16:colId xmlns:a16="http://schemas.microsoft.com/office/drawing/2014/main" val="3119284155"/>
                    </a:ext>
                  </a:extLst>
                </a:gridCol>
              </a:tblGrid>
              <a:tr h="183164">
                <a:tc rowSpan="2">
                  <a:txBody>
                    <a:bodyPr/>
                    <a:lstStyle/>
                    <a:p>
                      <a:pPr algn="ctr"/>
                      <a:endParaRPr lang="cs-CZ" sz="105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Počet vyšetřených osob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Interval mezi návštěvou PL a PN (dny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709372"/>
                  </a:ext>
                </a:extLst>
              </a:tr>
              <a:tr h="183164">
                <a:tc vMerge="1">
                  <a:txBody>
                    <a:bodyPr/>
                    <a:lstStyle/>
                    <a:p>
                      <a:pPr algn="ctr"/>
                      <a:endParaRPr lang="cs-CZ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Průměr</a:t>
                      </a:r>
                      <a:endParaRPr lang="cs-CZ" sz="105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edián</a:t>
                      </a:r>
                      <a:endParaRPr lang="cs-CZ" sz="1050" b="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402614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88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626085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57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282062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998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50982427"/>
                  </a:ext>
                </a:extLst>
              </a:tr>
            </a:tbl>
          </a:graphicData>
        </a:graphic>
      </p:graphicFrame>
      <p:sp>
        <p:nvSpPr>
          <p:cNvPr id="19" name="Zástupný text 5">
            <a:extLst>
              <a:ext uri="{FF2B5EF4-FFF2-40B4-BE49-F238E27FC236}">
                <a16:creationId xmlns:a16="http://schemas.microsoft.com/office/drawing/2014/main" id="{E0B36937-7E5D-EB83-C4C6-B7835C3726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1966" y="5951488"/>
            <a:ext cx="11788068" cy="780375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1300" baseline="0" dirty="0">
                <a:solidFill>
                  <a:schemeClr val="accent6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al mezi oslovením osoby u praktického lékaře a návštěvou u pneumologa </a:t>
            </a:r>
            <a:r>
              <a:rPr lang="cs-CZ" sz="1300" dirty="0"/>
              <a:t>se každým rokem zvyšuje. V rámci ČR jeho </a:t>
            </a:r>
            <a:r>
              <a:rPr lang="cs-CZ" sz="1300" b="1" dirty="0">
                <a:solidFill>
                  <a:schemeClr val="accent1"/>
                </a:solidFill>
              </a:rPr>
              <a:t>průměrný interval dosahoval </a:t>
            </a:r>
            <a:br>
              <a:rPr lang="cs-CZ" sz="1300" b="1" dirty="0">
                <a:solidFill>
                  <a:schemeClr val="accent1"/>
                </a:solidFill>
              </a:rPr>
            </a:br>
            <a:r>
              <a:rPr lang="cs-CZ" sz="1300" b="1" dirty="0">
                <a:solidFill>
                  <a:schemeClr val="accent1"/>
                </a:solidFill>
              </a:rPr>
              <a:t>v roce 2024 126 dnů (medián 63 dnů)</a:t>
            </a:r>
            <a:r>
              <a:rPr lang="cs-CZ" sz="1300" dirty="0"/>
              <a:t>. </a:t>
            </a:r>
            <a:r>
              <a:rPr lang="cs-CZ" sz="1300" b="1" dirty="0">
                <a:solidFill>
                  <a:schemeClr val="accent1"/>
                </a:solidFill>
              </a:rPr>
              <a:t>Nejnižší medián intervalu mezi vyšetřeními v roce 2024 </a:t>
            </a:r>
            <a:r>
              <a:rPr lang="cs-CZ" sz="1300" dirty="0"/>
              <a:t>(41 dnů) byl zaznamenán v </a:t>
            </a:r>
            <a:r>
              <a:rPr lang="cs-CZ" sz="1300" b="1" dirty="0">
                <a:solidFill>
                  <a:schemeClr val="accent1"/>
                </a:solidFill>
              </a:rPr>
              <a:t>Olomouckém</a:t>
            </a:r>
            <a:r>
              <a:rPr lang="cs-CZ" sz="1300" dirty="0"/>
              <a:t> </a:t>
            </a:r>
            <a:r>
              <a:rPr lang="cs-CZ" sz="1300" b="1" dirty="0">
                <a:solidFill>
                  <a:schemeClr val="accent1"/>
                </a:solidFill>
              </a:rPr>
              <a:t>kraji </a:t>
            </a:r>
            <a:br>
              <a:rPr lang="cs-CZ" sz="1300" b="1" dirty="0">
                <a:solidFill>
                  <a:schemeClr val="accent1"/>
                </a:solidFill>
              </a:rPr>
            </a:br>
            <a:r>
              <a:rPr lang="cs-CZ" sz="1300" dirty="0"/>
              <a:t>(s počtem 200 vyšetřených osob) a </a:t>
            </a:r>
            <a:r>
              <a:rPr lang="cs-CZ" sz="1300" b="1" dirty="0">
                <a:solidFill>
                  <a:schemeClr val="accent1"/>
                </a:solidFill>
              </a:rPr>
              <a:t>nejvyšší medián intervalu </a:t>
            </a:r>
            <a:r>
              <a:rPr lang="cs-CZ" sz="1300" dirty="0"/>
              <a:t>(76 dnů) byl zaznamenán v</a:t>
            </a:r>
            <a:r>
              <a:rPr lang="cs-CZ" sz="1300" b="1" dirty="0">
                <a:solidFill>
                  <a:schemeClr val="accent1"/>
                </a:solidFill>
              </a:rPr>
              <a:t> Pardubickém kraji </a:t>
            </a:r>
            <a:r>
              <a:rPr lang="cs-CZ" sz="1300" dirty="0"/>
              <a:t>(s počtem 165 vyšetřených osob).</a:t>
            </a:r>
            <a:endParaRPr lang="cs-CZ" sz="13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684119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B3B4496-7A4D-FC65-B0A3-6F36D60B2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Akreditovaná radiologická centra – </a:t>
            </a:r>
            <a:r>
              <a:rPr lang="cs-CZ" dirty="0">
                <a:solidFill>
                  <a:schemeClr val="accent3"/>
                </a:solidFill>
              </a:rPr>
              <a:t>únor 2025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081FB59-3BB7-EECF-6557-BAC9B22D5E26}"/>
              </a:ext>
            </a:extLst>
          </p:cNvPr>
          <p:cNvGrpSpPr/>
          <p:nvPr/>
        </p:nvGrpSpPr>
        <p:grpSpPr>
          <a:xfrm>
            <a:off x="564776" y="1195199"/>
            <a:ext cx="11508691" cy="5612395"/>
            <a:chOff x="-1619623" y="1133618"/>
            <a:chExt cx="11508691" cy="5612395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8855832B-B9B7-9084-55D4-5D5C7F6C7516}"/>
                </a:ext>
              </a:extLst>
            </p:cNvPr>
            <p:cNvGrpSpPr/>
            <p:nvPr/>
          </p:nvGrpSpPr>
          <p:grpSpPr>
            <a:xfrm>
              <a:off x="-1619623" y="1133618"/>
              <a:ext cx="10643679" cy="5612395"/>
              <a:chOff x="-580530" y="1092053"/>
              <a:chExt cx="10643679" cy="5612395"/>
            </a:xfrm>
          </p:grpSpPr>
          <p:pic>
            <p:nvPicPr>
              <p:cNvPr id="7" name="Obrázek 6" descr="Obsah obrázku text, mapa, atlas&#10;&#10;Popis byl vytvořen automaticky">
                <a:extLst>
                  <a:ext uri="{FF2B5EF4-FFF2-40B4-BE49-F238E27FC236}">
                    <a16:creationId xmlns:a16="http://schemas.microsoft.com/office/drawing/2014/main" id="{982C1ADF-A145-8378-0A90-43A0521E39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128851" y="1092053"/>
                <a:ext cx="7934298" cy="5612395"/>
              </a:xfrm>
              <a:prstGeom prst="rect">
                <a:avLst/>
              </a:prstGeom>
            </p:spPr>
          </p:pic>
          <p:sp>
            <p:nvSpPr>
              <p:cNvPr id="12" name="Zástupný text 3">
                <a:extLst>
                  <a:ext uri="{FF2B5EF4-FFF2-40B4-BE49-F238E27FC236}">
                    <a16:creationId xmlns:a16="http://schemas.microsoft.com/office/drawing/2014/main" id="{55039643-055C-00B3-670D-7F274A1F1B9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80756" y="1466904"/>
                <a:ext cx="3261286" cy="7200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6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cs-CZ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4 radiologických center</a:t>
                </a:r>
              </a:p>
            </p:txBody>
          </p:sp>
          <p:sp>
            <p:nvSpPr>
              <p:cNvPr id="13" name="Obdélník 12">
                <a:extLst>
                  <a:ext uri="{FF2B5EF4-FFF2-40B4-BE49-F238E27FC236}">
                    <a16:creationId xmlns:a16="http://schemas.microsoft.com/office/drawing/2014/main" id="{E3E4B536-BD23-8BDA-CE48-17A2B4CE1C4C}"/>
                  </a:ext>
                </a:extLst>
              </p:cNvPr>
              <p:cNvSpPr/>
              <p:nvPr/>
            </p:nvSpPr>
            <p:spPr>
              <a:xfrm>
                <a:off x="2259598" y="5802429"/>
                <a:ext cx="1769477" cy="4910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11" name="Zástupný text 3">
                <a:extLst>
                  <a:ext uri="{FF2B5EF4-FFF2-40B4-BE49-F238E27FC236}">
                    <a16:creationId xmlns:a16="http://schemas.microsoft.com/office/drawing/2014/main" id="{1021F5A0-C735-464C-2E98-280ADB309D5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580530" y="3584879"/>
                <a:ext cx="3261286" cy="11845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8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600" b="0" i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b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lang="cs-CZ" b="1" dirty="0">
                    <a:solidFill>
                      <a:srgbClr val="C00000"/>
                    </a:solidFill>
                    <a:latin typeface="Arial" panose="020B0604020202020204"/>
                  </a:rPr>
                  <a:t>Plzeňský</a:t>
                </a: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kraj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cs-CZ" b="1" dirty="0">
                    <a:solidFill>
                      <a:srgbClr val="000000"/>
                    </a:solidFill>
                    <a:latin typeface="Arial" panose="020B0604020202020204"/>
                  </a:rPr>
                  <a:t>1</a:t>
                </a: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akreditované radiologické centrum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cs-CZ" b="1" dirty="0">
                    <a:solidFill>
                      <a:srgbClr val="000000"/>
                    </a:solidFill>
                    <a:latin typeface="Arial" panose="020B0604020202020204"/>
                  </a:rPr>
                  <a:t>p</a:t>
                </a:r>
                <a:r>
                  <a:rPr kumimoji="0" lang="cs-CZ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ůměrná</a:t>
                </a: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dojezdová vzdálenost </a:t>
                </a:r>
                <a:b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</a:br>
                <a:r>
                  <a:rPr kumimoji="0" lang="cs-CZ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o tohoto centra je 40 minut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864867FA-5EB6-1DEB-3174-4C4966DF26E9}"/>
                </a:ext>
              </a:extLst>
            </p:cNvPr>
            <p:cNvSpPr/>
            <p:nvPr/>
          </p:nvSpPr>
          <p:spPr>
            <a:xfrm>
              <a:off x="5304915" y="1256780"/>
              <a:ext cx="3872953" cy="11677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770B66D3-7921-D7B6-9B11-19E0A9122C02}"/>
                </a:ext>
              </a:extLst>
            </p:cNvPr>
            <p:cNvSpPr/>
            <p:nvPr/>
          </p:nvSpPr>
          <p:spPr>
            <a:xfrm>
              <a:off x="7052733" y="2228470"/>
              <a:ext cx="2836335" cy="11677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23" name="Obrázek 22" descr="Obsah obrázku text, mapa, atlas&#10;&#10;Popis byl vytvořen automaticky">
              <a:extLst>
                <a:ext uri="{FF2B5EF4-FFF2-40B4-BE49-F238E27FC236}">
                  <a16:creationId xmlns:a16="http://schemas.microsoft.com/office/drawing/2014/main" id="{6E7652E5-7104-C041-ECAC-E0901CF23F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4176" t="21588" r="1174" b="58603"/>
            <a:stretch/>
          </p:blipFill>
          <p:spPr>
            <a:xfrm>
              <a:off x="6901562" y="2032795"/>
              <a:ext cx="2229284" cy="1111771"/>
            </a:xfrm>
            <a:prstGeom prst="rect">
              <a:avLst/>
            </a:prstGeom>
          </p:spPr>
        </p:pic>
      </p:grp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BCA9E50D-34ED-D933-167E-B554E4F4F6F6}"/>
              </a:ext>
            </a:extLst>
          </p:cNvPr>
          <p:cNvGraphicFramePr>
            <a:graphicFrameLocks noGrp="1"/>
          </p:cNvGraphicFramePr>
          <p:nvPr/>
        </p:nvGraphicFramePr>
        <p:xfrm>
          <a:off x="214210" y="5165995"/>
          <a:ext cx="3872953" cy="6096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281949">
                  <a:extLst>
                    <a:ext uri="{9D8B030D-6E8A-4147-A177-3AD203B41FA5}">
                      <a16:colId xmlns:a16="http://schemas.microsoft.com/office/drawing/2014/main" val="3169041683"/>
                    </a:ext>
                  </a:extLst>
                </a:gridCol>
                <a:gridCol w="1591004">
                  <a:extLst>
                    <a:ext uri="{9D8B030D-6E8A-4147-A177-3AD203B41FA5}">
                      <a16:colId xmlns:a16="http://schemas.microsoft.com/office/drawing/2014/main" val="1479269190"/>
                    </a:ext>
                  </a:extLst>
                </a:gridCol>
              </a:tblGrid>
              <a:tr h="301768">
                <a:tc>
                  <a:txBody>
                    <a:bodyPr/>
                    <a:lstStyle/>
                    <a:p>
                      <a:r>
                        <a:rPr lang="cs-CZ" sz="1400" dirty="0"/>
                        <a:t>Radiologické centru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Zapojení cent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282172"/>
                  </a:ext>
                </a:extLst>
              </a:tr>
              <a:tr h="252312">
                <a:tc>
                  <a:txBody>
                    <a:bodyPr/>
                    <a:lstStyle/>
                    <a:p>
                      <a:r>
                        <a:rPr lang="cs-CZ" sz="1400" dirty="0"/>
                        <a:t>FN Plze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1/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5338484"/>
                  </a:ext>
                </a:extLst>
              </a:tr>
            </a:tbl>
          </a:graphicData>
        </a:graphic>
      </p:graphicFrame>
      <p:pic>
        <p:nvPicPr>
          <p:cNvPr id="14" name="Obrázek 13" descr="Obsah obrázku mapa&#10;&#10;Obsah vygenerovaný umělou inteligencí může být nesprávný.">
            <a:extLst>
              <a:ext uri="{FF2B5EF4-FFF2-40B4-BE49-F238E27FC236}">
                <a16:creationId xmlns:a16="http://schemas.microsoft.com/office/drawing/2014/main" id="{98F1663A-23AE-F820-8D83-CDB52DE53E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7529">
            <a:off x="3805343" y="3466243"/>
            <a:ext cx="1604070" cy="2000345"/>
          </a:xfrm>
          <a:prstGeom prst="rect">
            <a:avLst/>
          </a:prstGeom>
        </p:spPr>
      </p:pic>
      <p:pic>
        <p:nvPicPr>
          <p:cNvPr id="15" name="Grafický objekt 14">
            <a:extLst>
              <a:ext uri="{FF2B5EF4-FFF2-40B4-BE49-F238E27FC236}">
                <a16:creationId xmlns:a16="http://schemas.microsoft.com/office/drawing/2014/main" id="{0963F1D8-B6AD-C2E9-882E-FBAA8E71CC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604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F1AA17F8-1573-0F02-6D6B-5B4868298E9C}"/>
              </a:ext>
            </a:extLst>
          </p:cNvPr>
          <p:cNvCxnSpPr>
            <a:cxnSpLocks/>
          </p:cNvCxnSpPr>
          <p:nvPr/>
        </p:nvCxnSpPr>
        <p:spPr>
          <a:xfrm>
            <a:off x="650949" y="3831235"/>
            <a:ext cx="5445051" cy="9746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558329"/>
            <a:ext cx="9802034" cy="720000"/>
          </a:xfrm>
        </p:spPr>
        <p:txBody>
          <a:bodyPr>
            <a:normAutofit fontScale="90000"/>
          </a:bodyPr>
          <a:lstStyle/>
          <a:p>
            <a:r>
              <a:rPr lang="cs-CZ" sz="2400" dirty="0"/>
              <a:t>Interval mezi návštěvou u pneumologa</a:t>
            </a:r>
            <a:br>
              <a:rPr lang="cs-CZ" sz="2400" dirty="0"/>
            </a:br>
            <a:r>
              <a:rPr lang="cs-CZ" sz="2400" dirty="0"/>
              <a:t>a LDCT vyšetřením </a:t>
            </a:r>
            <a:r>
              <a:rPr lang="cs-CZ" sz="2400" dirty="0">
                <a:solidFill>
                  <a:schemeClr val="accent3"/>
                </a:solidFill>
              </a:rPr>
              <a:t>v rámci KRAJE v roce 2024</a:t>
            </a:r>
            <a:endParaRPr lang="cs-CZ" dirty="0">
              <a:solidFill>
                <a:schemeClr val="accent3"/>
              </a:solidFill>
            </a:endParaRP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E62A73E-C051-AD0C-923E-F845A83BE199}"/>
              </a:ext>
            </a:extLst>
          </p:cNvPr>
          <p:cNvSpPr txBox="1">
            <a:spLocks/>
          </p:cNvSpPr>
          <p:nvPr/>
        </p:nvSpPr>
        <p:spPr>
          <a:xfrm>
            <a:off x="8718710" y="917180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159EBE57-874E-77F8-4027-D8CA74EE23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60046" y="139053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E3D4316F-FCED-5395-94CA-115BB2C0A1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60604" y="5381710"/>
            <a:ext cx="2882348" cy="37817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kern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Kraj IČZ radiologického pracoviště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75C8ABB-BB27-9F5F-826E-A302E8119B88}"/>
              </a:ext>
            </a:extLst>
          </p:cNvPr>
          <p:cNvSpPr txBox="1"/>
          <p:nvPr/>
        </p:nvSpPr>
        <p:spPr>
          <a:xfrm>
            <a:off x="879373" y="1932389"/>
            <a:ext cx="517811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5 744 (počet vyšetřených</a:t>
            </a:r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 osob u pneumologa a radiologa)</a:t>
            </a:r>
            <a:endParaRPr kumimoji="0" lang="cs-CZ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vál 1">
            <a:extLst>
              <a:ext uri="{FF2B5EF4-FFF2-40B4-BE49-F238E27FC236}">
                <a16:creationId xmlns:a16="http://schemas.microsoft.com/office/drawing/2014/main" id="{EF6B0037-879F-9280-FDD6-4761570C6269}"/>
              </a:ext>
            </a:extLst>
          </p:cNvPr>
          <p:cNvSpPr/>
          <p:nvPr/>
        </p:nvSpPr>
        <p:spPr>
          <a:xfrm>
            <a:off x="167115" y="5553029"/>
            <a:ext cx="75415" cy="7560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11D591A-7F4A-AA27-E5D5-467EBC97001F}"/>
              </a:ext>
            </a:extLst>
          </p:cNvPr>
          <p:cNvSpPr txBox="1"/>
          <p:nvPr/>
        </p:nvSpPr>
        <p:spPr>
          <a:xfrm>
            <a:off x="242530" y="5442805"/>
            <a:ext cx="2018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E6B03C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lang="cs-CZ" sz="1200" dirty="0" err="1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očet</a:t>
            </a:r>
            <a:r>
              <a:rPr lang="cs-CZ" sz="1200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 vyšetřených osob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E6B03C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9108649-8FBF-5827-1E2A-4FCBF336E5E3}"/>
              </a:ext>
            </a:extLst>
          </p:cNvPr>
          <p:cNvSpPr txBox="1"/>
          <p:nvPr/>
        </p:nvSpPr>
        <p:spPr>
          <a:xfrm>
            <a:off x="5239411" y="5420911"/>
            <a:ext cx="290982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b="1" dirty="0">
                <a:solidFill>
                  <a:schemeClr val="bg2">
                    <a:lumMod val="10000"/>
                  </a:schemeClr>
                </a:solidFill>
                <a:latin typeface="Arial" panose="020B0604020202020204"/>
              </a:rPr>
              <a:t>Medián doby v ČR v roce 2024: 58 dnů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9CB3302B-5468-E2A1-6862-F7756E360981}"/>
              </a:ext>
            </a:extLst>
          </p:cNvPr>
          <p:cNvCxnSpPr>
            <a:cxnSpLocks/>
          </p:cNvCxnSpPr>
          <p:nvPr/>
        </p:nvCxnSpPr>
        <p:spPr>
          <a:xfrm>
            <a:off x="4851922" y="5566942"/>
            <a:ext cx="360000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A891BB55-66E3-27BD-BA59-FD5B26CE74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122278BC-1F0F-3E28-B968-554F7C8582E6}"/>
              </a:ext>
            </a:extLst>
          </p:cNvPr>
          <p:cNvGraphicFramePr>
            <a:graphicFrameLocks noGrp="1"/>
          </p:cNvGraphicFramePr>
          <p:nvPr/>
        </p:nvGraphicFramePr>
        <p:xfrm>
          <a:off x="7006616" y="2629139"/>
          <a:ext cx="4983418" cy="1417320"/>
        </p:xfrm>
        <a:graphic>
          <a:graphicData uri="http://schemas.openxmlformats.org/drawingml/2006/table">
            <a:tbl>
              <a:tblPr firstRow="1" lastRow="1" bandRow="1">
                <a:tableStyleId>{69012ECD-51FC-41F1-AA8D-1B2483CD663E}</a:tableStyleId>
              </a:tblPr>
              <a:tblGrid>
                <a:gridCol w="657225">
                  <a:extLst>
                    <a:ext uri="{9D8B030D-6E8A-4147-A177-3AD203B41FA5}">
                      <a16:colId xmlns:a16="http://schemas.microsoft.com/office/drawing/2014/main" val="2813647728"/>
                    </a:ext>
                  </a:extLst>
                </a:gridCol>
                <a:gridCol w="1718037">
                  <a:extLst>
                    <a:ext uri="{9D8B030D-6E8A-4147-A177-3AD203B41FA5}">
                      <a16:colId xmlns:a16="http://schemas.microsoft.com/office/drawing/2014/main" val="1925499364"/>
                    </a:ext>
                  </a:extLst>
                </a:gridCol>
                <a:gridCol w="1398543">
                  <a:extLst>
                    <a:ext uri="{9D8B030D-6E8A-4147-A177-3AD203B41FA5}">
                      <a16:colId xmlns:a16="http://schemas.microsoft.com/office/drawing/2014/main" val="4157514003"/>
                    </a:ext>
                  </a:extLst>
                </a:gridCol>
                <a:gridCol w="1209613">
                  <a:extLst>
                    <a:ext uri="{9D8B030D-6E8A-4147-A177-3AD203B41FA5}">
                      <a16:colId xmlns:a16="http://schemas.microsoft.com/office/drawing/2014/main" val="3119284155"/>
                    </a:ext>
                  </a:extLst>
                </a:gridCol>
              </a:tblGrid>
              <a:tr h="183164">
                <a:tc rowSpan="2">
                  <a:txBody>
                    <a:bodyPr/>
                    <a:lstStyle/>
                    <a:p>
                      <a:pPr algn="ctr"/>
                      <a:endParaRPr lang="cs-CZ" sz="105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Počet vyšetřených osob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1"/>
                          </a:solidFill>
                          <a:latin typeface="+mj-lt"/>
                        </a:rPr>
                        <a:t>Interval mezi návštěvou PN a LDCT (dny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709372"/>
                  </a:ext>
                </a:extLst>
              </a:tr>
              <a:tr h="183164">
                <a:tc vMerge="1">
                  <a:txBody>
                    <a:bodyPr/>
                    <a:lstStyle/>
                    <a:p>
                      <a:pPr algn="ctr"/>
                      <a:endParaRPr lang="cs-CZ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j-lt"/>
                        </a:rPr>
                        <a:t>Průměr</a:t>
                      </a:r>
                      <a:endParaRPr lang="cs-CZ" sz="105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edián</a:t>
                      </a:r>
                      <a:endParaRPr lang="cs-CZ" sz="1050" b="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402614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r>
                        <a:rPr lang="cs-CZ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626085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cs-CZ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282062"/>
                  </a:ext>
                </a:extLst>
              </a:tr>
              <a:tr h="18316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r>
                        <a:rPr lang="cs-CZ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4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50982427"/>
                  </a:ext>
                </a:extLst>
              </a:tr>
            </a:tbl>
          </a:graphicData>
        </a:graphic>
      </p:graphicFrame>
      <p:sp>
        <p:nvSpPr>
          <p:cNvPr id="19" name="Zástupný text 5">
            <a:extLst>
              <a:ext uri="{FF2B5EF4-FFF2-40B4-BE49-F238E27FC236}">
                <a16:creationId xmlns:a16="http://schemas.microsoft.com/office/drawing/2014/main" id="{E0B36937-7E5D-EB83-C4C6-B7835C3726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1966" y="5951488"/>
            <a:ext cx="11788068" cy="780375"/>
          </a:xfr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chemeClr val="accent1"/>
                </a:solidFill>
              </a:rPr>
              <a:t>Interval mezi vyšetřeními v rámci ČR se každým rokem zvyšuje. Tento průměrný interval dosahoval v roce 2024 86 dnů (medián 58 dnů)</a:t>
            </a:r>
            <a:r>
              <a:rPr lang="cs-CZ" sz="1400" dirty="0"/>
              <a:t>. </a:t>
            </a:r>
            <a:r>
              <a:rPr lang="cs-CZ" sz="1400" b="1" dirty="0">
                <a:solidFill>
                  <a:schemeClr val="accent1"/>
                </a:solidFill>
              </a:rPr>
              <a:t>Nejnižší medián intervalu mezi vyšetřeními v roce 2024 </a:t>
            </a:r>
            <a:r>
              <a:rPr lang="cs-CZ" sz="1400" dirty="0"/>
              <a:t>(38 dnů) byl zaznamenán v </a:t>
            </a:r>
            <a:r>
              <a:rPr lang="cs-CZ" sz="1400" b="1" dirty="0">
                <a:solidFill>
                  <a:schemeClr val="accent1"/>
                </a:solidFill>
              </a:rPr>
              <a:t>Kraji Vysočina </a:t>
            </a:r>
            <a:r>
              <a:rPr lang="cs-CZ" sz="1400" dirty="0"/>
              <a:t>(s počtem 168 vyšetřených osob) a </a:t>
            </a:r>
            <a:r>
              <a:rPr lang="cs-CZ" sz="1400" b="1" dirty="0">
                <a:solidFill>
                  <a:schemeClr val="accent1"/>
                </a:solidFill>
              </a:rPr>
              <a:t>nejvyšší medián intervalu </a:t>
            </a:r>
            <a:r>
              <a:rPr lang="cs-CZ" sz="1400" dirty="0"/>
              <a:t>(223 dnů) byl zaznamenán v</a:t>
            </a:r>
            <a:r>
              <a:rPr lang="cs-CZ" sz="1400" b="1" dirty="0">
                <a:solidFill>
                  <a:schemeClr val="accent1"/>
                </a:solidFill>
              </a:rPr>
              <a:t> Pardubickém kraji </a:t>
            </a:r>
            <a:r>
              <a:rPr lang="cs-CZ" sz="1400" dirty="0"/>
              <a:t>(s počtem 64 vyšetřených osob).</a:t>
            </a:r>
          </a:p>
        </p:txBody>
      </p:sp>
      <p:graphicFrame>
        <p:nvGraphicFramePr>
          <p:cNvPr id="9" name="Zástupný symbol pro obsah 5">
            <a:extLst>
              <a:ext uri="{FF2B5EF4-FFF2-40B4-BE49-F238E27FC236}">
                <a16:creationId xmlns:a16="http://schemas.microsoft.com/office/drawing/2014/main" id="{2417B6F4-FB65-82F9-4A09-E7AF9AD679F6}"/>
              </a:ext>
            </a:extLst>
          </p:cNvPr>
          <p:cNvGraphicFramePr>
            <a:graphicFrameLocks/>
          </p:cNvGraphicFramePr>
          <p:nvPr/>
        </p:nvGraphicFramePr>
        <p:xfrm>
          <a:off x="-154378" y="1612324"/>
          <a:ext cx="7807561" cy="4389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A9F79559-7A87-81FA-ABD1-D24D72368F6C}"/>
              </a:ext>
            </a:extLst>
          </p:cNvPr>
          <p:cNvSpPr txBox="1"/>
          <p:nvPr/>
        </p:nvSpPr>
        <p:spPr>
          <a:xfrm>
            <a:off x="1533697" y="1264025"/>
            <a:ext cx="73149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vychází z </a:t>
            </a:r>
            <a:r>
              <a:rPr kumimoji="0" lang="cs-CZ" sz="110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ového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hledu, tedy z posloupnosti vyšetření: radiolog 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 pneumolog  praktický lékař</a:t>
            </a:r>
            <a:endParaRPr kumimoji="0" lang="cs-CZ" sz="11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C212B29-3D63-180C-4D96-8EDE5D5CA980}"/>
              </a:ext>
            </a:extLst>
          </p:cNvPr>
          <p:cNvSpPr txBox="1"/>
          <p:nvPr/>
        </p:nvSpPr>
        <p:spPr>
          <a:xfrm>
            <a:off x="7107122" y="4569423"/>
            <a:ext cx="47824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50" b="1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*</a:t>
            </a:r>
            <a:r>
              <a:rPr lang="cs-CZ" sz="1050" dirty="0">
                <a:solidFill>
                  <a:srgbClr val="E6B03C">
                    <a:lumMod val="10000"/>
                  </a:srgbClr>
                </a:solidFill>
                <a:latin typeface="Arial" panose="020B0604020202020204"/>
              </a:rPr>
              <a:t>V Karlovarském kraji v hodnoceném období nebylo žádné akreditované radiologické centrum, proto v tomto kraji nejsou vyšetřeny žádné osoby.</a:t>
            </a:r>
            <a:endParaRPr kumimoji="0" lang="cs-CZ" sz="1050" i="0" u="none" strike="noStrike" kern="1200" cap="none" spc="0" normalizeH="0" baseline="0" noProof="0" dirty="0">
              <a:ln>
                <a:noFill/>
              </a:ln>
              <a:solidFill>
                <a:srgbClr val="E6B03C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6868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10435412" cy="720000"/>
          </a:xfrm>
        </p:spPr>
        <p:txBody>
          <a:bodyPr>
            <a:normAutofit/>
          </a:bodyPr>
          <a:lstStyle/>
          <a:p>
            <a:r>
              <a:rPr lang="pl-PL" dirty="0"/>
              <a:t>Provedení LDCt u obyvatel Plzeňského kraje a okolí</a:t>
            </a:r>
            <a:endParaRPr lang="cs-CZ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5CF0424-DA42-6527-47C0-EAFD32B30985}"/>
              </a:ext>
            </a:extLst>
          </p:cNvPr>
          <p:cNvSpPr txBox="1"/>
          <p:nvPr/>
        </p:nvSpPr>
        <p:spPr>
          <a:xfrm>
            <a:off x="467270" y="5482866"/>
            <a:ext cx="743635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200" dirty="0"/>
              <a:t>Pozn.: 78 pacientů nemělo uveden kraj svého bydliště a nebyli tak zařazeny do výpočtu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5625CE1-7ED6-ABD6-7CF8-6B7DA4C58AE9}"/>
              </a:ext>
            </a:extLst>
          </p:cNvPr>
          <p:cNvSpPr txBox="1"/>
          <p:nvPr/>
        </p:nvSpPr>
        <p:spPr>
          <a:xfrm rot="16200000">
            <a:off x="-1066931" y="3773245"/>
            <a:ext cx="290071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b="1" dirty="0">
                <a:solidFill>
                  <a:srgbClr val="2C2F79"/>
                </a:solidFill>
              </a:rPr>
              <a:t>Kraj radiologického pracoviště</a:t>
            </a: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EDEE4D56-32B6-3615-7FED-218F61B3007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35927" y="1225909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uze pacienti ve věku 55–74 let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CECDD70B-F6E7-6B70-2F4F-FC6B75EE9ABB}"/>
              </a:ext>
            </a:extLst>
          </p:cNvPr>
          <p:cNvSpPr txBox="1">
            <a:spLocks/>
          </p:cNvSpPr>
          <p:nvPr/>
        </p:nvSpPr>
        <p:spPr>
          <a:xfrm>
            <a:off x="8794126" y="766351"/>
            <a:ext cx="3261286" cy="7200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NRHZS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za období: 1. 1. 2022 – 31. 12. 2024</a:t>
            </a:r>
          </a:p>
        </p:txBody>
      </p:sp>
      <p:sp>
        <p:nvSpPr>
          <p:cNvPr id="4" name="Zástupný text 5">
            <a:extLst>
              <a:ext uri="{FF2B5EF4-FFF2-40B4-BE49-F238E27FC236}">
                <a16:creationId xmlns:a16="http://schemas.microsoft.com/office/drawing/2014/main" id="{8AE12E82-BDCD-EC0B-EA21-7F02C2577DCC}"/>
              </a:ext>
            </a:extLst>
          </p:cNvPr>
          <p:cNvSpPr txBox="1">
            <a:spLocks/>
          </p:cNvSpPr>
          <p:nvPr/>
        </p:nvSpPr>
        <p:spPr>
          <a:xfrm>
            <a:off x="59268" y="6256867"/>
            <a:ext cx="11709400" cy="457297"/>
          </a:xfrm>
          <a:prstGeom prst="rect">
            <a:avLst/>
          </a:prstGeom>
          <a:ln w="28575">
            <a:solidFill>
              <a:srgbClr val="2C2F79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cs-CZ" sz="1000" b="1" dirty="0">
                <a:solidFill>
                  <a:schemeClr val="accent1"/>
                </a:solidFill>
              </a:rPr>
              <a:t>Radiologická pracoviště v Plzeňském kraji primárně poskytla LDCT vyšetření obyvatelům tohoto kraje </a:t>
            </a:r>
            <a:r>
              <a:rPr lang="cs-CZ" sz="1000" dirty="0"/>
              <a:t>(60 % LDCT vyšetření provedených </a:t>
            </a:r>
            <a:br>
              <a:rPr lang="cs-CZ" sz="1000" dirty="0"/>
            </a:br>
            <a:r>
              <a:rPr lang="cs-CZ" sz="1000" dirty="0"/>
              <a:t>v tomto kraji). Avšak </a:t>
            </a:r>
            <a:r>
              <a:rPr lang="cs-CZ" sz="1000" b="1" dirty="0">
                <a:solidFill>
                  <a:schemeClr val="accent1"/>
                </a:solidFill>
              </a:rPr>
              <a:t>radiologická pracoviště v Plzeňském kraji jsou významně využívána i obyvateli z Karlovarského kraje, kde do roku 2025 nebylo zřízeno akreditované radiologické centrum.</a:t>
            </a:r>
          </a:p>
        </p:txBody>
      </p:sp>
      <p:graphicFrame>
        <p:nvGraphicFramePr>
          <p:cNvPr id="3" name="Tabulka 7">
            <a:extLst>
              <a:ext uri="{FF2B5EF4-FFF2-40B4-BE49-F238E27FC236}">
                <a16:creationId xmlns:a16="http://schemas.microsoft.com/office/drawing/2014/main" id="{3D84A53D-3729-A886-B7D1-2F74FE7A0760}"/>
              </a:ext>
            </a:extLst>
          </p:cNvPr>
          <p:cNvGraphicFramePr>
            <a:graphicFrameLocks noGrp="1"/>
          </p:cNvGraphicFramePr>
          <p:nvPr/>
        </p:nvGraphicFramePr>
        <p:xfrm>
          <a:off x="526541" y="1701718"/>
          <a:ext cx="11453792" cy="3640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0730">
                  <a:extLst>
                    <a:ext uri="{9D8B030D-6E8A-4147-A177-3AD203B41FA5}">
                      <a16:colId xmlns:a16="http://schemas.microsoft.com/office/drawing/2014/main" val="2496513978"/>
                    </a:ext>
                  </a:extLst>
                </a:gridCol>
                <a:gridCol w="890730">
                  <a:extLst>
                    <a:ext uri="{9D8B030D-6E8A-4147-A177-3AD203B41FA5}">
                      <a16:colId xmlns:a16="http://schemas.microsoft.com/office/drawing/2014/main" val="3161106342"/>
                    </a:ext>
                  </a:extLst>
                </a:gridCol>
                <a:gridCol w="890730">
                  <a:extLst>
                    <a:ext uri="{9D8B030D-6E8A-4147-A177-3AD203B41FA5}">
                      <a16:colId xmlns:a16="http://schemas.microsoft.com/office/drawing/2014/main" val="3783431783"/>
                    </a:ext>
                  </a:extLst>
                </a:gridCol>
                <a:gridCol w="1075476">
                  <a:extLst>
                    <a:ext uri="{9D8B030D-6E8A-4147-A177-3AD203B41FA5}">
                      <a16:colId xmlns:a16="http://schemas.microsoft.com/office/drawing/2014/main" val="12959041"/>
                    </a:ext>
                  </a:extLst>
                </a:gridCol>
                <a:gridCol w="973666">
                  <a:extLst>
                    <a:ext uri="{9D8B030D-6E8A-4147-A177-3AD203B41FA5}">
                      <a16:colId xmlns:a16="http://schemas.microsoft.com/office/drawing/2014/main" val="397188245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04312908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139972730"/>
                    </a:ext>
                  </a:extLst>
                </a:gridCol>
                <a:gridCol w="1029558">
                  <a:extLst>
                    <a:ext uri="{9D8B030D-6E8A-4147-A177-3AD203B41FA5}">
                      <a16:colId xmlns:a16="http://schemas.microsoft.com/office/drawing/2014/main" val="4242289246"/>
                    </a:ext>
                  </a:extLst>
                </a:gridCol>
                <a:gridCol w="799242">
                  <a:extLst>
                    <a:ext uri="{9D8B030D-6E8A-4147-A177-3AD203B41FA5}">
                      <a16:colId xmlns:a16="http://schemas.microsoft.com/office/drawing/2014/main" val="2858147600"/>
                    </a:ext>
                  </a:extLst>
                </a:gridCol>
                <a:gridCol w="880534">
                  <a:extLst>
                    <a:ext uri="{9D8B030D-6E8A-4147-A177-3AD203B41FA5}">
                      <a16:colId xmlns:a16="http://schemas.microsoft.com/office/drawing/2014/main" val="929145610"/>
                    </a:ext>
                  </a:extLst>
                </a:gridCol>
                <a:gridCol w="856593">
                  <a:extLst>
                    <a:ext uri="{9D8B030D-6E8A-4147-A177-3AD203B41FA5}">
                      <a16:colId xmlns:a16="http://schemas.microsoft.com/office/drawing/2014/main" val="2188709282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203582770"/>
                    </a:ext>
                  </a:extLst>
                </a:gridCol>
              </a:tblGrid>
              <a:tr h="555178">
                <a:tc rowSpan="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2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Plzeň-měs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Tacho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Rokycan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+mj-lt"/>
                        </a:rPr>
                        <a:t>Plzeň-jih</a:t>
                      </a:r>
                      <a:endParaRPr lang="en-GB" sz="1200" dirty="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Plzeň-sever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latov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Domažl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ST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JHC</a:t>
                      </a:r>
                      <a:endParaRPr lang="en-GB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Zbytek Č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7555494"/>
                  </a:ext>
                </a:extLst>
              </a:tr>
              <a:tr h="3097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Počet (podíl) vyšetřených osob s daným místem bydliště</a:t>
                      </a: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T w="381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4990762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26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6,2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3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6,4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9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2,5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2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3,3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6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7,3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8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75,0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66,7 %)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0</a:t>
                      </a:r>
                      <a:r>
                        <a:rPr lang="cs-CZ" sz="10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0,9 %)</a:t>
                      </a:r>
                      <a:endParaRPr lang="en-GB" sz="10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4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822370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4429184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T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2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33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8,8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89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40771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H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8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7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673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0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7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0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7586959"/>
                  </a:ext>
                </a:extLst>
              </a:tr>
              <a:tr h="5551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bytek Č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2F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,8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,6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7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6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(0,0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16,7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33,3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,1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612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60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71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,5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695</a:t>
                      </a:r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(97,9 %)</a:t>
                      </a:r>
                      <a:endParaRPr lang="en-GB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849542"/>
                  </a:ext>
                </a:extLst>
              </a:tr>
            </a:tbl>
          </a:graphicData>
        </a:graphic>
      </p:graphicFrame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C1B0C3A7-E845-4C1A-436D-E19E19E1D5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7684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A2DDA38-176D-AE75-ACBD-46003604A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0328" y="483907"/>
            <a:ext cx="9962400" cy="960233"/>
          </a:xfrm>
        </p:spPr>
        <p:txBody>
          <a:bodyPr>
            <a:normAutofit/>
          </a:bodyPr>
          <a:lstStyle/>
          <a:p>
            <a:r>
              <a:rPr lang="cs-CZ" dirty="0"/>
              <a:t>Celkové výsledky LDCT v rámci 1. screeningové epizody </a:t>
            </a:r>
            <a:r>
              <a:rPr lang="cs-CZ" dirty="0">
                <a:solidFill>
                  <a:schemeClr val="accent3"/>
                </a:solidFill>
              </a:rPr>
              <a:t>v české republice a plzeňském kraji 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64DF5E38-24A9-136D-95B1-C5B4A5439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44190" y="1167543"/>
            <a:ext cx="2179197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Zástupný text 5">
            <a:extLst>
              <a:ext uri="{FF2B5EF4-FFF2-40B4-BE49-F238E27FC236}">
                <a16:creationId xmlns:a16="http://schemas.microsoft.com/office/drawing/2014/main" id="{F9907E1D-2C93-C55B-551A-6D34C7D9BF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6531" y="5995016"/>
            <a:ext cx="11803686" cy="758153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1400" dirty="0">
                <a:solidFill>
                  <a:schemeClr val="accent6">
                    <a:lumMod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Na základě prvního LDCT vyšetření (resp. posledního vyšetření LDCT po neurčitém výsledku) byla </a:t>
            </a:r>
            <a: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  <a:t>většina pacientů v ČR a Plzeňském kraji </a:t>
            </a:r>
            <a:b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</a:br>
            <a:r>
              <a:rPr lang="cs-CZ" sz="1400" b="1" dirty="0">
                <a:solidFill>
                  <a:schemeClr val="accent1"/>
                </a:solidFill>
                <a:effectLst/>
                <a:latin typeface="+mj-lt"/>
                <a:ea typeface="Times New Roman" panose="02020603050405020304" pitchFamily="18" charset="0"/>
              </a:rPr>
              <a:t>(89 %, 87 %) negativních</a:t>
            </a:r>
            <a:r>
              <a:rPr lang="cs-CZ" sz="1400" dirty="0">
                <a:solidFill>
                  <a:schemeClr val="accent6">
                    <a:lumMod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. Celkem </a:t>
            </a:r>
            <a:r>
              <a:rPr lang="cs-CZ" sz="1400" dirty="0">
                <a:solidFill>
                  <a:schemeClr val="accent6">
                    <a:lumMod val="10000"/>
                  </a:schemeClr>
                </a:solidFill>
                <a:latin typeface="+mj-lt"/>
                <a:ea typeface="Times New Roman" panose="02020603050405020304" pitchFamily="18" charset="0"/>
              </a:rPr>
              <a:t>486 osob z ČR mělo 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výsledek LDCT rizikový, z nich 2,1 %</a:t>
            </a:r>
            <a:r>
              <a:rPr lang="cs-CZ" sz="140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 (N = 10) tvořily 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osoby žijící </a:t>
            </a:r>
            <a:br>
              <a:rPr lang="cs-CZ" sz="1400" b="1" dirty="0">
                <a:solidFill>
                  <a:schemeClr val="accent1"/>
                </a:solidFill>
                <a:latin typeface="+mj-lt"/>
              </a:rPr>
            </a:br>
            <a:r>
              <a:rPr lang="cs-CZ" sz="1400" b="1" dirty="0">
                <a:solidFill>
                  <a:schemeClr val="accent1"/>
                </a:solidFill>
                <a:latin typeface="+mj-lt"/>
              </a:rPr>
              <a:t>v Plzeňském kraji</a:t>
            </a:r>
            <a:r>
              <a:rPr lang="cs-CZ" sz="1400" dirty="0">
                <a:solidFill>
                  <a:schemeClr val="accent6">
                    <a:lumMod val="10000"/>
                  </a:schemeClr>
                </a:solidFill>
                <a:latin typeface="+mj-lt"/>
                <a:ea typeface="Times New Roman" panose="02020603050405020304" pitchFamily="18" charset="0"/>
              </a:rPr>
              <a:t>. </a:t>
            </a:r>
            <a:r>
              <a:rPr lang="cs-CZ" sz="1400" b="1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</a:rPr>
              <a:t>Pa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cienti s rizikovým výsledkem LDCT jsou dále zasílání do specializovaných </a:t>
            </a:r>
            <a:r>
              <a:rPr lang="cs-CZ" sz="1400" b="1" dirty="0" err="1">
                <a:solidFill>
                  <a:schemeClr val="accent1"/>
                </a:solidFill>
                <a:latin typeface="+mj-lt"/>
              </a:rPr>
              <a:t>pneumoonkochirugických</a:t>
            </a:r>
            <a:r>
              <a:rPr lang="cs-CZ" sz="1400" b="1" dirty="0">
                <a:solidFill>
                  <a:schemeClr val="accent1"/>
                </a:solidFill>
                <a:latin typeface="+mj-lt"/>
              </a:rPr>
              <a:t> center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400" b="1" dirty="0">
              <a:solidFill>
                <a:srgbClr val="274073"/>
              </a:solidFill>
              <a:latin typeface="+mj-lt"/>
            </a:endParaRPr>
          </a:p>
        </p:txBody>
      </p:sp>
      <p:sp>
        <p:nvSpPr>
          <p:cNvPr id="9" name="Zástupný symbol pro obsah 4">
            <a:extLst>
              <a:ext uri="{FF2B5EF4-FFF2-40B4-BE49-F238E27FC236}">
                <a16:creationId xmlns:a16="http://schemas.microsoft.com/office/drawing/2014/main" id="{882296C3-A772-48B8-1C30-6C30B1FD8217}"/>
              </a:ext>
            </a:extLst>
          </p:cNvPr>
          <p:cNvSpPr txBox="1">
            <a:spLocks/>
          </p:cNvSpPr>
          <p:nvPr/>
        </p:nvSpPr>
        <p:spPr>
          <a:xfrm>
            <a:off x="1402614" y="1314369"/>
            <a:ext cx="5262138" cy="4021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ykázané zdravotní výkony: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9663, 89664</a:t>
            </a:r>
            <a:r>
              <a:rPr lang="cs-CZ" sz="1100" b="0" dirty="0">
                <a:solidFill>
                  <a:srgbClr val="DDDCE0">
                    <a:lumMod val="10000"/>
                  </a:srgbClr>
                </a:solidFill>
                <a:latin typeface="Arial" panose="020B0604020202020204"/>
              </a:rPr>
              <a:t>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9665</a:t>
            </a:r>
          </a:p>
          <a:p>
            <a:pPr marL="720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Zástupný text 3">
            <a:extLst>
              <a:ext uri="{FF2B5EF4-FFF2-40B4-BE49-F238E27FC236}">
                <a16:creationId xmlns:a16="http://schemas.microsoft.com/office/drawing/2014/main" id="{B5C1C1B5-6271-0975-46B9-E64E0F1E40A5}"/>
              </a:ext>
            </a:extLst>
          </p:cNvPr>
          <p:cNvSpPr txBox="1">
            <a:spLocks/>
          </p:cNvSpPr>
          <p:nvPr/>
        </p:nvSpPr>
        <p:spPr>
          <a:xfrm>
            <a:off x="9597790" y="969440"/>
            <a:ext cx="2932035" cy="949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RHZS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1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1. 2022 – 30. 9. 2024 </a:t>
            </a:r>
            <a:endParaRPr kumimoji="0" lang="cs-CZ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99BE57E3-BE62-9E83-F37D-9BDD3FA840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9077" y="1340595"/>
            <a:ext cx="2978851" cy="4308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uze pacienti ve věku 55–74 let</a:t>
            </a:r>
          </a:p>
        </p:txBody>
      </p:sp>
      <p:graphicFrame>
        <p:nvGraphicFramePr>
          <p:cNvPr id="8" name="Zástupný symbol pro obsah 5">
            <a:extLst>
              <a:ext uri="{FF2B5EF4-FFF2-40B4-BE49-F238E27FC236}">
                <a16:creationId xmlns:a16="http://schemas.microsoft.com/office/drawing/2014/main" id="{A47CB224-1A5C-5E37-7FF8-C70DA9989BDE}"/>
              </a:ext>
            </a:extLst>
          </p:cNvPr>
          <p:cNvGraphicFramePr>
            <a:graphicFrameLocks/>
          </p:cNvGraphicFramePr>
          <p:nvPr/>
        </p:nvGraphicFramePr>
        <p:xfrm>
          <a:off x="7028329" y="1687209"/>
          <a:ext cx="4766127" cy="406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Zástupný symbol pro obsah 5">
            <a:extLst>
              <a:ext uri="{FF2B5EF4-FFF2-40B4-BE49-F238E27FC236}">
                <a16:creationId xmlns:a16="http://schemas.microsoft.com/office/drawing/2014/main" id="{1E7ADD71-3C19-BDF5-864A-F71816AD4EA3}"/>
              </a:ext>
            </a:extLst>
          </p:cNvPr>
          <p:cNvGraphicFramePr>
            <a:graphicFrameLocks/>
          </p:cNvGraphicFramePr>
          <p:nvPr/>
        </p:nvGraphicFramePr>
        <p:xfrm>
          <a:off x="-470977" y="1630911"/>
          <a:ext cx="5967034" cy="4251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12DEF1BC-CEB3-0A0B-84D5-E2675C31F8AF}"/>
              </a:ext>
            </a:extLst>
          </p:cNvPr>
          <p:cNvSpPr txBox="1"/>
          <p:nvPr/>
        </p:nvSpPr>
        <p:spPr>
          <a:xfrm>
            <a:off x="3723387" y="2922137"/>
            <a:ext cx="3153367" cy="175432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  <a:latin typeface="+mj-lt"/>
              </a:rPr>
              <a:t>Díky realizaci reportingu bylo v Praze zjištěno, že u </a:t>
            </a:r>
            <a:r>
              <a:rPr lang="cs-CZ" sz="1200" b="1" u="sng" dirty="0">
                <a:solidFill>
                  <a:schemeClr val="bg1"/>
                </a:solidFill>
                <a:latin typeface="+mj-lt"/>
              </a:rPr>
              <a:t>40 pacientů</a:t>
            </a:r>
            <a:r>
              <a:rPr lang="cs-CZ" sz="1200" b="1" dirty="0">
                <a:solidFill>
                  <a:schemeClr val="bg1"/>
                </a:solidFill>
                <a:latin typeface="+mj-lt"/>
              </a:rPr>
              <a:t> byl výsledek LDCT </a:t>
            </a:r>
            <a:r>
              <a:rPr lang="cs-CZ" sz="1200" b="1" u="sng" dirty="0">
                <a:solidFill>
                  <a:schemeClr val="bg1"/>
                </a:solidFill>
                <a:latin typeface="+mj-lt"/>
              </a:rPr>
              <a:t>chybně</a:t>
            </a:r>
            <a:r>
              <a:rPr lang="cs-CZ" sz="1200" b="1" dirty="0">
                <a:solidFill>
                  <a:schemeClr val="bg1"/>
                </a:solidFill>
                <a:latin typeface="+mj-lt"/>
              </a:rPr>
              <a:t> vykázán jako pozitivní.</a:t>
            </a:r>
            <a:br>
              <a:rPr lang="cs-CZ" sz="1200" b="1" dirty="0">
                <a:solidFill>
                  <a:schemeClr val="bg1"/>
                </a:solidFill>
                <a:latin typeface="+mj-lt"/>
              </a:rPr>
            </a:br>
            <a:br>
              <a:rPr lang="cs-CZ" sz="1200" b="1" dirty="0">
                <a:solidFill>
                  <a:schemeClr val="bg1"/>
                </a:solidFill>
                <a:latin typeface="+mj-lt"/>
              </a:rPr>
            </a:br>
            <a:r>
              <a:rPr lang="cs-CZ" sz="1200" dirty="0">
                <a:solidFill>
                  <a:schemeClr val="bg1"/>
                </a:solidFill>
                <a:latin typeface="+mj-lt"/>
              </a:rPr>
              <a:t>Tito pacienti budou mít pravděpodobně negativní nebo neurčitý výsledek LDCT vyšetření. Opravy se v NRHZS objeví jakmile budou nesprávně vykázané výkony opraveny poskytovatelem.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A1D20843-BB34-D8B6-1C11-62BED40969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3271" y="90540"/>
            <a:ext cx="2477004" cy="40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94959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IGRACE ZA ONKOLOGICKOU PÉČÍ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2543925-3314-FC7D-5A63-1A33CD0F4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558983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DCA7A-FBCD-C765-2771-9F3E49E503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95438-540E-5A40-5B6B-2E2CBF3412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0" y="160258"/>
            <a:ext cx="11386173" cy="538364"/>
          </a:xfrm>
        </p:spPr>
        <p:txBody>
          <a:bodyPr>
            <a:normAutofit/>
          </a:bodyPr>
          <a:lstStyle/>
          <a:p>
            <a:r>
              <a:rPr lang="cs-CZ"/>
              <a:t>Migrace za onkologickými hospitalizacemi (2023): Solidní ZN</a:t>
            </a:r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14E95CD2-6DBC-BFC1-E1BC-7ECD57F4FC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11862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; hodnocen je počet hospitalizací na lůžku akutní péče s hlavní hospitalizační diagnózou C00–C97 (mimo C44 a C81–C96) u dospělých pacientů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8E5D0122-E2F1-C376-B39D-5335D2B1E95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1236" y="1247116"/>
          <a:ext cx="11263956" cy="484859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03087">
                  <a:extLst>
                    <a:ext uri="{9D8B030D-6E8A-4147-A177-3AD203B41FA5}">
                      <a16:colId xmlns:a16="http://schemas.microsoft.com/office/drawing/2014/main" val="973337137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5281129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616200405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171354958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804551917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7326410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2739769814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369951239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631709780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8070249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423492683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150821643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33207648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163661102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51634293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23126440"/>
                    </a:ext>
                  </a:extLst>
                </a:gridCol>
                <a:gridCol w="1614564">
                  <a:extLst>
                    <a:ext uri="{9D8B030D-6E8A-4147-A177-3AD203B41FA5}">
                      <a16:colId xmlns:a16="http://schemas.microsoft.com/office/drawing/2014/main" val="2957339432"/>
                    </a:ext>
                  </a:extLst>
                </a:gridCol>
              </a:tblGrid>
              <a:tr h="299928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>
                      <a:noFill/>
                    </a:lnB>
                    <a:solidFill>
                      <a:srgbClr val="2E5980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aj zdravotnického zařízení</a:t>
                      </a:r>
                    </a:p>
                  </a:txBody>
                  <a:tcPr marL="9525" marR="9525" marT="9525" marB="0" anchor="ctr">
                    <a:lnR>
                      <a:noFill/>
                    </a:lnR>
                    <a:lnB>
                      <a:noFill/>
                    </a:lnB>
                    <a:solidFill>
                      <a:srgbClr val="2E59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lkem hospitalizací </a:t>
                      </a:r>
                      <a:b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N / rok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107332"/>
                  </a:ext>
                </a:extLst>
              </a:tr>
              <a:tr h="299928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R>
                      <a:noFill/>
                    </a:ln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HA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C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HC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V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B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K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M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Z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S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lkem (N / rok)</a:t>
                      </a: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137414"/>
                  </a:ext>
                </a:extLst>
              </a:tr>
              <a:tr h="299928">
                <a:tc rowSpan="14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aj bydliště</a:t>
                      </a:r>
                    </a:p>
                  </a:txBody>
                  <a:tcPr marL="9525" marR="9525" marT="9525" marB="0" vert="vert270" anchor="ctr">
                    <a:lnR>
                      <a:noFill/>
                    </a:ln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50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045001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54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,7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66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574337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1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2820065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6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53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103645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3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5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5184928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6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6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40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5358154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1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5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0723561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K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2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81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0926961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5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8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5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2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97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35916572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7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8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9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33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0972342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3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66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2054327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2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6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15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3254458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Z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0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5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9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5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71337290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S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26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5196266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948984D7-99B0-31EC-5C9A-D273C76F64B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89858" y="2804132"/>
            <a:ext cx="10665334" cy="288000"/>
          </a:xfrm>
          <a:prstGeom prst="rect">
            <a:avLst/>
          </a:prstGeom>
          <a:noFill/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529E0DD1-ABEA-5658-2B4A-7D786F54D22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429933" y="3520913"/>
            <a:ext cx="4554778" cy="594821"/>
          </a:xfrm>
          <a:prstGeom prst="rect">
            <a:avLst/>
          </a:prstGeom>
          <a:noFill/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52347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DCA7A-FBCD-C765-2771-9F3E49E503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95438-540E-5A40-5B6B-2E2CBF3412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0" y="160258"/>
            <a:ext cx="11386173" cy="538364"/>
          </a:xfrm>
        </p:spPr>
        <p:txBody>
          <a:bodyPr>
            <a:normAutofit/>
          </a:bodyPr>
          <a:lstStyle/>
          <a:p>
            <a:r>
              <a:rPr lang="cs-CZ" dirty="0"/>
              <a:t>Migrace za </a:t>
            </a:r>
            <a:r>
              <a:rPr lang="cs-CZ" dirty="0" err="1"/>
              <a:t>centrovou</a:t>
            </a:r>
            <a:r>
              <a:rPr lang="cs-CZ" dirty="0"/>
              <a:t> léčbou 2023: Solidní ZN</a:t>
            </a:r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14E95CD2-6DBC-BFC1-E1BC-7ECD57F4FC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11862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; Hodnoceni byli pacienti s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entrovou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léčbou pro solidní Z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Jeden pacient mohl mít podaný lék ve více krajíc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8E5D0122-E2F1-C376-B39D-5335D2B1E95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1236" y="1247116"/>
          <a:ext cx="11263956" cy="484859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03087">
                  <a:extLst>
                    <a:ext uri="{9D8B030D-6E8A-4147-A177-3AD203B41FA5}">
                      <a16:colId xmlns:a16="http://schemas.microsoft.com/office/drawing/2014/main" val="973337137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5281129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616200405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171354958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804551917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7326410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2739769814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369951239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631709780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8070249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423492683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150821643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33207648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163661102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51634293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23126440"/>
                    </a:ext>
                  </a:extLst>
                </a:gridCol>
                <a:gridCol w="1614564">
                  <a:extLst>
                    <a:ext uri="{9D8B030D-6E8A-4147-A177-3AD203B41FA5}">
                      <a16:colId xmlns:a16="http://schemas.microsoft.com/office/drawing/2014/main" val="2957339432"/>
                    </a:ext>
                  </a:extLst>
                </a:gridCol>
              </a:tblGrid>
              <a:tr h="299928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>
                      <a:noFill/>
                    </a:lnB>
                    <a:solidFill>
                      <a:srgbClr val="2E5980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aj zdravotnického zařízení</a:t>
                      </a:r>
                    </a:p>
                  </a:txBody>
                  <a:tcPr marL="9525" marR="9525" marT="9525" marB="0" anchor="ctr">
                    <a:lnR>
                      <a:noFill/>
                    </a:lnR>
                    <a:lnB>
                      <a:noFill/>
                    </a:lnB>
                    <a:solidFill>
                      <a:srgbClr val="2E59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lkem pacientů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N / rok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107332"/>
                  </a:ext>
                </a:extLst>
              </a:tr>
              <a:tr h="299928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R>
                      <a:noFill/>
                    </a:ln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C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HC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V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B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K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M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Z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S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lkem (N / rok)</a:t>
                      </a: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137414"/>
                  </a:ext>
                </a:extLst>
              </a:tr>
              <a:tr h="299928">
                <a:tc rowSpan="14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aj bydliště</a:t>
                      </a:r>
                    </a:p>
                  </a:txBody>
                  <a:tcPr marL="9525" marR="9525" marT="9525" marB="0" vert="vert270" anchor="ctr">
                    <a:lnR>
                      <a:noFill/>
                    </a:ln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4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045001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83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6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7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3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574337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3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,9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2820065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103645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7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82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5184928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25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3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8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9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5358154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7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0723561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K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2,9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0926961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7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4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9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35916572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,8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4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28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3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0972342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1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2054327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5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7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3254458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Z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2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6,8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12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71337290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S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7,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7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5196266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948984D7-99B0-31EC-5C9A-D273C76F64B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89858" y="2804132"/>
            <a:ext cx="10665334" cy="288000"/>
          </a:xfrm>
          <a:prstGeom prst="rect">
            <a:avLst/>
          </a:prstGeom>
          <a:noFill/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529E0DD1-ABEA-5658-2B4A-7D786F54D22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429933" y="3520913"/>
            <a:ext cx="4554778" cy="594821"/>
          </a:xfrm>
          <a:prstGeom prst="rect">
            <a:avLst/>
          </a:prstGeom>
          <a:noFill/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46841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Nadpis 134">
            <a:extLst>
              <a:ext uri="{FF2B5EF4-FFF2-40B4-BE49-F238E27FC236}">
                <a16:creationId xmlns:a16="http://schemas.microsoft.com/office/drawing/2014/main" id="{C3471F7A-46E1-B470-6A2C-B33F01049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cidence ZN prsu (C50)</a:t>
            </a:r>
            <a:r>
              <a:rPr lang="cs-CZ" dirty="0"/>
              <a:t> </a:t>
            </a:r>
            <a:r>
              <a:rPr lang="es-ES" dirty="0"/>
              <a:t>u žen</a:t>
            </a:r>
            <a:endParaRPr lang="cs-CZ" dirty="0"/>
          </a:p>
        </p:txBody>
      </p:sp>
      <p:graphicFrame>
        <p:nvGraphicFramePr>
          <p:cNvPr id="2" name="Object 123">
            <a:extLst>
              <a:ext uri="{FF2B5EF4-FFF2-40B4-BE49-F238E27FC236}">
                <a16:creationId xmlns:a16="http://schemas.microsoft.com/office/drawing/2014/main" id="{10810DC1-F7A1-49F4-827E-09D15B931EC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01106" y="1911300"/>
          <a:ext cx="4122544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97801" y="1824344"/>
          <a:ext cx="1931064" cy="2510535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cs-CZ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7369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68781" y="3455017"/>
            <a:ext cx="2911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 100 000 žen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9670" y="2611897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7,0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16861" y="1026669"/>
            <a:ext cx="38798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nově diagnostikovaných onemocnění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 100 000 žen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89670" y="2755260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1,9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C9900">
                <a:alpha val="3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zeň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C9900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E6AF00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E6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FFE38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FFCC2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BC8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BC8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E6AF00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FFC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51244C10-F8CE-1004-6D13-E8372E03236F}"/>
              </a:ext>
            </a:extLst>
          </p:cNvPr>
          <p:cNvGrpSpPr/>
          <p:nvPr/>
        </p:nvGrpSpPr>
        <p:grpSpPr>
          <a:xfrm>
            <a:off x="10951469" y="4645212"/>
            <a:ext cx="920040" cy="839147"/>
            <a:chOff x="5368539" y="5686843"/>
            <a:chExt cx="920040" cy="839147"/>
          </a:xfrm>
        </p:grpSpPr>
        <p:sp>
          <p:nvSpPr>
            <p:cNvPr id="59" name="Text Box 58">
              <a:extLst>
                <a:ext uri="{FF2B5EF4-FFF2-40B4-BE49-F238E27FC236}">
                  <a16:creationId xmlns:a16="http://schemas.microsoft.com/office/drawing/2014/main" id="{33DA7B70-97BF-7BB7-DE6C-B2CCBF6157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1–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1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FC502D0F-09CF-42B1-964D-18E2A1ACB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FFE389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" name="Rectangle 56">
              <a:extLst>
                <a:ext uri="{FF2B5EF4-FFF2-40B4-BE49-F238E27FC236}">
                  <a16:creationId xmlns:a16="http://schemas.microsoft.com/office/drawing/2014/main" id="{8CC6512D-916E-D74C-EB79-459B04674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FFCC2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573D031F-9FB1-EA99-54CA-C829B91C3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E6A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8" name="Rectangle 56">
              <a:extLst>
                <a:ext uri="{FF2B5EF4-FFF2-40B4-BE49-F238E27FC236}">
                  <a16:creationId xmlns:a16="http://schemas.microsoft.com/office/drawing/2014/main" id="{DB38CC8E-F9F8-7CAB-07C2-700A3A956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BC8F00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Object 16">
            <a:extLst>
              <a:ext uri="{FF2B5EF4-FFF2-40B4-BE49-F238E27FC236}">
                <a16:creationId xmlns:a16="http://schemas.microsoft.com/office/drawing/2014/main" id="{37179168-73E0-C822-C423-FD4B4A83DC04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449966" y="4396195"/>
          <a:ext cx="2311760" cy="2019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2" name="Group 110">
            <a:extLst>
              <a:ext uri="{FF2B5EF4-FFF2-40B4-BE49-F238E27FC236}">
                <a16:creationId xmlns:a16="http://schemas.microsoft.com/office/drawing/2014/main" id="{BC849330-6A6E-7C14-7BCA-345630479885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4597801" y="4701003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84922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42" name="Skupina 141">
            <a:extLst>
              <a:ext uri="{FF2B5EF4-FFF2-40B4-BE49-F238E27FC236}">
                <a16:creationId xmlns:a16="http://schemas.microsoft.com/office/drawing/2014/main" id="{2FBBB2EC-6411-0DCC-7BC2-374C77436C15}"/>
              </a:ext>
            </a:extLst>
          </p:cNvPr>
          <p:cNvGrpSpPr>
            <a:grpSpLocks noChangeAspect="1"/>
          </p:cNvGrpSpPr>
          <p:nvPr/>
        </p:nvGrpSpPr>
        <p:grpSpPr>
          <a:xfrm>
            <a:off x="8955157" y="4391856"/>
            <a:ext cx="1617371" cy="2031177"/>
            <a:chOff x="4041462" y="133955"/>
            <a:chExt cx="2035175" cy="2555875"/>
          </a:xfrm>
          <a:solidFill>
            <a:srgbClr val="FFCC29"/>
          </a:solidFill>
        </p:grpSpPr>
        <p:sp>
          <p:nvSpPr>
            <p:cNvPr id="31" name="Freeform 104">
              <a:extLst>
                <a:ext uri="{FF2B5EF4-FFF2-40B4-BE49-F238E27FC236}">
                  <a16:creationId xmlns:a16="http://schemas.microsoft.com/office/drawing/2014/main" id="{9616D8E1-A2DC-D001-B1C4-726EDE879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10">
              <a:extLst>
                <a:ext uri="{FF2B5EF4-FFF2-40B4-BE49-F238E27FC236}">
                  <a16:creationId xmlns:a16="http://schemas.microsoft.com/office/drawing/2014/main" id="{946EFD0B-E8E1-2666-928F-228886745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08">
              <a:extLst>
                <a:ext uri="{FF2B5EF4-FFF2-40B4-BE49-F238E27FC236}">
                  <a16:creationId xmlns:a16="http://schemas.microsoft.com/office/drawing/2014/main" id="{C6857D07-C439-B9C4-A5B4-2343FF2EF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09">
              <a:extLst>
                <a:ext uri="{FF2B5EF4-FFF2-40B4-BE49-F238E27FC236}">
                  <a16:creationId xmlns:a16="http://schemas.microsoft.com/office/drawing/2014/main" id="{9A1859DD-F8AE-101D-792D-0A3E72BED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09">
              <a:extLst>
                <a:ext uri="{FF2B5EF4-FFF2-40B4-BE49-F238E27FC236}">
                  <a16:creationId xmlns:a16="http://schemas.microsoft.com/office/drawing/2014/main" id="{49C6BDD4-CA30-E896-049A-AEF657BDA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07">
              <a:extLst>
                <a:ext uri="{FF2B5EF4-FFF2-40B4-BE49-F238E27FC236}">
                  <a16:creationId xmlns:a16="http://schemas.microsoft.com/office/drawing/2014/main" id="{A096B6EA-E53C-D624-5D2F-1F8D01CE9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5">
              <a:extLst>
                <a:ext uri="{FF2B5EF4-FFF2-40B4-BE49-F238E27FC236}">
                  <a16:creationId xmlns:a16="http://schemas.microsoft.com/office/drawing/2014/main" id="{9D267921-E664-41FF-7B3D-6D6AD60B1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05">
              <a:extLst>
                <a:ext uri="{FF2B5EF4-FFF2-40B4-BE49-F238E27FC236}">
                  <a16:creationId xmlns:a16="http://schemas.microsoft.com/office/drawing/2014/main" id="{A8FF6D88-7CF2-5B69-CE10-1492CCCB8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104">
              <a:extLst>
                <a:ext uri="{FF2B5EF4-FFF2-40B4-BE49-F238E27FC236}">
                  <a16:creationId xmlns:a16="http://schemas.microsoft.com/office/drawing/2014/main" id="{A2A76CEA-B391-BA1F-945C-404A3300D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solidFill>
              <a:srgbClr val="FFE38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06">
              <a:extLst>
                <a:ext uri="{FF2B5EF4-FFF2-40B4-BE49-F238E27FC236}">
                  <a16:creationId xmlns:a16="http://schemas.microsoft.com/office/drawing/2014/main" id="{BE9E283C-B4F9-32F1-B877-6EFA93E4F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474" y="781655"/>
              <a:ext cx="422275" cy="420688"/>
            </a:xfrm>
            <a:custGeom>
              <a:avLst/>
              <a:gdLst>
                <a:gd name="T0" fmla="*/ 103 w 266"/>
                <a:gd name="T1" fmla="*/ 7 h 265"/>
                <a:gd name="T2" fmla="*/ 112 w 266"/>
                <a:gd name="T3" fmla="*/ 13 h 265"/>
                <a:gd name="T4" fmla="*/ 120 w 266"/>
                <a:gd name="T5" fmla="*/ 26 h 265"/>
                <a:gd name="T6" fmla="*/ 127 w 266"/>
                <a:gd name="T7" fmla="*/ 40 h 265"/>
                <a:gd name="T8" fmla="*/ 135 w 266"/>
                <a:gd name="T9" fmla="*/ 39 h 265"/>
                <a:gd name="T10" fmla="*/ 140 w 266"/>
                <a:gd name="T11" fmla="*/ 42 h 265"/>
                <a:gd name="T12" fmla="*/ 145 w 266"/>
                <a:gd name="T13" fmla="*/ 48 h 265"/>
                <a:gd name="T14" fmla="*/ 150 w 266"/>
                <a:gd name="T15" fmla="*/ 47 h 265"/>
                <a:gd name="T16" fmla="*/ 169 w 266"/>
                <a:gd name="T17" fmla="*/ 23 h 265"/>
                <a:gd name="T18" fmla="*/ 194 w 266"/>
                <a:gd name="T19" fmla="*/ 5 h 265"/>
                <a:gd name="T20" fmla="*/ 202 w 266"/>
                <a:gd name="T21" fmla="*/ 0 h 265"/>
                <a:gd name="T22" fmla="*/ 205 w 266"/>
                <a:gd name="T23" fmla="*/ 7 h 265"/>
                <a:gd name="T24" fmla="*/ 211 w 266"/>
                <a:gd name="T25" fmla="*/ 30 h 265"/>
                <a:gd name="T26" fmla="*/ 226 w 266"/>
                <a:gd name="T27" fmla="*/ 46 h 265"/>
                <a:gd name="T28" fmla="*/ 229 w 266"/>
                <a:gd name="T29" fmla="*/ 57 h 265"/>
                <a:gd name="T30" fmla="*/ 217 w 266"/>
                <a:gd name="T31" fmla="*/ 73 h 265"/>
                <a:gd name="T32" fmla="*/ 204 w 266"/>
                <a:gd name="T33" fmla="*/ 90 h 265"/>
                <a:gd name="T34" fmla="*/ 202 w 266"/>
                <a:gd name="T35" fmla="*/ 100 h 265"/>
                <a:gd name="T36" fmla="*/ 213 w 266"/>
                <a:gd name="T37" fmla="*/ 111 h 265"/>
                <a:gd name="T38" fmla="*/ 239 w 266"/>
                <a:gd name="T39" fmla="*/ 134 h 265"/>
                <a:gd name="T40" fmla="*/ 239 w 266"/>
                <a:gd name="T41" fmla="*/ 139 h 265"/>
                <a:gd name="T42" fmla="*/ 234 w 266"/>
                <a:gd name="T43" fmla="*/ 149 h 265"/>
                <a:gd name="T44" fmla="*/ 240 w 266"/>
                <a:gd name="T45" fmla="*/ 159 h 265"/>
                <a:gd name="T46" fmla="*/ 259 w 266"/>
                <a:gd name="T47" fmla="*/ 169 h 265"/>
                <a:gd name="T48" fmla="*/ 263 w 266"/>
                <a:gd name="T49" fmla="*/ 177 h 265"/>
                <a:gd name="T50" fmla="*/ 249 w 266"/>
                <a:gd name="T51" fmla="*/ 203 h 265"/>
                <a:gd name="T52" fmla="*/ 245 w 266"/>
                <a:gd name="T53" fmla="*/ 220 h 265"/>
                <a:gd name="T54" fmla="*/ 232 w 266"/>
                <a:gd name="T55" fmla="*/ 238 h 265"/>
                <a:gd name="T56" fmla="*/ 207 w 266"/>
                <a:gd name="T57" fmla="*/ 256 h 265"/>
                <a:gd name="T58" fmla="*/ 189 w 266"/>
                <a:gd name="T59" fmla="*/ 263 h 265"/>
                <a:gd name="T60" fmla="*/ 177 w 266"/>
                <a:gd name="T61" fmla="*/ 265 h 265"/>
                <a:gd name="T62" fmla="*/ 164 w 266"/>
                <a:gd name="T63" fmla="*/ 257 h 265"/>
                <a:gd name="T64" fmla="*/ 143 w 266"/>
                <a:gd name="T65" fmla="*/ 238 h 265"/>
                <a:gd name="T66" fmla="*/ 122 w 266"/>
                <a:gd name="T67" fmla="*/ 230 h 265"/>
                <a:gd name="T68" fmla="*/ 116 w 266"/>
                <a:gd name="T69" fmla="*/ 222 h 265"/>
                <a:gd name="T70" fmla="*/ 121 w 266"/>
                <a:gd name="T71" fmla="*/ 212 h 265"/>
                <a:gd name="T72" fmla="*/ 126 w 266"/>
                <a:gd name="T73" fmla="*/ 202 h 265"/>
                <a:gd name="T74" fmla="*/ 126 w 266"/>
                <a:gd name="T75" fmla="*/ 189 h 265"/>
                <a:gd name="T76" fmla="*/ 120 w 266"/>
                <a:gd name="T77" fmla="*/ 180 h 265"/>
                <a:gd name="T78" fmla="*/ 102 w 266"/>
                <a:gd name="T79" fmla="*/ 171 h 265"/>
                <a:gd name="T80" fmla="*/ 80 w 266"/>
                <a:gd name="T81" fmla="*/ 174 h 265"/>
                <a:gd name="T82" fmla="*/ 49 w 266"/>
                <a:gd name="T83" fmla="*/ 176 h 265"/>
                <a:gd name="T84" fmla="*/ 32 w 266"/>
                <a:gd name="T85" fmla="*/ 171 h 265"/>
                <a:gd name="T86" fmla="*/ 25 w 266"/>
                <a:gd name="T87" fmla="*/ 163 h 265"/>
                <a:gd name="T88" fmla="*/ 21 w 266"/>
                <a:gd name="T89" fmla="*/ 154 h 265"/>
                <a:gd name="T90" fmla="*/ 20 w 266"/>
                <a:gd name="T91" fmla="*/ 141 h 265"/>
                <a:gd name="T92" fmla="*/ 20 w 266"/>
                <a:gd name="T93" fmla="*/ 107 h 265"/>
                <a:gd name="T94" fmla="*/ 14 w 266"/>
                <a:gd name="T95" fmla="*/ 97 h 265"/>
                <a:gd name="T96" fmla="*/ 10 w 266"/>
                <a:gd name="T97" fmla="*/ 84 h 265"/>
                <a:gd name="T98" fmla="*/ 7 w 266"/>
                <a:gd name="T99" fmla="*/ 60 h 265"/>
                <a:gd name="T100" fmla="*/ 0 w 266"/>
                <a:gd name="T101" fmla="*/ 46 h 265"/>
                <a:gd name="T102" fmla="*/ 1 w 266"/>
                <a:gd name="T103" fmla="*/ 37 h 265"/>
                <a:gd name="T104" fmla="*/ 8 w 266"/>
                <a:gd name="T105" fmla="*/ 27 h 265"/>
                <a:gd name="T106" fmla="*/ 17 w 266"/>
                <a:gd name="T107" fmla="*/ 26 h 265"/>
                <a:gd name="T108" fmla="*/ 41 w 266"/>
                <a:gd name="T109" fmla="*/ 37 h 265"/>
                <a:gd name="T110" fmla="*/ 59 w 266"/>
                <a:gd name="T111" fmla="*/ 41 h 265"/>
                <a:gd name="T112" fmla="*/ 69 w 266"/>
                <a:gd name="T113" fmla="*/ 36 h 265"/>
                <a:gd name="T114" fmla="*/ 80 w 266"/>
                <a:gd name="T115" fmla="*/ 19 h 265"/>
                <a:gd name="T116" fmla="*/ 91 w 266"/>
                <a:gd name="T117" fmla="*/ 1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265">
                  <a:moveTo>
                    <a:pt x="97" y="7"/>
                  </a:moveTo>
                  <a:lnTo>
                    <a:pt x="97" y="7"/>
                  </a:lnTo>
                  <a:lnTo>
                    <a:pt x="98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5" y="9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2"/>
                  </a:lnTo>
                  <a:lnTo>
                    <a:pt x="112" y="13"/>
                  </a:lnTo>
                  <a:lnTo>
                    <a:pt x="115" y="16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8" y="22"/>
                  </a:lnTo>
                  <a:lnTo>
                    <a:pt x="120" y="26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3" y="37"/>
                  </a:lnTo>
                  <a:lnTo>
                    <a:pt x="125" y="39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3" y="39"/>
                  </a:lnTo>
                  <a:lnTo>
                    <a:pt x="135" y="39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8" y="40"/>
                  </a:lnTo>
                  <a:lnTo>
                    <a:pt x="139" y="41"/>
                  </a:lnTo>
                  <a:lnTo>
                    <a:pt x="140" y="42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3" y="47"/>
                  </a:lnTo>
                  <a:lnTo>
                    <a:pt x="145" y="48"/>
                  </a:lnTo>
                  <a:lnTo>
                    <a:pt x="146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51" y="46"/>
                  </a:lnTo>
                  <a:lnTo>
                    <a:pt x="164" y="29"/>
                  </a:lnTo>
                  <a:lnTo>
                    <a:pt x="166" y="27"/>
                  </a:lnTo>
                  <a:lnTo>
                    <a:pt x="168" y="25"/>
                  </a:lnTo>
                  <a:lnTo>
                    <a:pt x="169" y="23"/>
                  </a:lnTo>
                  <a:lnTo>
                    <a:pt x="172" y="22"/>
                  </a:lnTo>
                  <a:lnTo>
                    <a:pt x="180" y="17"/>
                  </a:lnTo>
                  <a:lnTo>
                    <a:pt x="184" y="14"/>
                  </a:lnTo>
                  <a:lnTo>
                    <a:pt x="189" y="10"/>
                  </a:lnTo>
                  <a:lnTo>
                    <a:pt x="194" y="5"/>
                  </a:lnTo>
                  <a:lnTo>
                    <a:pt x="196" y="3"/>
                  </a:lnTo>
                  <a:lnTo>
                    <a:pt x="199" y="1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4" y="2"/>
                  </a:lnTo>
                  <a:lnTo>
                    <a:pt x="204" y="4"/>
                  </a:lnTo>
                  <a:lnTo>
                    <a:pt x="205" y="7"/>
                  </a:lnTo>
                  <a:lnTo>
                    <a:pt x="206" y="15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9" y="24"/>
                  </a:lnTo>
                  <a:lnTo>
                    <a:pt x="211" y="30"/>
                  </a:lnTo>
                  <a:lnTo>
                    <a:pt x="212" y="32"/>
                  </a:lnTo>
                  <a:lnTo>
                    <a:pt x="213" y="33"/>
                  </a:lnTo>
                  <a:lnTo>
                    <a:pt x="220" y="39"/>
                  </a:lnTo>
                  <a:lnTo>
                    <a:pt x="224" y="43"/>
                  </a:lnTo>
                  <a:lnTo>
                    <a:pt x="226" y="46"/>
                  </a:lnTo>
                  <a:lnTo>
                    <a:pt x="227" y="48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9" y="55"/>
                  </a:lnTo>
                  <a:lnTo>
                    <a:pt x="229" y="57"/>
                  </a:lnTo>
                  <a:lnTo>
                    <a:pt x="228" y="60"/>
                  </a:lnTo>
                  <a:lnTo>
                    <a:pt x="227" y="62"/>
                  </a:lnTo>
                  <a:lnTo>
                    <a:pt x="225" y="65"/>
                  </a:lnTo>
                  <a:lnTo>
                    <a:pt x="223" y="67"/>
                  </a:lnTo>
                  <a:lnTo>
                    <a:pt x="217" y="73"/>
                  </a:lnTo>
                  <a:lnTo>
                    <a:pt x="210" y="80"/>
                  </a:lnTo>
                  <a:lnTo>
                    <a:pt x="208" y="82"/>
                  </a:lnTo>
                  <a:lnTo>
                    <a:pt x="206" y="85"/>
                  </a:lnTo>
                  <a:lnTo>
                    <a:pt x="205" y="87"/>
                  </a:lnTo>
                  <a:lnTo>
                    <a:pt x="204" y="90"/>
                  </a:lnTo>
                  <a:lnTo>
                    <a:pt x="203" y="92"/>
                  </a:lnTo>
                  <a:lnTo>
                    <a:pt x="202" y="95"/>
                  </a:lnTo>
                  <a:lnTo>
                    <a:pt x="202" y="97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3" y="102"/>
                  </a:lnTo>
                  <a:lnTo>
                    <a:pt x="204" y="104"/>
                  </a:lnTo>
                  <a:lnTo>
                    <a:pt x="205" y="105"/>
                  </a:lnTo>
                  <a:lnTo>
                    <a:pt x="207" y="107"/>
                  </a:lnTo>
                  <a:lnTo>
                    <a:pt x="213" y="111"/>
                  </a:lnTo>
                  <a:lnTo>
                    <a:pt x="220" y="116"/>
                  </a:lnTo>
                  <a:lnTo>
                    <a:pt x="227" y="122"/>
                  </a:lnTo>
                  <a:lnTo>
                    <a:pt x="231" y="126"/>
                  </a:lnTo>
                  <a:lnTo>
                    <a:pt x="238" y="132"/>
                  </a:lnTo>
                  <a:lnTo>
                    <a:pt x="239" y="134"/>
                  </a:lnTo>
                  <a:lnTo>
                    <a:pt x="240" y="134"/>
                  </a:lnTo>
                  <a:lnTo>
                    <a:pt x="240" y="135"/>
                  </a:lnTo>
                  <a:lnTo>
                    <a:pt x="240" y="137"/>
                  </a:lnTo>
                  <a:lnTo>
                    <a:pt x="239" y="137"/>
                  </a:lnTo>
                  <a:lnTo>
                    <a:pt x="239" y="139"/>
                  </a:lnTo>
                  <a:lnTo>
                    <a:pt x="236" y="143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49"/>
                  </a:lnTo>
                  <a:lnTo>
                    <a:pt x="234" y="150"/>
                  </a:lnTo>
                  <a:lnTo>
                    <a:pt x="234" y="152"/>
                  </a:lnTo>
                  <a:lnTo>
                    <a:pt x="236" y="154"/>
                  </a:lnTo>
                  <a:lnTo>
                    <a:pt x="238" y="157"/>
                  </a:lnTo>
                  <a:lnTo>
                    <a:pt x="240" y="159"/>
                  </a:lnTo>
                  <a:lnTo>
                    <a:pt x="243" y="162"/>
                  </a:lnTo>
                  <a:lnTo>
                    <a:pt x="246" y="163"/>
                  </a:lnTo>
                  <a:lnTo>
                    <a:pt x="254" y="166"/>
                  </a:lnTo>
                  <a:lnTo>
                    <a:pt x="257" y="167"/>
                  </a:lnTo>
                  <a:lnTo>
                    <a:pt x="259" y="169"/>
                  </a:lnTo>
                  <a:lnTo>
                    <a:pt x="264" y="172"/>
                  </a:lnTo>
                  <a:lnTo>
                    <a:pt x="265" y="173"/>
                  </a:lnTo>
                  <a:lnTo>
                    <a:pt x="266" y="173"/>
                  </a:lnTo>
                  <a:lnTo>
                    <a:pt x="265" y="174"/>
                  </a:lnTo>
                  <a:lnTo>
                    <a:pt x="263" y="177"/>
                  </a:lnTo>
                  <a:lnTo>
                    <a:pt x="259" y="184"/>
                  </a:lnTo>
                  <a:lnTo>
                    <a:pt x="255" y="189"/>
                  </a:lnTo>
                  <a:lnTo>
                    <a:pt x="253" y="194"/>
                  </a:lnTo>
                  <a:lnTo>
                    <a:pt x="250" y="199"/>
                  </a:lnTo>
                  <a:lnTo>
                    <a:pt x="249" y="203"/>
                  </a:lnTo>
                  <a:lnTo>
                    <a:pt x="248" y="207"/>
                  </a:lnTo>
                  <a:lnTo>
                    <a:pt x="247" y="211"/>
                  </a:lnTo>
                  <a:lnTo>
                    <a:pt x="247" y="217"/>
                  </a:lnTo>
                  <a:lnTo>
                    <a:pt x="246" y="219"/>
                  </a:lnTo>
                  <a:lnTo>
                    <a:pt x="245" y="220"/>
                  </a:lnTo>
                  <a:lnTo>
                    <a:pt x="244" y="224"/>
                  </a:lnTo>
                  <a:lnTo>
                    <a:pt x="242" y="227"/>
                  </a:lnTo>
                  <a:lnTo>
                    <a:pt x="239" y="231"/>
                  </a:lnTo>
                  <a:lnTo>
                    <a:pt x="237" y="234"/>
                  </a:lnTo>
                  <a:lnTo>
                    <a:pt x="232" y="238"/>
                  </a:lnTo>
                  <a:lnTo>
                    <a:pt x="227" y="242"/>
                  </a:lnTo>
                  <a:lnTo>
                    <a:pt x="224" y="244"/>
                  </a:lnTo>
                  <a:lnTo>
                    <a:pt x="216" y="249"/>
                  </a:lnTo>
                  <a:lnTo>
                    <a:pt x="213" y="251"/>
                  </a:lnTo>
                  <a:lnTo>
                    <a:pt x="207" y="256"/>
                  </a:lnTo>
                  <a:lnTo>
                    <a:pt x="206" y="257"/>
                  </a:lnTo>
                  <a:lnTo>
                    <a:pt x="204" y="257"/>
                  </a:lnTo>
                  <a:lnTo>
                    <a:pt x="202" y="259"/>
                  </a:lnTo>
                  <a:lnTo>
                    <a:pt x="195" y="261"/>
                  </a:lnTo>
                  <a:lnTo>
                    <a:pt x="189" y="263"/>
                  </a:lnTo>
                  <a:lnTo>
                    <a:pt x="187" y="264"/>
                  </a:lnTo>
                  <a:lnTo>
                    <a:pt x="184" y="264"/>
                  </a:lnTo>
                  <a:lnTo>
                    <a:pt x="182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4"/>
                  </a:lnTo>
                  <a:lnTo>
                    <a:pt x="173" y="264"/>
                  </a:lnTo>
                  <a:lnTo>
                    <a:pt x="170" y="262"/>
                  </a:lnTo>
                  <a:lnTo>
                    <a:pt x="167" y="260"/>
                  </a:lnTo>
                  <a:lnTo>
                    <a:pt x="164" y="257"/>
                  </a:lnTo>
                  <a:lnTo>
                    <a:pt x="156" y="249"/>
                  </a:lnTo>
                  <a:lnTo>
                    <a:pt x="153" y="245"/>
                  </a:lnTo>
                  <a:lnTo>
                    <a:pt x="150" y="242"/>
                  </a:lnTo>
                  <a:lnTo>
                    <a:pt x="146" y="239"/>
                  </a:lnTo>
                  <a:lnTo>
                    <a:pt x="143" y="238"/>
                  </a:lnTo>
                  <a:lnTo>
                    <a:pt x="140" y="237"/>
                  </a:lnTo>
                  <a:lnTo>
                    <a:pt x="136" y="235"/>
                  </a:lnTo>
                  <a:lnTo>
                    <a:pt x="127" y="233"/>
                  </a:lnTo>
                  <a:lnTo>
                    <a:pt x="124" y="232"/>
                  </a:lnTo>
                  <a:lnTo>
                    <a:pt x="122" y="230"/>
                  </a:lnTo>
                  <a:lnTo>
                    <a:pt x="120" y="229"/>
                  </a:lnTo>
                  <a:lnTo>
                    <a:pt x="119" y="228"/>
                  </a:lnTo>
                  <a:lnTo>
                    <a:pt x="117" y="227"/>
                  </a:lnTo>
                  <a:lnTo>
                    <a:pt x="117" y="224"/>
                  </a:lnTo>
                  <a:lnTo>
                    <a:pt x="116" y="222"/>
                  </a:lnTo>
                  <a:lnTo>
                    <a:pt x="116" y="220"/>
                  </a:lnTo>
                  <a:lnTo>
                    <a:pt x="116" y="219"/>
                  </a:lnTo>
                  <a:lnTo>
                    <a:pt x="117" y="217"/>
                  </a:lnTo>
                  <a:lnTo>
                    <a:pt x="117" y="216"/>
                  </a:lnTo>
                  <a:lnTo>
                    <a:pt x="121" y="212"/>
                  </a:lnTo>
                  <a:lnTo>
                    <a:pt x="122" y="210"/>
                  </a:lnTo>
                  <a:lnTo>
                    <a:pt x="124" y="209"/>
                  </a:lnTo>
                  <a:lnTo>
                    <a:pt x="125" y="207"/>
                  </a:lnTo>
                  <a:lnTo>
                    <a:pt x="125" y="204"/>
                  </a:lnTo>
                  <a:lnTo>
                    <a:pt x="126" y="202"/>
                  </a:lnTo>
                  <a:lnTo>
                    <a:pt x="127" y="199"/>
                  </a:lnTo>
                  <a:lnTo>
                    <a:pt x="127" y="197"/>
                  </a:lnTo>
                  <a:lnTo>
                    <a:pt x="127" y="194"/>
                  </a:lnTo>
                  <a:lnTo>
                    <a:pt x="127" y="191"/>
                  </a:lnTo>
                  <a:lnTo>
                    <a:pt x="126" y="189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3" y="184"/>
                  </a:lnTo>
                  <a:lnTo>
                    <a:pt x="122" y="182"/>
                  </a:lnTo>
                  <a:lnTo>
                    <a:pt x="120" y="180"/>
                  </a:lnTo>
                  <a:lnTo>
                    <a:pt x="112" y="174"/>
                  </a:lnTo>
                  <a:lnTo>
                    <a:pt x="108" y="173"/>
                  </a:lnTo>
                  <a:lnTo>
                    <a:pt x="107" y="172"/>
                  </a:lnTo>
                  <a:lnTo>
                    <a:pt x="105" y="172"/>
                  </a:lnTo>
                  <a:lnTo>
                    <a:pt x="102" y="171"/>
                  </a:lnTo>
                  <a:lnTo>
                    <a:pt x="100" y="171"/>
                  </a:lnTo>
                  <a:lnTo>
                    <a:pt x="95" y="171"/>
                  </a:lnTo>
                  <a:lnTo>
                    <a:pt x="92" y="171"/>
                  </a:lnTo>
                  <a:lnTo>
                    <a:pt x="90" y="172"/>
                  </a:lnTo>
                  <a:lnTo>
                    <a:pt x="80" y="174"/>
                  </a:lnTo>
                  <a:lnTo>
                    <a:pt x="76" y="174"/>
                  </a:lnTo>
                  <a:lnTo>
                    <a:pt x="70" y="175"/>
                  </a:lnTo>
                  <a:lnTo>
                    <a:pt x="60" y="176"/>
                  </a:lnTo>
                  <a:lnTo>
                    <a:pt x="53" y="176"/>
                  </a:lnTo>
                  <a:lnTo>
                    <a:pt x="49" y="176"/>
                  </a:lnTo>
                  <a:lnTo>
                    <a:pt x="45" y="175"/>
                  </a:lnTo>
                  <a:lnTo>
                    <a:pt x="40" y="174"/>
                  </a:lnTo>
                  <a:lnTo>
                    <a:pt x="35" y="172"/>
                  </a:lnTo>
                  <a:lnTo>
                    <a:pt x="33" y="172"/>
                  </a:lnTo>
                  <a:lnTo>
                    <a:pt x="32" y="171"/>
                  </a:lnTo>
                  <a:lnTo>
                    <a:pt x="30" y="169"/>
                  </a:lnTo>
                  <a:lnTo>
                    <a:pt x="29" y="168"/>
                  </a:lnTo>
                  <a:lnTo>
                    <a:pt x="27" y="167"/>
                  </a:lnTo>
                  <a:lnTo>
                    <a:pt x="26" y="165"/>
                  </a:lnTo>
                  <a:lnTo>
                    <a:pt x="25" y="163"/>
                  </a:lnTo>
                  <a:lnTo>
                    <a:pt x="24" y="162"/>
                  </a:lnTo>
                  <a:lnTo>
                    <a:pt x="23" y="160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1" y="154"/>
                  </a:lnTo>
                  <a:lnTo>
                    <a:pt x="21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0" y="147"/>
                  </a:lnTo>
                  <a:lnTo>
                    <a:pt x="20" y="141"/>
                  </a:lnTo>
                  <a:lnTo>
                    <a:pt x="20" y="136"/>
                  </a:lnTo>
                  <a:lnTo>
                    <a:pt x="20" y="125"/>
                  </a:lnTo>
                  <a:lnTo>
                    <a:pt x="20" y="121"/>
                  </a:lnTo>
                  <a:lnTo>
                    <a:pt x="20" y="114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5" y="100"/>
                  </a:lnTo>
                  <a:lnTo>
                    <a:pt x="14" y="97"/>
                  </a:lnTo>
                  <a:lnTo>
                    <a:pt x="12" y="95"/>
                  </a:lnTo>
                  <a:lnTo>
                    <a:pt x="12" y="92"/>
                  </a:lnTo>
                  <a:lnTo>
                    <a:pt x="11" y="90"/>
                  </a:lnTo>
                  <a:lnTo>
                    <a:pt x="10" y="87"/>
                  </a:lnTo>
                  <a:lnTo>
                    <a:pt x="10" y="84"/>
                  </a:lnTo>
                  <a:lnTo>
                    <a:pt x="10" y="72"/>
                  </a:lnTo>
                  <a:lnTo>
                    <a:pt x="9" y="68"/>
                  </a:lnTo>
                  <a:lnTo>
                    <a:pt x="8" y="65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5" y="57"/>
                  </a:lnTo>
                  <a:lnTo>
                    <a:pt x="1" y="52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1" y="37"/>
                  </a:lnTo>
                  <a:lnTo>
                    <a:pt x="2" y="34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22" y="28"/>
                  </a:lnTo>
                  <a:lnTo>
                    <a:pt x="25" y="29"/>
                  </a:lnTo>
                  <a:lnTo>
                    <a:pt x="33" y="34"/>
                  </a:lnTo>
                  <a:lnTo>
                    <a:pt x="41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5" y="40"/>
                  </a:lnTo>
                  <a:lnTo>
                    <a:pt x="59" y="41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5" y="40"/>
                  </a:lnTo>
                  <a:lnTo>
                    <a:pt x="67" y="38"/>
                  </a:lnTo>
                  <a:lnTo>
                    <a:pt x="69" y="36"/>
                  </a:lnTo>
                  <a:lnTo>
                    <a:pt x="71" y="34"/>
                  </a:lnTo>
                  <a:lnTo>
                    <a:pt x="72" y="32"/>
                  </a:lnTo>
                  <a:lnTo>
                    <a:pt x="74" y="30"/>
                  </a:lnTo>
                  <a:lnTo>
                    <a:pt x="77" y="22"/>
                  </a:lnTo>
                  <a:lnTo>
                    <a:pt x="80" y="19"/>
                  </a:lnTo>
                  <a:lnTo>
                    <a:pt x="81" y="17"/>
                  </a:lnTo>
                  <a:lnTo>
                    <a:pt x="83" y="15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7" y="7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07">
              <a:extLst>
                <a:ext uri="{FF2B5EF4-FFF2-40B4-BE49-F238E27FC236}">
                  <a16:creationId xmlns:a16="http://schemas.microsoft.com/office/drawing/2014/main" id="{C1226D59-E9FF-D30F-B560-8FFACFB82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08">
              <a:extLst>
                <a:ext uri="{FF2B5EF4-FFF2-40B4-BE49-F238E27FC236}">
                  <a16:creationId xmlns:a16="http://schemas.microsoft.com/office/drawing/2014/main" id="{9BA27792-864D-43D2-5106-A1FAACDBF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solidFill>
              <a:srgbClr val="FFCC2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10">
              <a:extLst>
                <a:ext uri="{FF2B5EF4-FFF2-40B4-BE49-F238E27FC236}">
                  <a16:creationId xmlns:a16="http://schemas.microsoft.com/office/drawing/2014/main" id="{2E9CB3F6-FB0B-AEBB-5D83-25E818D5D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solidFill>
              <a:srgbClr val="E6AF00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Rectangle 191">
              <a:extLst>
                <a:ext uri="{FF2B5EF4-FFF2-40B4-BE49-F238E27FC236}">
                  <a16:creationId xmlns:a16="http://schemas.microsoft.com/office/drawing/2014/main" id="{91674B07-FA7F-DA9F-32AC-C5306CF99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3325" y="1911613"/>
              <a:ext cx="169436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</a:p>
          </p:txBody>
        </p:sp>
        <p:sp>
          <p:nvSpPr>
            <p:cNvPr id="136" name="Rectangle 207">
              <a:extLst>
                <a:ext uri="{FF2B5EF4-FFF2-40B4-BE49-F238E27FC236}">
                  <a16:creationId xmlns:a16="http://schemas.microsoft.com/office/drawing/2014/main" id="{5C8A5B65-55D0-2876-6E5B-514C886B9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7844" y="793273"/>
              <a:ext cx="224550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C</a:t>
              </a:r>
            </a:p>
          </p:txBody>
        </p:sp>
        <p:sp>
          <p:nvSpPr>
            <p:cNvPr id="137" name="Rectangle 210">
              <a:extLst>
                <a:ext uri="{FF2B5EF4-FFF2-40B4-BE49-F238E27FC236}">
                  <a16:creationId xmlns:a16="http://schemas.microsoft.com/office/drawing/2014/main" id="{E485B9E4-A7C2-391B-2911-AA5118BEE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8998" y="512088"/>
              <a:ext cx="163386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S</a:t>
              </a:r>
            </a:p>
          </p:txBody>
        </p:sp>
        <p:sp>
          <p:nvSpPr>
            <p:cNvPr id="138" name="Rectangle 218">
              <a:extLst>
                <a:ext uri="{FF2B5EF4-FFF2-40B4-BE49-F238E27FC236}">
                  <a16:creationId xmlns:a16="http://schemas.microsoft.com/office/drawing/2014/main" id="{F1FB250D-B733-5CF2-FE49-009EDDCEB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029" y="1281153"/>
              <a:ext cx="139181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J</a:t>
              </a:r>
            </a:p>
          </p:txBody>
        </p:sp>
        <p:sp>
          <p:nvSpPr>
            <p:cNvPr id="139" name="Rectangle 225">
              <a:extLst>
                <a:ext uri="{FF2B5EF4-FFF2-40B4-BE49-F238E27FC236}">
                  <a16:creationId xmlns:a16="http://schemas.microsoft.com/office/drawing/2014/main" id="{B7900874-4DD9-E740-5CD3-A46023530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346" y="1428412"/>
              <a:ext cx="209778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</a:t>
              </a:r>
            </a:p>
          </p:txBody>
        </p:sp>
        <p:sp>
          <p:nvSpPr>
            <p:cNvPr id="140" name="Rectangle 249">
              <a:extLst>
                <a:ext uri="{FF2B5EF4-FFF2-40B4-BE49-F238E27FC236}">
                  <a16:creationId xmlns:a16="http://schemas.microsoft.com/office/drawing/2014/main" id="{59C66565-2F37-15AA-05DA-13208ECD4F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603" y="703241"/>
              <a:ext cx="199693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</a:t>
              </a:r>
            </a:p>
          </p:txBody>
        </p:sp>
        <p:sp>
          <p:nvSpPr>
            <p:cNvPr id="141" name="Rectangle 264">
              <a:extLst>
                <a:ext uri="{FF2B5EF4-FFF2-40B4-BE49-F238E27FC236}">
                  <a16:creationId xmlns:a16="http://schemas.microsoft.com/office/drawing/2014/main" id="{2F0A6C57-01A8-0717-F1E3-FCAC3AA9DC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2192" y="894448"/>
              <a:ext cx="227933" cy="19364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482838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6A351A3-F0AE-0353-7E25-87EF4559B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ersonální zázemí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2543925-3314-FC7D-5A63-1A33CD0F4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369816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CADF3372-CD1A-70F7-5C31-C36FC27AAAE9}"/>
              </a:ext>
            </a:extLst>
          </p:cNvPr>
          <p:cNvGraphicFramePr>
            <a:graphicFrameLocks noGrp="1"/>
          </p:cNvGraphicFramePr>
          <p:nvPr/>
        </p:nvGraphicFramePr>
        <p:xfrm>
          <a:off x="4513572" y="1718079"/>
          <a:ext cx="7496482" cy="4450630"/>
        </p:xfrm>
        <a:graphic>
          <a:graphicData uri="http://schemas.openxmlformats.org/drawingml/2006/table">
            <a:tbl>
              <a:tblPr/>
              <a:tblGrid>
                <a:gridCol w="535463">
                  <a:extLst>
                    <a:ext uri="{9D8B030D-6E8A-4147-A177-3AD203B41FA5}">
                      <a16:colId xmlns:a16="http://schemas.microsoft.com/office/drawing/2014/main" val="167872376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330297458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80922363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62889229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223718987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172153319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805509027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06921206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037917762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98027969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794820961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766038060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239481182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084537212"/>
                    </a:ext>
                  </a:extLst>
                </a:gridCol>
              </a:tblGrid>
              <a:tr h="55504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9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1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7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A9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9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5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C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508011"/>
                  </a:ext>
                </a:extLst>
              </a:tr>
              <a:tr h="52214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A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FA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2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0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4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7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575763"/>
                  </a:ext>
                </a:extLst>
              </a:tr>
              <a:tr h="57171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B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5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E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2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180315"/>
                  </a:ext>
                </a:extLst>
              </a:tr>
              <a:tr h="5302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E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D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4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1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AE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C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A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B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2655"/>
                  </a:ext>
                </a:extLst>
              </a:tr>
              <a:tr h="53794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A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CE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5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495063"/>
                  </a:ext>
                </a:extLst>
              </a:tr>
              <a:tr h="53838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8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6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D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F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183437"/>
                  </a:ext>
                </a:extLst>
              </a:tr>
              <a:tr h="64093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1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356670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1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6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D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7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B7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1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B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101031"/>
                  </a:ext>
                </a:extLst>
              </a:tr>
            </a:tbl>
          </a:graphicData>
        </a:graphic>
      </p:graphicFrame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D3A2A5A0-EFF4-4CB0-7681-08B004A795A0}"/>
              </a:ext>
            </a:extLst>
          </p:cNvPr>
          <p:cNvGraphicFramePr>
            <a:graphicFrameLocks noGrp="1"/>
          </p:cNvGraphicFramePr>
          <p:nvPr/>
        </p:nvGraphicFramePr>
        <p:xfrm>
          <a:off x="4513572" y="2274033"/>
          <a:ext cx="7496482" cy="524382"/>
        </p:xfrm>
        <a:graphic>
          <a:graphicData uri="http://schemas.openxmlformats.org/drawingml/2006/table">
            <a:tbl>
              <a:tblPr/>
              <a:tblGrid>
                <a:gridCol w="535463">
                  <a:extLst>
                    <a:ext uri="{9D8B030D-6E8A-4147-A177-3AD203B41FA5}">
                      <a16:colId xmlns:a16="http://schemas.microsoft.com/office/drawing/2014/main" val="4005109670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67762351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76238390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330973756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674395941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699918809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648352422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914481934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1469843253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2337100771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550349847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18344380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947210145"/>
                    </a:ext>
                  </a:extLst>
                </a:gridCol>
                <a:gridCol w="535463">
                  <a:extLst>
                    <a:ext uri="{9D8B030D-6E8A-4147-A177-3AD203B41FA5}">
                      <a16:colId xmlns:a16="http://schemas.microsoft.com/office/drawing/2014/main" val="3959232459"/>
                    </a:ext>
                  </a:extLst>
                </a:gridCol>
              </a:tblGrid>
              <a:tr h="52438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93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9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0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8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C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E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3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C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3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7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363004"/>
                  </a:ext>
                </a:extLst>
              </a:tr>
            </a:tbl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58FBBCDA-2D4A-6FFB-62E0-45D104EED5F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3554" y="80484"/>
            <a:ext cx="11724892" cy="59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Lékaři a NLZP v krajích - úvazky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99CF626E-8367-0E78-194E-834DAE42B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624" y="626136"/>
            <a:ext cx="80008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RHZS, stav k 31.12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3EE3D88B-F633-F54B-29F9-C2C71FC158C4}"/>
              </a:ext>
            </a:extLst>
          </p:cNvPr>
          <p:cNvGraphicFramePr>
            <a:graphicFrameLocks noGrp="1"/>
          </p:cNvGraphicFramePr>
          <p:nvPr/>
        </p:nvGraphicFramePr>
        <p:xfrm>
          <a:off x="272591" y="1178731"/>
          <a:ext cx="11728917" cy="4981432"/>
        </p:xfrm>
        <a:graphic>
          <a:graphicData uri="http://schemas.openxmlformats.org/drawingml/2006/table">
            <a:tbl>
              <a:tblPr firstRow="1" firstCol="1" bandRow="1"/>
              <a:tblGrid>
                <a:gridCol w="806918">
                  <a:extLst>
                    <a:ext uri="{9D8B030D-6E8A-4147-A177-3AD203B41FA5}">
                      <a16:colId xmlns:a16="http://schemas.microsoft.com/office/drawing/2014/main" val="495827061"/>
                    </a:ext>
                  </a:extLst>
                </a:gridCol>
                <a:gridCol w="1013514">
                  <a:extLst>
                    <a:ext uri="{9D8B030D-6E8A-4147-A177-3AD203B41FA5}">
                      <a16:colId xmlns:a16="http://schemas.microsoft.com/office/drawing/2014/main" val="749349511"/>
                    </a:ext>
                  </a:extLst>
                </a:gridCol>
                <a:gridCol w="1777071">
                  <a:extLst>
                    <a:ext uri="{9D8B030D-6E8A-4147-A177-3AD203B41FA5}">
                      <a16:colId xmlns:a16="http://schemas.microsoft.com/office/drawing/2014/main" val="1651027947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33243602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150051128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1357577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80049183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71277245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1918873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363692602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151791323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832606109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6916441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0798344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28784555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412107587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923089797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634072791"/>
                    </a:ext>
                  </a:extLst>
                </a:gridCol>
              </a:tblGrid>
              <a:tr h="5426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izace / 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381165"/>
                  </a:ext>
                </a:extLst>
              </a:tr>
              <a:tr h="54266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nická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5.9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9.7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5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.0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.1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0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3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8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6.9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0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.1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2.1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9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251588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ační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26.0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4.6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.0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.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6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.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2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.7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4.5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1745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stavbová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onkologie a hemat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.2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7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3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1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9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9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451350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chirur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97.78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3.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1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0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.7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8.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6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5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.6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4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4004220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gynek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9.0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3.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1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.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4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2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.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1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95901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ur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0.31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.0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4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3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2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498294"/>
                  </a:ext>
                </a:extLst>
              </a:tr>
              <a:tr h="62452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LZP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šetřovatelská péče v onkologii a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matoonkologi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3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.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9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41746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borná způsobilos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ologický asisten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229.2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00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2.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8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1.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6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1.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9.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2.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5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8.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5.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6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6.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2.4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3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23.9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3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7.5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7.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7.6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4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2.48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(12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847917"/>
                  </a:ext>
                </a:extLst>
              </a:tr>
            </a:tbl>
          </a:graphicData>
        </a:graphic>
      </p:graphicFrame>
      <p:sp>
        <p:nvSpPr>
          <p:cNvPr id="17" name="Šipka: dolů 16">
            <a:extLst>
              <a:ext uri="{FF2B5EF4-FFF2-40B4-BE49-F238E27FC236}">
                <a16:creationId xmlns:a16="http://schemas.microsoft.com/office/drawing/2014/main" id="{06A0B367-BBDB-8AA7-6262-3C78BD6A2524}"/>
              </a:ext>
            </a:extLst>
          </p:cNvPr>
          <p:cNvSpPr/>
          <p:nvPr/>
        </p:nvSpPr>
        <p:spPr>
          <a:xfrm>
            <a:off x="6051626" y="371789"/>
            <a:ext cx="663191" cy="598157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01752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93AD21C-9ABE-0FC8-AAA4-B45B4AAD1C48}"/>
              </a:ext>
            </a:extLst>
          </p:cNvPr>
          <p:cNvGraphicFramePr>
            <a:graphicFrameLocks noGrp="1"/>
          </p:cNvGraphicFramePr>
          <p:nvPr/>
        </p:nvGraphicFramePr>
        <p:xfrm>
          <a:off x="3865548" y="1735233"/>
          <a:ext cx="8157600" cy="4450630"/>
        </p:xfrm>
        <a:graphic>
          <a:graphicData uri="http://schemas.openxmlformats.org/drawingml/2006/table">
            <a:tbl>
              <a:tblPr/>
              <a:tblGrid>
                <a:gridCol w="648000">
                  <a:extLst>
                    <a:ext uri="{9D8B030D-6E8A-4147-A177-3AD203B41FA5}">
                      <a16:colId xmlns:a16="http://schemas.microsoft.com/office/drawing/2014/main" val="1860784336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50152557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626120852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195742436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691332564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13030107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101979683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01708130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43156364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046989835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872785475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67822202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89711477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587761300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054494516"/>
                    </a:ext>
                  </a:extLst>
                </a:gridCol>
              </a:tblGrid>
              <a:tr h="54649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B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C5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745960"/>
                  </a:ext>
                </a:extLst>
              </a:tr>
              <a:tr h="52214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54332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609916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014452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319914"/>
                  </a:ext>
                </a:extLst>
              </a:tr>
              <a:tr h="51577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10072"/>
                  </a:ext>
                </a:extLst>
              </a:tr>
              <a:tr h="64948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03748"/>
                  </a:ext>
                </a:extLst>
              </a:tr>
              <a:tr h="55418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158531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0603E27-52AF-75C0-C76D-2154369DC087}"/>
              </a:ext>
            </a:extLst>
          </p:cNvPr>
          <p:cNvGraphicFramePr>
            <a:graphicFrameLocks noGrp="1"/>
          </p:cNvGraphicFramePr>
          <p:nvPr/>
        </p:nvGraphicFramePr>
        <p:xfrm>
          <a:off x="3865548" y="2276250"/>
          <a:ext cx="8157600" cy="525219"/>
        </p:xfrm>
        <a:graphic>
          <a:graphicData uri="http://schemas.openxmlformats.org/drawingml/2006/table">
            <a:tbl>
              <a:tblPr/>
              <a:tblGrid>
                <a:gridCol w="648000">
                  <a:extLst>
                    <a:ext uri="{9D8B030D-6E8A-4147-A177-3AD203B41FA5}">
                      <a16:colId xmlns:a16="http://schemas.microsoft.com/office/drawing/2014/main" val="275742781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33064740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657524758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48942763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163758129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471690127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806108450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13812240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579373214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912887267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001374501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4184006974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3663251946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130012877"/>
                    </a:ext>
                  </a:extLst>
                </a:gridCol>
                <a:gridCol w="536400">
                  <a:extLst>
                    <a:ext uri="{9D8B030D-6E8A-4147-A177-3AD203B41FA5}">
                      <a16:colId xmlns:a16="http://schemas.microsoft.com/office/drawing/2014/main" val="2862568238"/>
                    </a:ext>
                  </a:extLst>
                </a:gridCol>
              </a:tblGrid>
              <a:tr h="52521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826178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CAD0D6FB-EF59-2850-7615-F9086EE14624}"/>
              </a:ext>
            </a:extLst>
          </p:cNvPr>
          <p:cNvGraphicFramePr>
            <a:graphicFrameLocks noGrp="1"/>
          </p:cNvGraphicFramePr>
          <p:nvPr/>
        </p:nvGraphicFramePr>
        <p:xfrm>
          <a:off x="276284" y="1187339"/>
          <a:ext cx="11728917" cy="4981432"/>
        </p:xfrm>
        <a:graphic>
          <a:graphicData uri="http://schemas.openxmlformats.org/drawingml/2006/table">
            <a:tbl>
              <a:tblPr firstRow="1" firstCol="1" bandRow="1"/>
              <a:tblGrid>
                <a:gridCol w="806918">
                  <a:extLst>
                    <a:ext uri="{9D8B030D-6E8A-4147-A177-3AD203B41FA5}">
                      <a16:colId xmlns:a16="http://schemas.microsoft.com/office/drawing/2014/main" val="495827061"/>
                    </a:ext>
                  </a:extLst>
                </a:gridCol>
                <a:gridCol w="1013514">
                  <a:extLst>
                    <a:ext uri="{9D8B030D-6E8A-4147-A177-3AD203B41FA5}">
                      <a16:colId xmlns:a16="http://schemas.microsoft.com/office/drawing/2014/main" val="749349511"/>
                    </a:ext>
                  </a:extLst>
                </a:gridCol>
                <a:gridCol w="1777071">
                  <a:extLst>
                    <a:ext uri="{9D8B030D-6E8A-4147-A177-3AD203B41FA5}">
                      <a16:colId xmlns:a16="http://schemas.microsoft.com/office/drawing/2014/main" val="1651027947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33243602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150051128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13575772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80049183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71277245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1918873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363692602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151791323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832606109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6916441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3807983441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1287845555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4121075870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2923089797"/>
                    </a:ext>
                  </a:extLst>
                </a:gridCol>
                <a:gridCol w="534551">
                  <a:extLst>
                    <a:ext uri="{9D8B030D-6E8A-4147-A177-3AD203B41FA5}">
                      <a16:colId xmlns:a16="http://schemas.microsoft.com/office/drawing/2014/main" val="634072791"/>
                    </a:ext>
                  </a:extLst>
                </a:gridCol>
              </a:tblGrid>
              <a:tr h="5426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izace / povol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381165"/>
                  </a:ext>
                </a:extLst>
              </a:tr>
              <a:tr h="54266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nická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251588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ační onk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1745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stavbová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á onkologie a hematologi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451350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chirur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4004220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gynek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959014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kourolo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498294"/>
                  </a:ext>
                </a:extLst>
              </a:tr>
              <a:tr h="62452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LZP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specializace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šetřovatelská péče v onkologii a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matoonkologi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41746"/>
                  </a:ext>
                </a:extLst>
              </a:tr>
              <a:tr h="542669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borná způsobilos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ologický asisten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9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9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847917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7F9039F3-DA84-AE98-A869-0A196BE1C89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3554" y="80484"/>
            <a:ext cx="11724892" cy="59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Lékaři a NLZP v krajích – úvazky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a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100 000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ob</a:t>
            </a: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yvatel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kraje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493E8A0A-DC0E-48FE-9086-116F8D48DDC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624" y="626136"/>
            <a:ext cx="80008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RHZS, stav k 31.12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: dolů 9">
            <a:extLst>
              <a:ext uri="{FF2B5EF4-FFF2-40B4-BE49-F238E27FC236}">
                <a16:creationId xmlns:a16="http://schemas.microsoft.com/office/drawing/2014/main" id="{62AEDD88-49F9-8F45-B93E-A2C9D6212830}"/>
              </a:ext>
            </a:extLst>
          </p:cNvPr>
          <p:cNvSpPr/>
          <p:nvPr/>
        </p:nvSpPr>
        <p:spPr>
          <a:xfrm>
            <a:off x="6089639" y="626136"/>
            <a:ext cx="551712" cy="509669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502555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BCF402D4-EA85-A45F-253B-C4CA879C102C}"/>
              </a:ext>
            </a:extLst>
          </p:cNvPr>
          <p:cNvGraphicFramePr>
            <a:graphicFrameLocks noGrp="1"/>
          </p:cNvGraphicFramePr>
          <p:nvPr/>
        </p:nvGraphicFramePr>
        <p:xfrm>
          <a:off x="9530246" y="1231198"/>
          <a:ext cx="2403660" cy="5167335"/>
        </p:xfrm>
        <a:graphic>
          <a:graphicData uri="http://schemas.openxmlformats.org/drawingml/2006/table">
            <a:tbl>
              <a:tblPr/>
              <a:tblGrid>
                <a:gridCol w="801220">
                  <a:extLst>
                    <a:ext uri="{9D8B030D-6E8A-4147-A177-3AD203B41FA5}">
                      <a16:colId xmlns:a16="http://schemas.microsoft.com/office/drawing/2014/main" val="3619838673"/>
                    </a:ext>
                  </a:extLst>
                </a:gridCol>
                <a:gridCol w="801220">
                  <a:extLst>
                    <a:ext uri="{9D8B030D-6E8A-4147-A177-3AD203B41FA5}">
                      <a16:colId xmlns:a16="http://schemas.microsoft.com/office/drawing/2014/main" val="111838958"/>
                    </a:ext>
                  </a:extLst>
                </a:gridCol>
                <a:gridCol w="801220">
                  <a:extLst>
                    <a:ext uri="{9D8B030D-6E8A-4147-A177-3AD203B41FA5}">
                      <a16:colId xmlns:a16="http://schemas.microsoft.com/office/drawing/2014/main" val="110072555"/>
                    </a:ext>
                  </a:extLst>
                </a:gridCol>
              </a:tblGrid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5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76143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885860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816531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97635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345708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9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2818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5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49449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804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3225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63664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121574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39061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64780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637005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0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744817"/>
                  </a:ext>
                </a:extLst>
              </a:tr>
            </a:tbl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E21815B-4090-45B4-7270-8B2A16A19B1A}"/>
              </a:ext>
            </a:extLst>
          </p:cNvPr>
          <p:cNvGraphicFramePr>
            <a:graphicFrameLocks noGrp="1"/>
          </p:cNvGraphicFramePr>
          <p:nvPr/>
        </p:nvGraphicFramePr>
        <p:xfrm>
          <a:off x="2014818" y="1231198"/>
          <a:ext cx="5981697" cy="5167335"/>
        </p:xfrm>
        <a:graphic>
          <a:graphicData uri="http://schemas.openxmlformats.org/drawingml/2006/table">
            <a:tbl>
              <a:tblPr/>
              <a:tblGrid>
                <a:gridCol w="664633">
                  <a:extLst>
                    <a:ext uri="{9D8B030D-6E8A-4147-A177-3AD203B41FA5}">
                      <a16:colId xmlns:a16="http://schemas.microsoft.com/office/drawing/2014/main" val="3179539581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443916314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816850605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835242615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3004278847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95918774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185304742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418277487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420530687"/>
                    </a:ext>
                  </a:extLst>
                </a:gridCol>
              </a:tblGrid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6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4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8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6906350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AF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2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2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13481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C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936875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B9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7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96387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95A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149145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127058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C7B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245250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BF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FA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2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5735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027337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D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5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C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2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1448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F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7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C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7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BF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7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862803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514912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4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687536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C3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C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948061"/>
                  </a:ext>
                </a:extLst>
              </a:tr>
              <a:tr h="34448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6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4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A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8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395328"/>
                  </a:ext>
                </a:extLst>
              </a:tr>
            </a:tbl>
          </a:graphicData>
        </a:graphic>
      </p:graphicFrame>
      <p:sp>
        <p:nvSpPr>
          <p:cNvPr id="9" name="Nadpis 8"/>
          <p:cNvSpPr>
            <a:spLocks noGrp="1"/>
          </p:cNvSpPr>
          <p:nvPr>
            <p:ph type="title"/>
          </p:nvPr>
        </p:nvSpPr>
        <p:spPr>
          <a:xfrm>
            <a:off x="336046" y="137740"/>
            <a:ext cx="11144250" cy="569598"/>
          </a:xfrm>
        </p:spPr>
        <p:txBody>
          <a:bodyPr anchor="t">
            <a:no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Kliničtí onkologové aktivní v roce 2023 v krajích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D41D853E-92BF-8FFC-1326-15F3ADCDAB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8786" y="538272"/>
            <a:ext cx="11534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(FO) se specializací „</a:t>
            </a:r>
            <a:r>
              <a:rPr kumimoji="0" lang="pl-PL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nická onkologie”, </a:t>
            </a: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31. 12. 2023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9503032-9C07-0841-4B25-6FCCEAF99C38}"/>
              </a:ext>
            </a:extLst>
          </p:cNvPr>
          <p:cNvSpPr txBox="1"/>
          <p:nvPr/>
        </p:nvSpPr>
        <p:spPr>
          <a:xfrm>
            <a:off x="7695697" y="538262"/>
            <a:ext cx="43589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CE4E13B2-48C4-1090-8381-C3BE834006CE}"/>
              </a:ext>
            </a:extLst>
          </p:cNvPr>
          <p:cNvGraphicFramePr>
            <a:graphicFrameLocks noGrp="1"/>
          </p:cNvGraphicFramePr>
          <p:nvPr/>
        </p:nvGraphicFramePr>
        <p:xfrm>
          <a:off x="211189" y="851178"/>
          <a:ext cx="11722719" cy="5547360"/>
        </p:xfrm>
        <a:graphic>
          <a:graphicData uri="http://schemas.openxmlformats.org/drawingml/2006/table">
            <a:tbl>
              <a:tblPr/>
              <a:tblGrid>
                <a:gridCol w="1807591">
                  <a:extLst>
                    <a:ext uri="{9D8B030D-6E8A-4147-A177-3AD203B41FA5}">
                      <a16:colId xmlns:a16="http://schemas.microsoft.com/office/drawing/2014/main" val="10829752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4167713117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41485617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871980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221090573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3392192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98647785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876050304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697122086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8792858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377393309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423985762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297319247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1866027777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3044502103"/>
                    </a:ext>
                  </a:extLst>
                </a:gridCol>
              </a:tblGrid>
              <a:tr h="339708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a ví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03728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 (13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0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 (12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1 (15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 (1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0 (1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39671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3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033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23563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3874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578660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31003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10150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24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2728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77622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4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05093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10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 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1 (19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 (11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2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44764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5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4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62131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55870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7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48017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5 (1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0 (10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9 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2 (14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8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42396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75892B6E-22E0-77A8-FE24-351ED5721ECA}"/>
              </a:ext>
            </a:extLst>
          </p:cNvPr>
          <p:cNvSpPr/>
          <p:nvPr/>
        </p:nvSpPr>
        <p:spPr>
          <a:xfrm>
            <a:off x="212673" y="6421758"/>
            <a:ext cx="81865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ékař může pracovat ve více krajích, v celkovém počtu je zahrnut pouze jednou</a:t>
            </a:r>
          </a:p>
        </p:txBody>
      </p:sp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29AE5778-4C6C-968C-47CE-F02BF9BE88B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96515" y="1231193"/>
          <a:ext cx="770967" cy="5167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937366" imgH="2750977" progId="Excel.Sheet.12">
                  <p:embed/>
                </p:oleObj>
              </mc:Choice>
              <mc:Fallback>
                <p:oleObj name="Worksheet" r:id="rId3" imgW="937366" imgH="2750977" progId="Excel.Sheet.12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29AE5778-4C6C-968C-47CE-F02BF9BE8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96515" y="1231193"/>
                        <a:ext cx="770967" cy="51673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Šipka: dolů 3">
            <a:extLst>
              <a:ext uri="{FF2B5EF4-FFF2-40B4-BE49-F238E27FC236}">
                <a16:creationId xmlns:a16="http://schemas.microsoft.com/office/drawing/2014/main" id="{6978AAFC-2FBF-6A33-32C9-97D5DE8A4A02}"/>
              </a:ext>
            </a:extLst>
          </p:cNvPr>
          <p:cNvSpPr/>
          <p:nvPr/>
        </p:nvSpPr>
        <p:spPr>
          <a:xfrm rot="16200000">
            <a:off x="-120406" y="2241166"/>
            <a:ext cx="663191" cy="368498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98944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1DCA2846-1713-B942-B247-0DABCC7B641A}"/>
              </a:ext>
            </a:extLst>
          </p:cNvPr>
          <p:cNvGraphicFramePr>
            <a:graphicFrameLocks noGrp="1"/>
          </p:cNvGraphicFramePr>
          <p:nvPr/>
        </p:nvGraphicFramePr>
        <p:xfrm>
          <a:off x="2023780" y="1224768"/>
          <a:ext cx="5981697" cy="5173770"/>
        </p:xfrm>
        <a:graphic>
          <a:graphicData uri="http://schemas.openxmlformats.org/drawingml/2006/table">
            <a:tbl>
              <a:tblPr/>
              <a:tblGrid>
                <a:gridCol w="664633">
                  <a:extLst>
                    <a:ext uri="{9D8B030D-6E8A-4147-A177-3AD203B41FA5}">
                      <a16:colId xmlns:a16="http://schemas.microsoft.com/office/drawing/2014/main" val="3736167256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94183748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367909235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750743479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284351908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2980805843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561333533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3383719136"/>
                    </a:ext>
                  </a:extLst>
                </a:gridCol>
                <a:gridCol w="664633">
                  <a:extLst>
                    <a:ext uri="{9D8B030D-6E8A-4147-A177-3AD203B41FA5}">
                      <a16:colId xmlns:a16="http://schemas.microsoft.com/office/drawing/2014/main" val="1145637213"/>
                    </a:ext>
                  </a:extLst>
                </a:gridCol>
              </a:tblGrid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6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F3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BA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CC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BF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C3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1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0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566484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91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BD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28195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D7B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9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91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304882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1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A2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8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B9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287043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3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A7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77191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2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2007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93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93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13322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B0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0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352255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9C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B5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7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C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709361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CB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68CA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A1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B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B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B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18859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C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C4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C4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9C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9C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C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8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56437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C7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88E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88E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50187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93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854970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B6F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7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258172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A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B0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CA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C0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C8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3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5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9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641641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2DD6CAB1-5CA2-2FE5-A91E-B783624D2146}"/>
              </a:ext>
            </a:extLst>
          </p:cNvPr>
          <p:cNvGraphicFramePr>
            <a:graphicFrameLocks noGrp="1"/>
          </p:cNvGraphicFramePr>
          <p:nvPr/>
        </p:nvGraphicFramePr>
        <p:xfrm>
          <a:off x="9538446" y="1224768"/>
          <a:ext cx="2395461" cy="5173770"/>
        </p:xfrm>
        <a:graphic>
          <a:graphicData uri="http://schemas.openxmlformats.org/drawingml/2006/table">
            <a:tbl>
              <a:tblPr/>
              <a:tblGrid>
                <a:gridCol w="798487">
                  <a:extLst>
                    <a:ext uri="{9D8B030D-6E8A-4147-A177-3AD203B41FA5}">
                      <a16:colId xmlns:a16="http://schemas.microsoft.com/office/drawing/2014/main" val="1128341491"/>
                    </a:ext>
                  </a:extLst>
                </a:gridCol>
                <a:gridCol w="798487">
                  <a:extLst>
                    <a:ext uri="{9D8B030D-6E8A-4147-A177-3AD203B41FA5}">
                      <a16:colId xmlns:a16="http://schemas.microsoft.com/office/drawing/2014/main" val="3580178744"/>
                    </a:ext>
                  </a:extLst>
                </a:gridCol>
                <a:gridCol w="798487">
                  <a:extLst>
                    <a:ext uri="{9D8B030D-6E8A-4147-A177-3AD203B41FA5}">
                      <a16:colId xmlns:a16="http://schemas.microsoft.com/office/drawing/2014/main" val="798403405"/>
                    </a:ext>
                  </a:extLst>
                </a:gridCol>
              </a:tblGrid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814875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55748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3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3614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687510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951344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62031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379410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41941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665417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8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38928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910649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876888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13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938046"/>
                  </a:ext>
                </a:extLst>
              </a:tr>
              <a:tr h="344918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286665"/>
                  </a:ext>
                </a:extLst>
              </a:tr>
            </a:tbl>
          </a:graphicData>
        </a:graphic>
      </p:graphicFrame>
      <p:sp>
        <p:nvSpPr>
          <p:cNvPr id="9" name="Nadpis 8"/>
          <p:cNvSpPr>
            <a:spLocks noGrp="1"/>
          </p:cNvSpPr>
          <p:nvPr>
            <p:ph type="title"/>
          </p:nvPr>
        </p:nvSpPr>
        <p:spPr>
          <a:xfrm>
            <a:off x="336046" y="137740"/>
            <a:ext cx="11144250" cy="569598"/>
          </a:xfrm>
        </p:spPr>
        <p:txBody>
          <a:bodyPr anchor="t">
            <a:no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Radiační onkologové aktivní v roce 2023 v krajích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D41D853E-92BF-8FFC-1326-15F3ADCDAB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8786" y="538272"/>
            <a:ext cx="11534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(FO) se specializací „</a:t>
            </a: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ia</a:t>
            </a: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ní</a:t>
            </a:r>
            <a:r>
              <a:rPr kumimoji="0" lang="pl-PL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kologie”, </a:t>
            </a:r>
            <a:r>
              <a:rPr kumimoji="0" lang="cs-CZ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31. 12. 2023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9503032-9C07-0841-4B25-6FCCEAF99C38}"/>
              </a:ext>
            </a:extLst>
          </p:cNvPr>
          <p:cNvSpPr txBox="1"/>
          <p:nvPr/>
        </p:nvSpPr>
        <p:spPr>
          <a:xfrm>
            <a:off x="7781758" y="484305"/>
            <a:ext cx="42729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CE4E13B2-48C4-1090-8381-C3BE834006CE}"/>
              </a:ext>
            </a:extLst>
          </p:cNvPr>
          <p:cNvGraphicFramePr>
            <a:graphicFrameLocks noGrp="1"/>
          </p:cNvGraphicFramePr>
          <p:nvPr/>
        </p:nvGraphicFramePr>
        <p:xfrm>
          <a:off x="211189" y="851178"/>
          <a:ext cx="11722719" cy="5547360"/>
        </p:xfrm>
        <a:graphic>
          <a:graphicData uri="http://schemas.openxmlformats.org/drawingml/2006/table">
            <a:tbl>
              <a:tblPr/>
              <a:tblGrid>
                <a:gridCol w="1807591">
                  <a:extLst>
                    <a:ext uri="{9D8B030D-6E8A-4147-A177-3AD203B41FA5}">
                      <a16:colId xmlns:a16="http://schemas.microsoft.com/office/drawing/2014/main" val="10829752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4167713117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41485617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8719807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2210905730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33921921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998647785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876050304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697122086"/>
                    </a:ext>
                  </a:extLst>
                </a:gridCol>
                <a:gridCol w="664515">
                  <a:extLst>
                    <a:ext uri="{9D8B030D-6E8A-4147-A177-3AD203B41FA5}">
                      <a16:colId xmlns:a16="http://schemas.microsoft.com/office/drawing/2014/main" val="328792858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3773933097"/>
                    </a:ext>
                  </a:extLst>
                </a:gridCol>
                <a:gridCol w="764194">
                  <a:extLst>
                    <a:ext uri="{9D8B030D-6E8A-4147-A177-3AD203B41FA5}">
                      <a16:colId xmlns:a16="http://schemas.microsoft.com/office/drawing/2014/main" val="423985762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2973192470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1866027777"/>
                    </a:ext>
                  </a:extLst>
                </a:gridCol>
                <a:gridCol w="802035">
                  <a:extLst>
                    <a:ext uri="{9D8B030D-6E8A-4147-A177-3AD203B41FA5}">
                      <a16:colId xmlns:a16="http://schemas.microsoft.com/office/drawing/2014/main" val="3044502103"/>
                    </a:ext>
                  </a:extLst>
                </a:gridCol>
              </a:tblGrid>
              <a:tr h="339708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a ví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vě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a více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03728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 (17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 (13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5 (1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 (15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12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439671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(16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033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3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23563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3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7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3874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1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2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578660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5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31003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10150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 (4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8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2728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77622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05093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 (28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3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44764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62131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8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28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55870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0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7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48017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3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7 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,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4 (19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3 (13,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1 (15,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 (14,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3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,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4 (10,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1</a:t>
                      </a:r>
                    </a:p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9,7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42396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75892B6E-22E0-77A8-FE24-351ED5721ECA}"/>
              </a:ext>
            </a:extLst>
          </p:cNvPr>
          <p:cNvSpPr/>
          <p:nvPr/>
        </p:nvSpPr>
        <p:spPr>
          <a:xfrm>
            <a:off x="212673" y="6421758"/>
            <a:ext cx="81865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ékař může pracovat ve více krajích, v celkovém počtu je zahrnut pouze jednou</a:t>
            </a:r>
          </a:p>
        </p:txBody>
      </p:sp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85C5F03F-9519-07C6-D1F3-3FE6A1CE139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005477" y="1224768"/>
          <a:ext cx="753041" cy="5196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937366" imgH="2750977" progId="Excel.Sheet.12">
                  <p:embed/>
                </p:oleObj>
              </mc:Choice>
              <mc:Fallback>
                <p:oleObj name="Worksheet" r:id="rId3" imgW="937366" imgH="2750977" progId="Excel.Sheet.12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85C5F03F-9519-07C6-D1F3-3FE6A1CE1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05477" y="1224768"/>
                        <a:ext cx="753041" cy="5196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Šipka: dolů 4">
            <a:extLst>
              <a:ext uri="{FF2B5EF4-FFF2-40B4-BE49-F238E27FC236}">
                <a16:creationId xmlns:a16="http://schemas.microsoft.com/office/drawing/2014/main" id="{6B5EA9FF-B9CD-6091-75A1-B18F0E476DE3}"/>
              </a:ext>
            </a:extLst>
          </p:cNvPr>
          <p:cNvSpPr/>
          <p:nvPr/>
        </p:nvSpPr>
        <p:spPr>
          <a:xfrm rot="16200000">
            <a:off x="-147346" y="2259593"/>
            <a:ext cx="663191" cy="368498"/>
          </a:xfrm>
          <a:prstGeom prst="downArrow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913940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897F032E-B927-27A1-1061-76FB63DA19F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HRNUTÍ</a:t>
            </a:r>
          </a:p>
        </p:txBody>
      </p:sp>
      <p:pic>
        <p:nvPicPr>
          <p:cNvPr id="3" name="Zástupný symbol obrázku 6">
            <a:extLst>
              <a:ext uri="{FF2B5EF4-FFF2-40B4-BE49-F238E27FC236}">
                <a16:creationId xmlns:a16="http://schemas.microsoft.com/office/drawing/2014/main" id="{593EE05E-6495-D952-6C86-2AF90DA755AD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5"/>
          <a:srcRect t="28733" b="28733"/>
          <a:stretch>
            <a:fillRect/>
          </a:stretch>
        </p:blipFill>
        <p:spPr>
          <a:xfrm>
            <a:off x="0" y="2297272"/>
            <a:ext cx="7983110" cy="2263455"/>
          </a:xfrm>
        </p:spPr>
      </p:pic>
    </p:spTree>
    <p:extLst>
      <p:ext uri="{BB962C8B-B14F-4D97-AF65-F5344CB8AC3E}">
        <p14:creationId xmlns:p14="http://schemas.microsoft.com/office/powerpoint/2010/main" val="149425398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E8A79D11-6976-ACCC-7EF6-630185AE990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52425" y="1396429"/>
            <a:ext cx="10890842" cy="4986372"/>
          </a:xfrm>
        </p:spPr>
        <p:txBody>
          <a:bodyPr>
            <a:normAutofit fontScale="92500" lnSpcReduction="20000"/>
          </a:bodyPr>
          <a:lstStyle/>
          <a:p>
            <a:pPr algn="just">
              <a:lnSpc>
                <a:spcPct val="120000"/>
              </a:lnSpc>
            </a:pPr>
            <a:r>
              <a:rPr lang="cs-CZ" sz="1800" b="1" dirty="0"/>
              <a:t>Nádory prsu patří mezi nejčastější nádory u žen, nádory plic mezi nejčastější nádorové příčiny úmrtí.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Většina primární protinádorové léčby pacientek se zhoubným novotvarem prsu je v Plzeňském kraji podávána v KOC. Podíl pacientek s karcinomem prsu s vykázaným multidisciplinárním je nad průměrem ČR.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Pětileté relativní přežití u pacientů s nádorem plic v Plzeňském kraji je nejvyšší v ČR.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Pokrytí cílové populace žen ve věku 45–69 let screeningem karcinomu prsu je </a:t>
            </a:r>
            <a:br>
              <a:rPr lang="cs-CZ" sz="1800" b="1" dirty="0"/>
            </a:br>
            <a:r>
              <a:rPr lang="cs-CZ" sz="1800" b="1" dirty="0"/>
              <a:t>v Plzeňském kraji v porovnání s celorepublikovým pokrytím nižší, a to zejména v okresech Plzeň-město, Plzeň-jih, Rokycany a Tachov. V okrese Tachov pozorujeme jedno z nejnižších pokrytí v porovnání s ostatními okresy ČR.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Průměrná objednávací doba mamografických center v Plzeňském kraji je mírně nižší než celorepublikový průměr, nicméně jednotlivé okresy se v objednávací době výrazně liší. </a:t>
            </a:r>
          </a:p>
          <a:p>
            <a:pPr algn="just">
              <a:lnSpc>
                <a:spcPct val="120000"/>
              </a:lnSpc>
            </a:pPr>
            <a:r>
              <a:rPr lang="cs-CZ" sz="1800" b="1" dirty="0"/>
              <a:t>V Plzeňském kraji bylo zapojeno do screeningu karcinomu plic přibližně 37 % praktických lékařů, což je nejméně v rámci celé ČR. Svědčí to však o významném potenciálu k dalšímu posilování programu. Potenciálním problémem může být zvyšující se tendence intervalu mezi jednotlivými vyšetřeními. Interval mezi návštěvou u pneumologa a LDCT vyšetřením v rámci Plzeňského kraje v roce 2024 patří v rámci ČR mezi mírně vyšší.</a:t>
            </a:r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E5108DF0-82F6-AF0C-950A-6AD48605B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Shrnutí situace v Plzeňském kraji</a:t>
            </a:r>
          </a:p>
        </p:txBody>
      </p:sp>
    </p:spTree>
    <p:extLst>
      <p:ext uri="{BB962C8B-B14F-4D97-AF65-F5344CB8AC3E}">
        <p14:creationId xmlns:p14="http://schemas.microsoft.com/office/powerpoint/2010/main" val="7848271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2543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8">
            <a:extLst>
              <a:ext uri="{FF2B5EF4-FFF2-40B4-BE49-F238E27FC236}">
                <a16:creationId xmlns:a16="http://schemas.microsoft.com/office/drawing/2014/main" id="{D62B0AFD-F7A2-0BD9-6E71-6CF4757B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zhoubných novotvarů v letech 2019–2023: srovnání PLK a ČR</a:t>
            </a:r>
            <a:br>
              <a:rPr lang="cs-CZ" dirty="0"/>
            </a:br>
            <a:endParaRPr lang="cs-CZ" dirty="0"/>
          </a:p>
        </p:txBody>
      </p:sp>
      <p:sp>
        <p:nvSpPr>
          <p:cNvPr id="8" name="Text Box 20">
            <a:extLst>
              <a:ext uri="{FF2B5EF4-FFF2-40B4-BE49-F238E27FC236}">
                <a16:creationId xmlns:a16="http://schemas.microsoft.com/office/drawing/2014/main" id="{6DA2279D-3154-4FE4-9D83-F5F642B8B2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93107" y="656647"/>
            <a:ext cx="5536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 počet zemřelých s onemocněním na 100 000 osob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BFA19679-E927-A926-79F1-5DB0F2FA28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8281" y="46858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B104FD49-D8D9-8F9E-E14D-5627B3FAE695}"/>
              </a:ext>
            </a:extLst>
          </p:cNvPr>
          <p:cNvGraphicFramePr>
            <a:graphicFrameLocks noGrp="1"/>
          </p:cNvGraphicFramePr>
          <p:nvPr/>
        </p:nvGraphicFramePr>
        <p:xfrm>
          <a:off x="5917952" y="3014815"/>
          <a:ext cx="5197723" cy="1219200"/>
        </p:xfrm>
        <a:graphic>
          <a:graphicData uri="http://schemas.openxmlformats.org/drawingml/2006/table">
            <a:tbl>
              <a:tblPr/>
              <a:tblGrid>
                <a:gridCol w="3627579">
                  <a:extLst>
                    <a:ext uri="{9D8B030D-6E8A-4147-A177-3AD203B41FA5}">
                      <a16:colId xmlns:a16="http://schemas.microsoft.com/office/drawing/2014/main" val="2411398723"/>
                    </a:ext>
                  </a:extLst>
                </a:gridCol>
                <a:gridCol w="785072">
                  <a:extLst>
                    <a:ext uri="{9D8B030D-6E8A-4147-A177-3AD203B41FA5}">
                      <a16:colId xmlns:a16="http://schemas.microsoft.com/office/drawing/2014/main" val="1316542829"/>
                    </a:ext>
                  </a:extLst>
                </a:gridCol>
                <a:gridCol w="785072">
                  <a:extLst>
                    <a:ext uri="{9D8B030D-6E8A-4147-A177-3AD203B41FA5}">
                      <a16:colId xmlns:a16="http://schemas.microsoft.com/office/drawing/2014/main" val="394226161"/>
                    </a:ext>
                  </a:extLst>
                </a:gridCol>
              </a:tblGrid>
              <a:tr h="144780">
                <a:tc>
                  <a:txBody>
                    <a:bodyPr/>
                    <a:lstStyle/>
                    <a:p>
                      <a:pPr algn="l" fontAlgn="auto"/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60142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50 ročně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3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782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emřelých s C50 ročně na 100 000 osob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9034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 fontAlgn="base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ze zhoubných novotvarů</a:t>
                      </a:r>
                      <a:r>
                        <a:rPr lang="cs-CZ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cs-CZ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 %</a:t>
                      </a:r>
                    </a:p>
                  </a:txBody>
                  <a:tcPr marL="7620" marR="7620" marT="7620" marB="0" anchor="ctr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62670"/>
                  </a:ext>
                </a:extLst>
              </a:tr>
            </a:tbl>
          </a:graphicData>
        </a:graphic>
      </p:graphicFrame>
      <p:sp>
        <p:nvSpPr>
          <p:cNvPr id="20" name="Text Box 20">
            <a:extLst>
              <a:ext uri="{FF2B5EF4-FFF2-40B4-BE49-F238E27FC236}">
                <a16:creationId xmlns:a16="http://schemas.microsoft.com/office/drawing/2014/main" id="{358776E1-BEB7-0059-94F3-D08CC135F07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3925" y="849915"/>
            <a:ext cx="26615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ká skupina: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3181AB3-F1C3-3CE9-AF69-40D37606DED8}"/>
              </a:ext>
            </a:extLst>
          </p:cNvPr>
          <p:cNvSpPr/>
          <p:nvPr/>
        </p:nvSpPr>
        <p:spPr>
          <a:xfrm>
            <a:off x="2258919" y="1786681"/>
            <a:ext cx="3113641" cy="19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35">
            <a:extLst>
              <a:ext uri="{FF2B5EF4-FFF2-40B4-BE49-F238E27FC236}">
                <a16:creationId xmlns:a16="http://schemas.microsoft.com/office/drawing/2014/main" id="{01819D56-899F-6ABB-2BE7-CB2F021BD9E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483839" y="905785"/>
          <a:ext cx="4186961" cy="555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" name="Group 91">
            <a:extLst>
              <a:ext uri="{FF2B5EF4-FFF2-40B4-BE49-F238E27FC236}">
                <a16:creationId xmlns:a16="http://schemas.microsoft.com/office/drawing/2014/main" id="{13F48AE1-0279-D960-3C30-A42362535FA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94290" y="1211040"/>
          <a:ext cx="3224099" cy="5191074"/>
        </p:xfrm>
        <a:graphic>
          <a:graphicData uri="http://schemas.openxmlformats.org/drawingml/2006/table">
            <a:tbl>
              <a:tblPr/>
              <a:tblGrid>
                <a:gridCol w="3224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intrahepatálních žlučových cest (C2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elanomový kožní ZN (C4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. a měk. tkání a perif. nervů (C47, C49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262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houbné novot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sp>
        <p:nvSpPr>
          <p:cNvPr id="11" name="Rectangle 233">
            <a:extLst>
              <a:ext uri="{FF2B5EF4-FFF2-40B4-BE49-F238E27FC236}">
                <a16:creationId xmlns:a16="http://schemas.microsoft.com/office/drawing/2014/main" id="{E9935E30-E1A0-472E-B505-FBAE12665FB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917952" y="2341366"/>
            <a:ext cx="107950" cy="107950"/>
          </a:xfrm>
          <a:prstGeom prst="rect">
            <a:avLst/>
          </a:prstGeom>
          <a:solidFill>
            <a:srgbClr val="858585"/>
          </a:solidFill>
          <a:ln w="1651" algn="ctr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234">
            <a:extLst>
              <a:ext uri="{FF2B5EF4-FFF2-40B4-BE49-F238E27FC236}">
                <a16:creationId xmlns:a16="http://schemas.microsoft.com/office/drawing/2014/main" id="{F47512FE-66DB-457D-B5D9-C79C69E7DB8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17952" y="2171994"/>
            <a:ext cx="107950" cy="107950"/>
          </a:xfrm>
          <a:prstGeom prst="rect">
            <a:avLst/>
          </a:prstGeom>
          <a:solidFill>
            <a:srgbClr val="C00000"/>
          </a:solidFill>
          <a:ln w="1651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Text Box 237">
            <a:extLst>
              <a:ext uri="{FF2B5EF4-FFF2-40B4-BE49-F238E27FC236}">
                <a16:creationId xmlns:a16="http://schemas.microsoft.com/office/drawing/2014/main" id="{4C325B2C-77CB-4329-983F-A4E09D8F3DD9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070352" y="2126353"/>
            <a:ext cx="1874471" cy="383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Font typeface="Wingdings" panose="05000000000000000000" pitchFamily="2" charset="2"/>
              <a:buChar char="§"/>
              <a:defRPr kumimoji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zeňský kraj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</p:spTree>
    <p:extLst>
      <p:ext uri="{BB962C8B-B14F-4D97-AF65-F5344CB8AC3E}">
        <p14:creationId xmlns:p14="http://schemas.microsoft.com/office/powerpoint/2010/main" val="2163381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Nadpis 138">
            <a:extLst>
              <a:ext uri="{FF2B5EF4-FFF2-40B4-BE49-F238E27FC236}">
                <a16:creationId xmlns:a16="http://schemas.microsoft.com/office/drawing/2014/main" id="{6839B9D1-D146-07B7-88E2-886672E6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ZN prsu </a:t>
            </a:r>
            <a:r>
              <a:rPr lang="es-ES" dirty="0"/>
              <a:t>(C50)</a:t>
            </a:r>
            <a:r>
              <a:rPr lang="cs-CZ" dirty="0"/>
              <a:t> u žen</a:t>
            </a:r>
            <a:br>
              <a:rPr lang="cs-CZ" dirty="0"/>
            </a:br>
            <a:endParaRPr lang="cs-CZ" dirty="0"/>
          </a:p>
        </p:txBody>
      </p:sp>
      <p:graphicFrame>
        <p:nvGraphicFramePr>
          <p:cNvPr id="36" name="Object 123">
            <a:extLst>
              <a:ext uri="{FF2B5EF4-FFF2-40B4-BE49-F238E27FC236}">
                <a16:creationId xmlns:a16="http://schemas.microsoft.com/office/drawing/2014/main" id="{3C877F9B-0772-2307-4A69-A6BC69F9DDD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01106" y="1911300"/>
          <a:ext cx="4122000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" name="Group 110">
            <a:extLst>
              <a:ext uri="{FF2B5EF4-FFF2-40B4-BE49-F238E27FC236}">
                <a16:creationId xmlns:a16="http://schemas.microsoft.com/office/drawing/2014/main" id="{0EB1675A-69A4-4717-95C6-DD9F58ADD5A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97801" y="1833771"/>
          <a:ext cx="1931064" cy="24840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stecký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cs-CZ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5600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TextBox 9">
            <a:extLst>
              <a:ext uri="{FF2B5EF4-FFF2-40B4-BE49-F238E27FC236}">
                <a16:creationId xmlns:a16="http://schemas.microsoft.com/office/drawing/2014/main" id="{0A51F226-86A0-4005-BB9C-D648577A80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953847" y="3547350"/>
            <a:ext cx="26815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žen</a:t>
            </a:r>
          </a:p>
        </p:txBody>
      </p:sp>
      <p:sp>
        <p:nvSpPr>
          <p:cNvPr id="5" name="Rectangle 110">
            <a:extLst>
              <a:ext uri="{FF2B5EF4-FFF2-40B4-BE49-F238E27FC236}">
                <a16:creationId xmlns:a16="http://schemas.microsoft.com/office/drawing/2014/main" id="{6F4D1A70-A3A9-4D04-AA89-C9474BF7C1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7843" y="5696482"/>
            <a:ext cx="529069" cy="13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sp>
        <p:nvSpPr>
          <p:cNvPr id="6" name="TextovéPole 7">
            <a:extLst>
              <a:ext uri="{FF2B5EF4-FFF2-40B4-BE49-F238E27FC236}">
                <a16:creationId xmlns:a16="http://schemas.microsoft.com/office/drawing/2014/main" id="{B287C757-E904-45E7-B046-9EC04007401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9670" y="3782520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,4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33D1BF51-3B9F-493E-A550-8897179273C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16861" y="1026669"/>
            <a:ext cx="35748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čet úmrtí na diagnózu na 100 000 ž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roční průměr za období 2019–2023)</a:t>
            </a:r>
          </a:p>
        </p:txBody>
      </p:sp>
      <p:graphicFrame>
        <p:nvGraphicFramePr>
          <p:cNvPr id="8" name="Object 16">
            <a:extLst>
              <a:ext uri="{FF2B5EF4-FFF2-40B4-BE49-F238E27FC236}">
                <a16:creationId xmlns:a16="http://schemas.microsoft.com/office/drawing/2014/main" id="{CD67FA2A-DCB1-4B10-B2E7-EA42181B475C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49966" y="1533313"/>
          <a:ext cx="2376793" cy="2814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FD084D9-53D8-4820-929C-135EFBAF7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56137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časový trend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A011C0A-EFAA-464B-8FE9-A461B2CD7CD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495098" y="747842"/>
            <a:ext cx="33823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: regionální srovnání 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7">
            <a:extLst>
              <a:ext uri="{FF2B5EF4-FFF2-40B4-BE49-F238E27FC236}">
                <a16:creationId xmlns:a16="http://schemas.microsoft.com/office/drawing/2014/main" id="{D50B36CC-0574-406E-8799-2B063A4E418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589670" y="3901146"/>
            <a:ext cx="6593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8,0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C6B2F2A-ABBD-4292-B8F6-D1991BA731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2132483" y="1181883"/>
            <a:ext cx="2106409" cy="593942"/>
            <a:chOff x="4637416" y="1161434"/>
            <a:chExt cx="2106409" cy="593942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26CBE04-0581-4F51-8C9C-A8321D2B61B4}"/>
                </a:ext>
              </a:extLst>
            </p:cNvPr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973409" y="1570710"/>
              <a:ext cx="177041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zsah hodnot krajů</a:t>
              </a:r>
            </a:p>
          </p:txBody>
        </p:sp>
        <p:sp>
          <p:nvSpPr>
            <p:cNvPr id="16" name="Rectangle 53">
              <a:extLst>
                <a:ext uri="{FF2B5EF4-FFF2-40B4-BE49-F238E27FC236}">
                  <a16:creationId xmlns:a16="http://schemas.microsoft.com/office/drawing/2014/main" id="{8B14D4AE-536F-4C73-87DA-E1B5D7B78B5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709976" y="1592059"/>
              <a:ext cx="144000" cy="143777"/>
            </a:xfrm>
            <a:prstGeom prst="rect">
              <a:avLst/>
            </a:prstGeom>
            <a:solidFill>
              <a:srgbClr val="C8C8C8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ovéPole 7">
              <a:extLst>
                <a:ext uri="{FF2B5EF4-FFF2-40B4-BE49-F238E27FC236}">
                  <a16:creationId xmlns:a16="http://schemas.microsoft.com/office/drawing/2014/main" id="{F9FED6A7-3F97-4B3E-B397-F128EA107D43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979145" y="1355266"/>
              <a:ext cx="141470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zeňský kraj</a:t>
              </a:r>
            </a:p>
          </p:txBody>
        </p:sp>
        <p:cxnSp>
          <p:nvCxnSpPr>
            <p:cNvPr id="18" name="Straight Connector 35">
              <a:extLst>
                <a:ext uri="{FF2B5EF4-FFF2-40B4-BE49-F238E27FC236}">
                  <a16:creationId xmlns:a16="http://schemas.microsoft.com/office/drawing/2014/main" id="{8FF49DB3-EA1B-4E51-8DFE-A45DFF44F920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>
            <a:xfrm>
              <a:off x="4637416" y="1452250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19" name="TextovéPole 7">
              <a:extLst>
                <a:ext uri="{FF2B5EF4-FFF2-40B4-BE49-F238E27FC236}">
                  <a16:creationId xmlns:a16="http://schemas.microsoft.com/office/drawing/2014/main" id="{DD0B0EBA-999B-4443-AE93-FE8C1F9D1030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971744" y="1161434"/>
              <a:ext cx="13026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Česká republika</a:t>
              </a:r>
            </a:p>
          </p:txBody>
        </p:sp>
        <p:cxnSp>
          <p:nvCxnSpPr>
            <p:cNvPr id="20" name="Straight Connector 35">
              <a:extLst>
                <a:ext uri="{FF2B5EF4-FFF2-40B4-BE49-F238E27FC236}">
                  <a16:creationId xmlns:a16="http://schemas.microsoft.com/office/drawing/2014/main" id="{B46A3F8D-3055-42AA-9A3B-A03A0A8C6233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>
            <a:xfrm>
              <a:off x="4639346" y="1258418"/>
              <a:ext cx="287338" cy="0"/>
            </a:xfrm>
            <a:prstGeom prst="line">
              <a:avLst/>
            </a:prstGeom>
            <a:solidFill>
              <a:srgbClr val="FF6600"/>
            </a:solidFill>
            <a:ln w="25400" cap="flat" cmpd="sng" algn="ctr">
              <a:solidFill>
                <a:srgbClr val="858585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Box 6">
            <a:extLst>
              <a:ext uri="{FF2B5EF4-FFF2-40B4-BE49-F238E27FC236}">
                <a16:creationId xmlns:a16="http://schemas.microsoft.com/office/drawing/2014/main" id="{578E4CDB-52CB-4798-B12C-F19A803F9D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78281" y="468586"/>
            <a:ext cx="3720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, Český statistický úřad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DAD395C-5D30-51B7-D227-BCC80380EC24}"/>
              </a:ext>
            </a:extLst>
          </p:cNvPr>
          <p:cNvGrpSpPr/>
          <p:nvPr/>
        </p:nvGrpSpPr>
        <p:grpSpPr>
          <a:xfrm>
            <a:off x="10951469" y="1905027"/>
            <a:ext cx="920040" cy="839147"/>
            <a:chOff x="5368539" y="5686843"/>
            <a:chExt cx="920040" cy="839147"/>
          </a:xfrm>
        </p:grpSpPr>
        <p:sp>
          <p:nvSpPr>
            <p:cNvPr id="24" name="Text Box 58">
              <a:extLst>
                <a:ext uri="{FF2B5EF4-FFF2-40B4-BE49-F238E27FC236}">
                  <a16:creationId xmlns:a16="http://schemas.microsoft.com/office/drawing/2014/main" id="{ABA97A06-CD9E-1DB5-0B67-19AD7AC0D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,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66F78460-848A-AC58-4C84-992F5860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Rectangle 56">
              <a:extLst>
                <a:ext uri="{FF2B5EF4-FFF2-40B4-BE49-F238E27FC236}">
                  <a16:creationId xmlns:a16="http://schemas.microsoft.com/office/drawing/2014/main" id="{08F54FC7-F814-B91A-ACE1-22EC858CE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Rectangle 56">
              <a:extLst>
                <a:ext uri="{FF2B5EF4-FFF2-40B4-BE49-F238E27FC236}">
                  <a16:creationId xmlns:a16="http://schemas.microsoft.com/office/drawing/2014/main" id="{22D94027-6996-7AF5-B2B4-E4374B0C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Rectangle 56">
              <a:extLst>
                <a:ext uri="{FF2B5EF4-FFF2-40B4-BE49-F238E27FC236}">
                  <a16:creationId xmlns:a16="http://schemas.microsoft.com/office/drawing/2014/main" id="{CE401C00-A584-C457-214C-D466CD73D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45" name="Group 5">
            <a:extLst>
              <a:ext uri="{FF2B5EF4-FFF2-40B4-BE49-F238E27FC236}">
                <a16:creationId xmlns:a16="http://schemas.microsoft.com/office/drawing/2014/main" id="{F6D30733-1F96-00EF-A35D-76062EB31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9704" y="1850178"/>
            <a:ext cx="3308350" cy="2682875"/>
            <a:chOff x="771" y="2585"/>
            <a:chExt cx="2084" cy="1690"/>
          </a:xfrm>
        </p:grpSpPr>
        <p:sp>
          <p:nvSpPr>
            <p:cNvPr id="146" name="AutoShape 4">
              <a:extLst>
                <a:ext uri="{FF2B5EF4-FFF2-40B4-BE49-F238E27FC236}">
                  <a16:creationId xmlns:a16="http://schemas.microsoft.com/office/drawing/2014/main" id="{16D3D5E6-771A-7D43-F7DB-40F3C38F8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1" y="2585"/>
              <a:ext cx="2084" cy="1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">
              <a:extLst>
                <a:ext uri="{FF2B5EF4-FFF2-40B4-BE49-F238E27FC236}">
                  <a16:creationId xmlns:a16="http://schemas.microsoft.com/office/drawing/2014/main" id="{949CD10B-E397-3EB6-DB9E-27784E66F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88 w 138"/>
                <a:gd name="T1" fmla="*/ 1 h 106"/>
                <a:gd name="T2" fmla="*/ 90 w 138"/>
                <a:gd name="T3" fmla="*/ 4 h 106"/>
                <a:gd name="T4" fmla="*/ 99 w 138"/>
                <a:gd name="T5" fmla="*/ 11 h 106"/>
                <a:gd name="T6" fmla="*/ 105 w 138"/>
                <a:gd name="T7" fmla="*/ 13 h 106"/>
                <a:gd name="T8" fmla="*/ 108 w 138"/>
                <a:gd name="T9" fmla="*/ 19 h 106"/>
                <a:gd name="T10" fmla="*/ 112 w 138"/>
                <a:gd name="T11" fmla="*/ 22 h 106"/>
                <a:gd name="T12" fmla="*/ 124 w 138"/>
                <a:gd name="T13" fmla="*/ 27 h 106"/>
                <a:gd name="T14" fmla="*/ 128 w 138"/>
                <a:gd name="T15" fmla="*/ 32 h 106"/>
                <a:gd name="T16" fmla="*/ 135 w 138"/>
                <a:gd name="T17" fmla="*/ 38 h 106"/>
                <a:gd name="T18" fmla="*/ 138 w 138"/>
                <a:gd name="T19" fmla="*/ 43 h 106"/>
                <a:gd name="T20" fmla="*/ 136 w 138"/>
                <a:gd name="T21" fmla="*/ 48 h 106"/>
                <a:gd name="T22" fmla="*/ 126 w 138"/>
                <a:gd name="T23" fmla="*/ 54 h 106"/>
                <a:gd name="T24" fmla="*/ 123 w 138"/>
                <a:gd name="T25" fmla="*/ 57 h 106"/>
                <a:gd name="T26" fmla="*/ 123 w 138"/>
                <a:gd name="T27" fmla="*/ 61 h 106"/>
                <a:gd name="T28" fmla="*/ 126 w 138"/>
                <a:gd name="T29" fmla="*/ 64 h 106"/>
                <a:gd name="T30" fmla="*/ 127 w 138"/>
                <a:gd name="T31" fmla="*/ 74 h 106"/>
                <a:gd name="T32" fmla="*/ 124 w 138"/>
                <a:gd name="T33" fmla="*/ 79 h 106"/>
                <a:gd name="T34" fmla="*/ 118 w 138"/>
                <a:gd name="T35" fmla="*/ 83 h 106"/>
                <a:gd name="T36" fmla="*/ 112 w 138"/>
                <a:gd name="T37" fmla="*/ 82 h 106"/>
                <a:gd name="T38" fmla="*/ 104 w 138"/>
                <a:gd name="T39" fmla="*/ 78 h 106"/>
                <a:gd name="T40" fmla="*/ 97 w 138"/>
                <a:gd name="T41" fmla="*/ 77 h 106"/>
                <a:gd name="T42" fmla="*/ 89 w 138"/>
                <a:gd name="T43" fmla="*/ 79 h 106"/>
                <a:gd name="T44" fmla="*/ 85 w 138"/>
                <a:gd name="T45" fmla="*/ 82 h 106"/>
                <a:gd name="T46" fmla="*/ 78 w 138"/>
                <a:gd name="T47" fmla="*/ 86 h 106"/>
                <a:gd name="T48" fmla="*/ 67 w 138"/>
                <a:gd name="T49" fmla="*/ 93 h 106"/>
                <a:gd name="T50" fmla="*/ 58 w 138"/>
                <a:gd name="T51" fmla="*/ 97 h 106"/>
                <a:gd name="T52" fmla="*/ 50 w 138"/>
                <a:gd name="T53" fmla="*/ 99 h 106"/>
                <a:gd name="T54" fmla="*/ 46 w 138"/>
                <a:gd name="T55" fmla="*/ 105 h 106"/>
                <a:gd name="T56" fmla="*/ 44 w 138"/>
                <a:gd name="T57" fmla="*/ 106 h 106"/>
                <a:gd name="T58" fmla="*/ 34 w 138"/>
                <a:gd name="T59" fmla="*/ 105 h 106"/>
                <a:gd name="T60" fmla="*/ 30 w 138"/>
                <a:gd name="T61" fmla="*/ 103 h 106"/>
                <a:gd name="T62" fmla="*/ 29 w 138"/>
                <a:gd name="T63" fmla="*/ 99 h 106"/>
                <a:gd name="T64" fmla="*/ 30 w 138"/>
                <a:gd name="T65" fmla="*/ 95 h 106"/>
                <a:gd name="T66" fmla="*/ 29 w 138"/>
                <a:gd name="T67" fmla="*/ 91 h 106"/>
                <a:gd name="T68" fmla="*/ 29 w 138"/>
                <a:gd name="T69" fmla="*/ 87 h 106"/>
                <a:gd name="T70" fmla="*/ 23 w 138"/>
                <a:gd name="T71" fmla="*/ 84 h 106"/>
                <a:gd name="T72" fmla="*/ 20 w 138"/>
                <a:gd name="T73" fmla="*/ 81 h 106"/>
                <a:gd name="T74" fmla="*/ 21 w 138"/>
                <a:gd name="T75" fmla="*/ 77 h 106"/>
                <a:gd name="T76" fmla="*/ 21 w 138"/>
                <a:gd name="T77" fmla="*/ 73 h 106"/>
                <a:gd name="T78" fmla="*/ 13 w 138"/>
                <a:gd name="T79" fmla="*/ 65 h 106"/>
                <a:gd name="T80" fmla="*/ 9 w 138"/>
                <a:gd name="T81" fmla="*/ 58 h 106"/>
                <a:gd name="T82" fmla="*/ 6 w 138"/>
                <a:gd name="T83" fmla="*/ 53 h 106"/>
                <a:gd name="T84" fmla="*/ 10 w 138"/>
                <a:gd name="T85" fmla="*/ 49 h 106"/>
                <a:gd name="T86" fmla="*/ 13 w 138"/>
                <a:gd name="T87" fmla="*/ 45 h 106"/>
                <a:gd name="T88" fmla="*/ 7 w 138"/>
                <a:gd name="T89" fmla="*/ 38 h 106"/>
                <a:gd name="T90" fmla="*/ 1 w 138"/>
                <a:gd name="T91" fmla="*/ 34 h 106"/>
                <a:gd name="T92" fmla="*/ 0 w 138"/>
                <a:gd name="T93" fmla="*/ 33 h 106"/>
                <a:gd name="T94" fmla="*/ 9 w 138"/>
                <a:gd name="T95" fmla="*/ 28 h 106"/>
                <a:gd name="T96" fmla="*/ 20 w 138"/>
                <a:gd name="T97" fmla="*/ 24 h 106"/>
                <a:gd name="T98" fmla="*/ 23 w 138"/>
                <a:gd name="T99" fmla="*/ 25 h 106"/>
                <a:gd name="T100" fmla="*/ 30 w 138"/>
                <a:gd name="T101" fmla="*/ 27 h 106"/>
                <a:gd name="T102" fmla="*/ 35 w 138"/>
                <a:gd name="T103" fmla="*/ 26 h 106"/>
                <a:gd name="T104" fmla="*/ 37 w 138"/>
                <a:gd name="T105" fmla="*/ 19 h 106"/>
                <a:gd name="T106" fmla="*/ 41 w 138"/>
                <a:gd name="T107" fmla="*/ 16 h 106"/>
                <a:gd name="T108" fmla="*/ 49 w 138"/>
                <a:gd name="T109" fmla="*/ 14 h 106"/>
                <a:gd name="T110" fmla="*/ 61 w 138"/>
                <a:gd name="T111" fmla="*/ 9 h 106"/>
                <a:gd name="T112" fmla="*/ 73 w 138"/>
                <a:gd name="T113" fmla="*/ 4 h 106"/>
                <a:gd name="T114" fmla="*/ 87 w 138"/>
                <a:gd name="T115" fmla="*/ 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8" y="0"/>
                  </a:move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4" y="7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7" y="18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22" y="26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5" y="28"/>
                  </a:lnTo>
                  <a:lnTo>
                    <a:pt x="126" y="29"/>
                  </a:lnTo>
                  <a:lnTo>
                    <a:pt x="127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3" y="36"/>
                  </a:lnTo>
                  <a:lnTo>
                    <a:pt x="134" y="37"/>
                  </a:lnTo>
                  <a:lnTo>
                    <a:pt x="135" y="37"/>
                  </a:lnTo>
                  <a:lnTo>
                    <a:pt x="135" y="38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4"/>
                  </a:lnTo>
                  <a:lnTo>
                    <a:pt x="138" y="45"/>
                  </a:lnTo>
                  <a:lnTo>
                    <a:pt x="137" y="46"/>
                  </a:lnTo>
                  <a:lnTo>
                    <a:pt x="137" y="47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1" y="51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5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4" y="62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6" y="64"/>
                  </a:lnTo>
                  <a:lnTo>
                    <a:pt x="126" y="65"/>
                  </a:lnTo>
                  <a:lnTo>
                    <a:pt x="126" y="66"/>
                  </a:lnTo>
                  <a:lnTo>
                    <a:pt x="126" y="68"/>
                  </a:lnTo>
                  <a:lnTo>
                    <a:pt x="127" y="72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5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6" y="78"/>
                  </a:lnTo>
                  <a:lnTo>
                    <a:pt x="125" y="79"/>
                  </a:lnTo>
                  <a:lnTo>
                    <a:pt x="124" y="79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20" y="83"/>
                  </a:lnTo>
                  <a:lnTo>
                    <a:pt x="119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14" y="83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7" y="79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4" y="78"/>
                  </a:lnTo>
                  <a:lnTo>
                    <a:pt x="91" y="78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9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4" y="83"/>
                  </a:lnTo>
                  <a:lnTo>
                    <a:pt x="83" y="83"/>
                  </a:lnTo>
                  <a:lnTo>
                    <a:pt x="82" y="84"/>
                  </a:lnTo>
                  <a:lnTo>
                    <a:pt x="81" y="84"/>
                  </a:lnTo>
                  <a:lnTo>
                    <a:pt x="79" y="85"/>
                  </a:lnTo>
                  <a:lnTo>
                    <a:pt x="78" y="86"/>
                  </a:lnTo>
                  <a:lnTo>
                    <a:pt x="77" y="86"/>
                  </a:lnTo>
                  <a:lnTo>
                    <a:pt x="76" y="86"/>
                  </a:lnTo>
                  <a:lnTo>
                    <a:pt x="75" y="87"/>
                  </a:lnTo>
                  <a:lnTo>
                    <a:pt x="73" y="89"/>
                  </a:lnTo>
                  <a:lnTo>
                    <a:pt x="68" y="93"/>
                  </a:lnTo>
                  <a:lnTo>
                    <a:pt x="67" y="93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8" y="97"/>
                  </a:lnTo>
                  <a:lnTo>
                    <a:pt x="56" y="97"/>
                  </a:lnTo>
                  <a:lnTo>
                    <a:pt x="55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8" y="102"/>
                  </a:lnTo>
                  <a:lnTo>
                    <a:pt x="47" y="104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1" y="106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7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7" y="69"/>
                  </a:lnTo>
                  <a:lnTo>
                    <a:pt x="15" y="67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10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6" y="29"/>
                  </a:lnTo>
                  <a:lnTo>
                    <a:pt x="9" y="28"/>
                  </a:lnTo>
                  <a:lnTo>
                    <a:pt x="11" y="28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5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4"/>
                  </a:lnTo>
                  <a:lnTo>
                    <a:pt x="75" y="3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00000"/>
            </a:solidFill>
            <a:ln w="63500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7">
              <a:extLst>
                <a:ext uri="{FF2B5EF4-FFF2-40B4-BE49-F238E27FC236}">
                  <a16:creationId xmlns:a16="http://schemas.microsoft.com/office/drawing/2014/main" id="{113C2CCF-720E-CA6D-6E98-B424F087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8">
              <a:extLst>
                <a:ext uri="{FF2B5EF4-FFF2-40B4-BE49-F238E27FC236}">
                  <a16:creationId xmlns:a16="http://schemas.microsoft.com/office/drawing/2014/main" id="{BC7F1EF3-C133-39CD-BCDD-0F6D2BF4B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id="{7837A00A-345B-ABF5-4E59-0E55E5EC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id="{412C054B-FD22-4193-4860-38F9B9C87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solidFill>
              <a:srgbClr val="595959"/>
            </a:solidFill>
            <a:ln w="635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1">
              <a:extLst>
                <a:ext uri="{FF2B5EF4-FFF2-40B4-BE49-F238E27FC236}">
                  <a16:creationId xmlns:a16="http://schemas.microsoft.com/office/drawing/2014/main" id="{F828F0EF-8C9B-741B-C691-74B72EC83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">
              <a:extLst>
                <a:ext uri="{FF2B5EF4-FFF2-40B4-BE49-F238E27FC236}">
                  <a16:creationId xmlns:a16="http://schemas.microsoft.com/office/drawing/2014/main" id="{5EF9D8DE-1D1D-84C1-FE53-CEA74FCA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">
              <a:extLst>
                <a:ext uri="{FF2B5EF4-FFF2-40B4-BE49-F238E27FC236}">
                  <a16:creationId xmlns:a16="http://schemas.microsoft.com/office/drawing/2014/main" id="{025D1216-EB86-27AB-886B-F67A4EBB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4">
              <a:extLst>
                <a:ext uri="{FF2B5EF4-FFF2-40B4-BE49-F238E27FC236}">
                  <a16:creationId xmlns:a16="http://schemas.microsoft.com/office/drawing/2014/main" id="{8B54BAAA-8D1F-0605-643C-F9C3105E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">
              <a:extLst>
                <a:ext uri="{FF2B5EF4-FFF2-40B4-BE49-F238E27FC236}">
                  <a16:creationId xmlns:a16="http://schemas.microsoft.com/office/drawing/2014/main" id="{FD35F4A4-176F-DBA6-72E1-808DFF391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">
              <a:extLst>
                <a:ext uri="{FF2B5EF4-FFF2-40B4-BE49-F238E27FC236}">
                  <a16:creationId xmlns:a16="http://schemas.microsoft.com/office/drawing/2014/main" id="{30B3E1CB-E442-2EBA-5C94-5D58C039A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7">
              <a:extLst>
                <a:ext uri="{FF2B5EF4-FFF2-40B4-BE49-F238E27FC236}">
                  <a16:creationId xmlns:a16="http://schemas.microsoft.com/office/drawing/2014/main" id="{AAF38B95-A98F-B4B5-D8A1-071E4498F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8">
              <a:extLst>
                <a:ext uri="{FF2B5EF4-FFF2-40B4-BE49-F238E27FC236}">
                  <a16:creationId xmlns:a16="http://schemas.microsoft.com/office/drawing/2014/main" id="{89393697-C0A3-8EA4-E70A-B343AD737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9">
              <a:extLst>
                <a:ext uri="{FF2B5EF4-FFF2-40B4-BE49-F238E27FC236}">
                  <a16:creationId xmlns:a16="http://schemas.microsoft.com/office/drawing/2014/main" id="{73F45412-4252-4043-213C-7005606AF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0">
              <a:extLst>
                <a:ext uri="{FF2B5EF4-FFF2-40B4-BE49-F238E27FC236}">
                  <a16:creationId xmlns:a16="http://schemas.microsoft.com/office/drawing/2014/main" id="{D51BAD0F-0B7A-74B9-42B5-DA5F00B4D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1">
              <a:extLst>
                <a:ext uri="{FF2B5EF4-FFF2-40B4-BE49-F238E27FC236}">
                  <a16:creationId xmlns:a16="http://schemas.microsoft.com/office/drawing/2014/main" id="{E418D4A3-BC1C-E6CF-D081-114FB820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2">
              <a:extLst>
                <a:ext uri="{FF2B5EF4-FFF2-40B4-BE49-F238E27FC236}">
                  <a16:creationId xmlns:a16="http://schemas.microsoft.com/office/drawing/2014/main" id="{5A1B2482-E03D-1396-1713-157443D5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3">
              <a:extLst>
                <a:ext uri="{FF2B5EF4-FFF2-40B4-BE49-F238E27FC236}">
                  <a16:creationId xmlns:a16="http://schemas.microsoft.com/office/drawing/2014/main" id="{C007DD0F-ED80-9874-71F3-4039525D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4">
              <a:extLst>
                <a:ext uri="{FF2B5EF4-FFF2-40B4-BE49-F238E27FC236}">
                  <a16:creationId xmlns:a16="http://schemas.microsoft.com/office/drawing/2014/main" id="{88A46074-5AEB-4F0B-D971-F1A33FE9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:a16="http://schemas.microsoft.com/office/drawing/2014/main" id="{50CFA49A-6FE1-D408-791D-6E98F4FD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:a16="http://schemas.microsoft.com/office/drawing/2014/main" id="{107976D1-510B-6CDB-4F99-1EA7D1F1B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27">
              <a:extLst>
                <a:ext uri="{FF2B5EF4-FFF2-40B4-BE49-F238E27FC236}">
                  <a16:creationId xmlns:a16="http://schemas.microsoft.com/office/drawing/2014/main" id="{35274914-0144-62C7-682E-DEAF82A93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28">
              <a:extLst>
                <a:ext uri="{FF2B5EF4-FFF2-40B4-BE49-F238E27FC236}">
                  <a16:creationId xmlns:a16="http://schemas.microsoft.com/office/drawing/2014/main" id="{EB4A1B39-A433-D3A4-B1E9-74FA974A2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29">
              <a:extLst>
                <a:ext uri="{FF2B5EF4-FFF2-40B4-BE49-F238E27FC236}">
                  <a16:creationId xmlns:a16="http://schemas.microsoft.com/office/drawing/2014/main" id="{BE0A36EF-EC70-1B36-1750-F0B0C7EA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">
              <a:extLst>
                <a:ext uri="{FF2B5EF4-FFF2-40B4-BE49-F238E27FC236}">
                  <a16:creationId xmlns:a16="http://schemas.microsoft.com/office/drawing/2014/main" id="{0288C28E-0091-9909-959A-9958519C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1">
              <a:extLst>
                <a:ext uri="{FF2B5EF4-FFF2-40B4-BE49-F238E27FC236}">
                  <a16:creationId xmlns:a16="http://schemas.microsoft.com/office/drawing/2014/main" id="{9BD4A4A8-02D7-06D8-95F6-79172992F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2">
              <a:extLst>
                <a:ext uri="{FF2B5EF4-FFF2-40B4-BE49-F238E27FC236}">
                  <a16:creationId xmlns:a16="http://schemas.microsoft.com/office/drawing/2014/main" id="{99FC762D-3CFE-5973-4264-FF153F3F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33">
              <a:extLst>
                <a:ext uri="{FF2B5EF4-FFF2-40B4-BE49-F238E27FC236}">
                  <a16:creationId xmlns:a16="http://schemas.microsoft.com/office/drawing/2014/main" id="{153C335B-6DA2-B20A-BE7A-301911AD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34">
              <a:extLst>
                <a:ext uri="{FF2B5EF4-FFF2-40B4-BE49-F238E27FC236}">
                  <a16:creationId xmlns:a16="http://schemas.microsoft.com/office/drawing/2014/main" id="{E105C7DB-F2D2-8B20-CF42-3528726D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35">
              <a:extLst>
                <a:ext uri="{FF2B5EF4-FFF2-40B4-BE49-F238E27FC236}">
                  <a16:creationId xmlns:a16="http://schemas.microsoft.com/office/drawing/2014/main" id="{0F49A5AF-1099-8F89-CCF8-DEFA5AC8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36">
              <a:extLst>
                <a:ext uri="{FF2B5EF4-FFF2-40B4-BE49-F238E27FC236}">
                  <a16:creationId xmlns:a16="http://schemas.microsoft.com/office/drawing/2014/main" id="{45872B3A-B518-434C-86E6-ECD9EBB9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37">
              <a:extLst>
                <a:ext uri="{FF2B5EF4-FFF2-40B4-BE49-F238E27FC236}">
                  <a16:creationId xmlns:a16="http://schemas.microsoft.com/office/drawing/2014/main" id="{8B8AA6C0-45B6-EDFD-B774-3704C03F3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CCCCCC"/>
            </a:solidFill>
            <a:ln w="63500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38">
              <a:extLst>
                <a:ext uri="{FF2B5EF4-FFF2-40B4-BE49-F238E27FC236}">
                  <a16:creationId xmlns:a16="http://schemas.microsoft.com/office/drawing/2014/main" id="{D9F55AFD-52CD-E032-4AEB-8C65A41A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39">
              <a:extLst>
                <a:ext uri="{FF2B5EF4-FFF2-40B4-BE49-F238E27FC236}">
                  <a16:creationId xmlns:a16="http://schemas.microsoft.com/office/drawing/2014/main" id="{D70D6A38-9B50-3AFC-86A7-BA152A71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40">
              <a:extLst>
                <a:ext uri="{FF2B5EF4-FFF2-40B4-BE49-F238E27FC236}">
                  <a16:creationId xmlns:a16="http://schemas.microsoft.com/office/drawing/2014/main" id="{95D70570-1CD6-5B92-D854-B78E8739C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63500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:a16="http://schemas.microsoft.com/office/drawing/2014/main" id="{5C6B5FE2-9D66-62CC-564F-6A138C6CBE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3069"/>
              <a:ext cx="633" cy="513"/>
            </a:xfrm>
            <a:custGeom>
              <a:avLst/>
              <a:gdLst>
                <a:gd name="T0" fmla="*/ 487 w 633"/>
                <a:gd name="T1" fmla="*/ 20 h 513"/>
                <a:gd name="T2" fmla="*/ 512 w 633"/>
                <a:gd name="T3" fmla="*/ 53 h 513"/>
                <a:gd name="T4" fmla="*/ 516 w 633"/>
                <a:gd name="T5" fmla="*/ 105 h 513"/>
                <a:gd name="T6" fmla="*/ 525 w 633"/>
                <a:gd name="T7" fmla="*/ 128 h 513"/>
                <a:gd name="T8" fmla="*/ 553 w 633"/>
                <a:gd name="T9" fmla="*/ 151 h 513"/>
                <a:gd name="T10" fmla="*/ 587 w 633"/>
                <a:gd name="T11" fmla="*/ 174 h 513"/>
                <a:gd name="T12" fmla="*/ 583 w 633"/>
                <a:gd name="T13" fmla="*/ 217 h 513"/>
                <a:gd name="T14" fmla="*/ 599 w 633"/>
                <a:gd name="T15" fmla="*/ 238 h 513"/>
                <a:gd name="T16" fmla="*/ 591 w 633"/>
                <a:gd name="T17" fmla="*/ 260 h 513"/>
                <a:gd name="T18" fmla="*/ 603 w 633"/>
                <a:gd name="T19" fmla="*/ 280 h 513"/>
                <a:gd name="T20" fmla="*/ 632 w 633"/>
                <a:gd name="T21" fmla="*/ 303 h 513"/>
                <a:gd name="T22" fmla="*/ 624 w 633"/>
                <a:gd name="T23" fmla="*/ 350 h 513"/>
                <a:gd name="T24" fmla="*/ 604 w 633"/>
                <a:gd name="T25" fmla="*/ 375 h 513"/>
                <a:gd name="T26" fmla="*/ 566 w 633"/>
                <a:gd name="T27" fmla="*/ 394 h 513"/>
                <a:gd name="T28" fmla="*/ 532 w 633"/>
                <a:gd name="T29" fmla="*/ 420 h 513"/>
                <a:gd name="T30" fmla="*/ 549 w 633"/>
                <a:gd name="T31" fmla="*/ 455 h 513"/>
                <a:gd name="T32" fmla="*/ 524 w 633"/>
                <a:gd name="T33" fmla="*/ 473 h 513"/>
                <a:gd name="T34" fmla="*/ 473 w 633"/>
                <a:gd name="T35" fmla="*/ 469 h 513"/>
                <a:gd name="T36" fmla="*/ 455 w 633"/>
                <a:gd name="T37" fmla="*/ 494 h 513"/>
                <a:gd name="T38" fmla="*/ 430 w 633"/>
                <a:gd name="T39" fmla="*/ 479 h 513"/>
                <a:gd name="T40" fmla="*/ 394 w 633"/>
                <a:gd name="T41" fmla="*/ 475 h 513"/>
                <a:gd name="T42" fmla="*/ 369 w 633"/>
                <a:gd name="T43" fmla="*/ 512 h 513"/>
                <a:gd name="T44" fmla="*/ 342 w 633"/>
                <a:gd name="T45" fmla="*/ 501 h 513"/>
                <a:gd name="T46" fmla="*/ 298 w 633"/>
                <a:gd name="T47" fmla="*/ 492 h 513"/>
                <a:gd name="T48" fmla="*/ 273 w 633"/>
                <a:gd name="T49" fmla="*/ 499 h 513"/>
                <a:gd name="T50" fmla="*/ 239 w 633"/>
                <a:gd name="T51" fmla="*/ 498 h 513"/>
                <a:gd name="T52" fmla="*/ 195 w 633"/>
                <a:gd name="T53" fmla="*/ 493 h 513"/>
                <a:gd name="T54" fmla="*/ 164 w 633"/>
                <a:gd name="T55" fmla="*/ 508 h 513"/>
                <a:gd name="T56" fmla="*/ 127 w 633"/>
                <a:gd name="T57" fmla="*/ 508 h 513"/>
                <a:gd name="T58" fmla="*/ 101 w 633"/>
                <a:gd name="T59" fmla="*/ 493 h 513"/>
                <a:gd name="T60" fmla="*/ 87 w 633"/>
                <a:gd name="T61" fmla="*/ 456 h 513"/>
                <a:gd name="T62" fmla="*/ 84 w 633"/>
                <a:gd name="T63" fmla="*/ 439 h 513"/>
                <a:gd name="T64" fmla="*/ 78 w 633"/>
                <a:gd name="T65" fmla="*/ 424 h 513"/>
                <a:gd name="T66" fmla="*/ 111 w 633"/>
                <a:gd name="T67" fmla="*/ 404 h 513"/>
                <a:gd name="T68" fmla="*/ 117 w 633"/>
                <a:gd name="T69" fmla="*/ 367 h 513"/>
                <a:gd name="T70" fmla="*/ 110 w 633"/>
                <a:gd name="T71" fmla="*/ 311 h 513"/>
                <a:gd name="T72" fmla="*/ 74 w 633"/>
                <a:gd name="T73" fmla="*/ 283 h 513"/>
                <a:gd name="T74" fmla="*/ 33 w 633"/>
                <a:gd name="T75" fmla="*/ 269 h 513"/>
                <a:gd name="T76" fmla="*/ 2 w 633"/>
                <a:gd name="T77" fmla="*/ 265 h 513"/>
                <a:gd name="T78" fmla="*/ 5 w 633"/>
                <a:gd name="T79" fmla="*/ 235 h 513"/>
                <a:gd name="T80" fmla="*/ 27 w 633"/>
                <a:gd name="T81" fmla="*/ 212 h 513"/>
                <a:gd name="T82" fmla="*/ 69 w 633"/>
                <a:gd name="T83" fmla="*/ 184 h 513"/>
                <a:gd name="T84" fmla="*/ 113 w 633"/>
                <a:gd name="T85" fmla="*/ 171 h 513"/>
                <a:gd name="T86" fmla="*/ 149 w 633"/>
                <a:gd name="T87" fmla="*/ 158 h 513"/>
                <a:gd name="T88" fmla="*/ 176 w 633"/>
                <a:gd name="T89" fmla="*/ 133 h 513"/>
                <a:gd name="T90" fmla="*/ 236 w 633"/>
                <a:gd name="T91" fmla="*/ 127 h 513"/>
                <a:gd name="T92" fmla="*/ 287 w 633"/>
                <a:gd name="T93" fmla="*/ 120 h 513"/>
                <a:gd name="T94" fmla="*/ 299 w 633"/>
                <a:gd name="T95" fmla="*/ 88 h 513"/>
                <a:gd name="T96" fmla="*/ 318 w 633"/>
                <a:gd name="T97" fmla="*/ 59 h 513"/>
                <a:gd name="T98" fmla="*/ 340 w 633"/>
                <a:gd name="T99" fmla="*/ 53 h 513"/>
                <a:gd name="T100" fmla="*/ 361 w 633"/>
                <a:gd name="T101" fmla="*/ 65 h 513"/>
                <a:gd name="T102" fmla="*/ 404 w 633"/>
                <a:gd name="T103" fmla="*/ 32 h 513"/>
                <a:gd name="T104" fmla="*/ 435 w 633"/>
                <a:gd name="T105" fmla="*/ 21 h 513"/>
                <a:gd name="T106" fmla="*/ 306 w 633"/>
                <a:gd name="T107" fmla="*/ 213 h 513"/>
                <a:gd name="T108" fmla="*/ 269 w 633"/>
                <a:gd name="T109" fmla="*/ 227 h 513"/>
                <a:gd name="T110" fmla="*/ 258 w 633"/>
                <a:gd name="T111" fmla="*/ 252 h 513"/>
                <a:gd name="T112" fmla="*/ 269 w 633"/>
                <a:gd name="T113" fmla="*/ 285 h 513"/>
                <a:gd name="T114" fmla="*/ 280 w 633"/>
                <a:gd name="T115" fmla="*/ 308 h 513"/>
                <a:gd name="T116" fmla="*/ 326 w 633"/>
                <a:gd name="T117" fmla="*/ 289 h 513"/>
                <a:gd name="T118" fmla="*/ 368 w 633"/>
                <a:gd name="T119" fmla="*/ 286 h 513"/>
                <a:gd name="T120" fmla="*/ 383 w 633"/>
                <a:gd name="T121" fmla="*/ 252 h 513"/>
                <a:gd name="T122" fmla="*/ 356 w 633"/>
                <a:gd name="T123" fmla="*/ 22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513">
                  <a:moveTo>
                    <a:pt x="451" y="0"/>
                  </a:moveTo>
                  <a:lnTo>
                    <a:pt x="451" y="0"/>
                  </a:lnTo>
                  <a:lnTo>
                    <a:pt x="452" y="0"/>
                  </a:lnTo>
                  <a:lnTo>
                    <a:pt x="452" y="1"/>
                  </a:lnTo>
                  <a:lnTo>
                    <a:pt x="453" y="1"/>
                  </a:lnTo>
                  <a:lnTo>
                    <a:pt x="455" y="3"/>
                  </a:lnTo>
                  <a:lnTo>
                    <a:pt x="456" y="4"/>
                  </a:lnTo>
                  <a:lnTo>
                    <a:pt x="457" y="5"/>
                  </a:lnTo>
                  <a:lnTo>
                    <a:pt x="459" y="6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1" y="8"/>
                  </a:lnTo>
                  <a:lnTo>
                    <a:pt x="461" y="9"/>
                  </a:lnTo>
                  <a:lnTo>
                    <a:pt x="462" y="9"/>
                  </a:lnTo>
                  <a:lnTo>
                    <a:pt x="463" y="9"/>
                  </a:lnTo>
                  <a:lnTo>
                    <a:pt x="463" y="10"/>
                  </a:lnTo>
                  <a:lnTo>
                    <a:pt x="464" y="10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9"/>
                  </a:lnTo>
                  <a:lnTo>
                    <a:pt x="466" y="9"/>
                  </a:lnTo>
                  <a:lnTo>
                    <a:pt x="467" y="8"/>
                  </a:lnTo>
                  <a:lnTo>
                    <a:pt x="468" y="8"/>
                  </a:lnTo>
                  <a:lnTo>
                    <a:pt x="468" y="8"/>
                  </a:lnTo>
                  <a:lnTo>
                    <a:pt x="469" y="7"/>
                  </a:lnTo>
                  <a:lnTo>
                    <a:pt x="470" y="7"/>
                  </a:lnTo>
                  <a:lnTo>
                    <a:pt x="471" y="7"/>
                  </a:lnTo>
                  <a:lnTo>
                    <a:pt x="471" y="7"/>
                  </a:lnTo>
                  <a:lnTo>
                    <a:pt x="474" y="8"/>
                  </a:lnTo>
                  <a:lnTo>
                    <a:pt x="475" y="8"/>
                  </a:lnTo>
                  <a:lnTo>
                    <a:pt x="476" y="8"/>
                  </a:lnTo>
                  <a:lnTo>
                    <a:pt x="476" y="8"/>
                  </a:lnTo>
                  <a:lnTo>
                    <a:pt x="476" y="9"/>
                  </a:lnTo>
                  <a:lnTo>
                    <a:pt x="477" y="9"/>
                  </a:lnTo>
                  <a:lnTo>
                    <a:pt x="479" y="10"/>
                  </a:lnTo>
                  <a:lnTo>
                    <a:pt x="481" y="14"/>
                  </a:lnTo>
                  <a:lnTo>
                    <a:pt x="485" y="18"/>
                  </a:lnTo>
                  <a:lnTo>
                    <a:pt x="487" y="20"/>
                  </a:lnTo>
                  <a:lnTo>
                    <a:pt x="488" y="21"/>
                  </a:lnTo>
                  <a:lnTo>
                    <a:pt x="488" y="21"/>
                  </a:lnTo>
                  <a:lnTo>
                    <a:pt x="489" y="22"/>
                  </a:lnTo>
                  <a:lnTo>
                    <a:pt x="490" y="22"/>
                  </a:lnTo>
                  <a:lnTo>
                    <a:pt x="491" y="22"/>
                  </a:lnTo>
                  <a:lnTo>
                    <a:pt x="493" y="23"/>
                  </a:lnTo>
                  <a:lnTo>
                    <a:pt x="494" y="24"/>
                  </a:lnTo>
                  <a:lnTo>
                    <a:pt x="495" y="24"/>
                  </a:lnTo>
                  <a:lnTo>
                    <a:pt x="496" y="25"/>
                  </a:lnTo>
                  <a:lnTo>
                    <a:pt x="497" y="26"/>
                  </a:lnTo>
                  <a:lnTo>
                    <a:pt x="499" y="27"/>
                  </a:lnTo>
                  <a:lnTo>
                    <a:pt x="500" y="28"/>
                  </a:lnTo>
                  <a:lnTo>
                    <a:pt x="501" y="29"/>
                  </a:lnTo>
                  <a:lnTo>
                    <a:pt x="501" y="30"/>
                  </a:lnTo>
                  <a:lnTo>
                    <a:pt x="502" y="31"/>
                  </a:lnTo>
                  <a:lnTo>
                    <a:pt x="503" y="32"/>
                  </a:lnTo>
                  <a:lnTo>
                    <a:pt x="505" y="35"/>
                  </a:lnTo>
                  <a:lnTo>
                    <a:pt x="505" y="36"/>
                  </a:lnTo>
                  <a:lnTo>
                    <a:pt x="505" y="37"/>
                  </a:lnTo>
                  <a:lnTo>
                    <a:pt x="506" y="37"/>
                  </a:lnTo>
                  <a:lnTo>
                    <a:pt x="507" y="38"/>
                  </a:lnTo>
                  <a:lnTo>
                    <a:pt x="508" y="38"/>
                  </a:lnTo>
                  <a:lnTo>
                    <a:pt x="508" y="39"/>
                  </a:lnTo>
                  <a:lnTo>
                    <a:pt x="509" y="39"/>
                  </a:lnTo>
                  <a:lnTo>
                    <a:pt x="511" y="40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18" y="43"/>
                  </a:lnTo>
                  <a:lnTo>
                    <a:pt x="519" y="44"/>
                  </a:lnTo>
                  <a:lnTo>
                    <a:pt x="518" y="45"/>
                  </a:lnTo>
                  <a:lnTo>
                    <a:pt x="517" y="46"/>
                  </a:lnTo>
                  <a:lnTo>
                    <a:pt x="515" y="48"/>
                  </a:lnTo>
                  <a:lnTo>
                    <a:pt x="514" y="49"/>
                  </a:lnTo>
                  <a:lnTo>
                    <a:pt x="513" y="50"/>
                  </a:lnTo>
                  <a:lnTo>
                    <a:pt x="512" y="51"/>
                  </a:lnTo>
                  <a:lnTo>
                    <a:pt x="512" y="52"/>
                  </a:lnTo>
                  <a:lnTo>
                    <a:pt x="512" y="52"/>
                  </a:lnTo>
                  <a:lnTo>
                    <a:pt x="512" y="53"/>
                  </a:lnTo>
                  <a:lnTo>
                    <a:pt x="512" y="54"/>
                  </a:lnTo>
                  <a:lnTo>
                    <a:pt x="512" y="54"/>
                  </a:lnTo>
                  <a:lnTo>
                    <a:pt x="512" y="55"/>
                  </a:lnTo>
                  <a:lnTo>
                    <a:pt x="512" y="56"/>
                  </a:lnTo>
                  <a:lnTo>
                    <a:pt x="513" y="58"/>
                  </a:lnTo>
                  <a:lnTo>
                    <a:pt x="514" y="60"/>
                  </a:lnTo>
                  <a:lnTo>
                    <a:pt x="514" y="61"/>
                  </a:lnTo>
                  <a:lnTo>
                    <a:pt x="515" y="63"/>
                  </a:lnTo>
                  <a:lnTo>
                    <a:pt x="516" y="65"/>
                  </a:lnTo>
                  <a:lnTo>
                    <a:pt x="516" y="66"/>
                  </a:lnTo>
                  <a:lnTo>
                    <a:pt x="516" y="66"/>
                  </a:lnTo>
                  <a:lnTo>
                    <a:pt x="516" y="67"/>
                  </a:lnTo>
                  <a:lnTo>
                    <a:pt x="516" y="69"/>
                  </a:lnTo>
                  <a:lnTo>
                    <a:pt x="516" y="74"/>
                  </a:lnTo>
                  <a:lnTo>
                    <a:pt x="516" y="75"/>
                  </a:lnTo>
                  <a:lnTo>
                    <a:pt x="516" y="76"/>
                  </a:lnTo>
                  <a:lnTo>
                    <a:pt x="517" y="77"/>
                  </a:lnTo>
                  <a:lnTo>
                    <a:pt x="517" y="78"/>
                  </a:lnTo>
                  <a:lnTo>
                    <a:pt x="517" y="78"/>
                  </a:lnTo>
                  <a:lnTo>
                    <a:pt x="518" y="80"/>
                  </a:lnTo>
                  <a:lnTo>
                    <a:pt x="519" y="81"/>
                  </a:lnTo>
                  <a:lnTo>
                    <a:pt x="519" y="82"/>
                  </a:lnTo>
                  <a:lnTo>
                    <a:pt x="520" y="83"/>
                  </a:lnTo>
                  <a:lnTo>
                    <a:pt x="520" y="84"/>
                  </a:lnTo>
                  <a:lnTo>
                    <a:pt x="521" y="87"/>
                  </a:lnTo>
                  <a:lnTo>
                    <a:pt x="522" y="89"/>
                  </a:lnTo>
                  <a:lnTo>
                    <a:pt x="522" y="90"/>
                  </a:lnTo>
                  <a:lnTo>
                    <a:pt x="522" y="91"/>
                  </a:lnTo>
                  <a:lnTo>
                    <a:pt x="522" y="93"/>
                  </a:lnTo>
                  <a:lnTo>
                    <a:pt x="521" y="94"/>
                  </a:lnTo>
                  <a:lnTo>
                    <a:pt x="521" y="95"/>
                  </a:lnTo>
                  <a:lnTo>
                    <a:pt x="520" y="96"/>
                  </a:lnTo>
                  <a:lnTo>
                    <a:pt x="520" y="97"/>
                  </a:lnTo>
                  <a:lnTo>
                    <a:pt x="518" y="99"/>
                  </a:lnTo>
                  <a:lnTo>
                    <a:pt x="518" y="100"/>
                  </a:lnTo>
                  <a:lnTo>
                    <a:pt x="517" y="101"/>
                  </a:lnTo>
                  <a:lnTo>
                    <a:pt x="516" y="104"/>
                  </a:lnTo>
                  <a:lnTo>
                    <a:pt x="516" y="105"/>
                  </a:lnTo>
                  <a:lnTo>
                    <a:pt x="516" y="105"/>
                  </a:lnTo>
                  <a:lnTo>
                    <a:pt x="515" y="105"/>
                  </a:lnTo>
                  <a:lnTo>
                    <a:pt x="515" y="106"/>
                  </a:lnTo>
                  <a:lnTo>
                    <a:pt x="514" y="106"/>
                  </a:lnTo>
                  <a:lnTo>
                    <a:pt x="512" y="108"/>
                  </a:lnTo>
                  <a:lnTo>
                    <a:pt x="511" y="108"/>
                  </a:lnTo>
                  <a:lnTo>
                    <a:pt x="511" y="108"/>
                  </a:lnTo>
                  <a:lnTo>
                    <a:pt x="510" y="109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09" y="111"/>
                  </a:lnTo>
                  <a:lnTo>
                    <a:pt x="509" y="111"/>
                  </a:lnTo>
                  <a:lnTo>
                    <a:pt x="509" y="112"/>
                  </a:lnTo>
                  <a:lnTo>
                    <a:pt x="509" y="113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5"/>
                  </a:lnTo>
                  <a:lnTo>
                    <a:pt x="511" y="117"/>
                  </a:lnTo>
                  <a:lnTo>
                    <a:pt x="512" y="118"/>
                  </a:lnTo>
                  <a:lnTo>
                    <a:pt x="512" y="119"/>
                  </a:lnTo>
                  <a:lnTo>
                    <a:pt x="513" y="120"/>
                  </a:lnTo>
                  <a:lnTo>
                    <a:pt x="513" y="121"/>
                  </a:lnTo>
                  <a:lnTo>
                    <a:pt x="513" y="122"/>
                  </a:lnTo>
                  <a:lnTo>
                    <a:pt x="514" y="123"/>
                  </a:lnTo>
                  <a:lnTo>
                    <a:pt x="514" y="124"/>
                  </a:lnTo>
                  <a:lnTo>
                    <a:pt x="515" y="124"/>
                  </a:lnTo>
                  <a:lnTo>
                    <a:pt x="515" y="125"/>
                  </a:lnTo>
                  <a:lnTo>
                    <a:pt x="516" y="125"/>
                  </a:lnTo>
                  <a:lnTo>
                    <a:pt x="517" y="126"/>
                  </a:lnTo>
                  <a:lnTo>
                    <a:pt x="518" y="126"/>
                  </a:lnTo>
                  <a:lnTo>
                    <a:pt x="518" y="126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0" y="127"/>
                  </a:lnTo>
                  <a:lnTo>
                    <a:pt x="521" y="127"/>
                  </a:lnTo>
                  <a:lnTo>
                    <a:pt x="524" y="127"/>
                  </a:lnTo>
                  <a:lnTo>
                    <a:pt x="525" y="128"/>
                  </a:lnTo>
                  <a:lnTo>
                    <a:pt x="525" y="128"/>
                  </a:lnTo>
                  <a:lnTo>
                    <a:pt x="527" y="128"/>
                  </a:lnTo>
                  <a:lnTo>
                    <a:pt x="528" y="129"/>
                  </a:lnTo>
                  <a:lnTo>
                    <a:pt x="529" y="129"/>
                  </a:lnTo>
                  <a:lnTo>
                    <a:pt x="529" y="130"/>
                  </a:lnTo>
                  <a:lnTo>
                    <a:pt x="530" y="130"/>
                  </a:lnTo>
                  <a:lnTo>
                    <a:pt x="531" y="132"/>
                  </a:lnTo>
                  <a:lnTo>
                    <a:pt x="531" y="132"/>
                  </a:lnTo>
                  <a:lnTo>
                    <a:pt x="532" y="133"/>
                  </a:lnTo>
                  <a:lnTo>
                    <a:pt x="533" y="134"/>
                  </a:lnTo>
                  <a:lnTo>
                    <a:pt x="534" y="135"/>
                  </a:lnTo>
                  <a:lnTo>
                    <a:pt x="536" y="137"/>
                  </a:lnTo>
                  <a:lnTo>
                    <a:pt x="536" y="137"/>
                  </a:lnTo>
                  <a:lnTo>
                    <a:pt x="537" y="138"/>
                  </a:lnTo>
                  <a:lnTo>
                    <a:pt x="537" y="139"/>
                  </a:lnTo>
                  <a:lnTo>
                    <a:pt x="538" y="139"/>
                  </a:lnTo>
                  <a:lnTo>
                    <a:pt x="538" y="140"/>
                  </a:lnTo>
                  <a:lnTo>
                    <a:pt x="538" y="142"/>
                  </a:lnTo>
                  <a:lnTo>
                    <a:pt x="538" y="144"/>
                  </a:lnTo>
                  <a:lnTo>
                    <a:pt x="538" y="144"/>
                  </a:lnTo>
                  <a:lnTo>
                    <a:pt x="538" y="145"/>
                  </a:lnTo>
                  <a:lnTo>
                    <a:pt x="538" y="146"/>
                  </a:lnTo>
                  <a:lnTo>
                    <a:pt x="539" y="147"/>
                  </a:lnTo>
                  <a:lnTo>
                    <a:pt x="539" y="148"/>
                  </a:lnTo>
                  <a:lnTo>
                    <a:pt x="539" y="148"/>
                  </a:lnTo>
                  <a:lnTo>
                    <a:pt x="540" y="149"/>
                  </a:lnTo>
                  <a:lnTo>
                    <a:pt x="540" y="149"/>
                  </a:lnTo>
                  <a:lnTo>
                    <a:pt x="541" y="150"/>
                  </a:lnTo>
                  <a:lnTo>
                    <a:pt x="542" y="150"/>
                  </a:lnTo>
                  <a:lnTo>
                    <a:pt x="542" y="151"/>
                  </a:lnTo>
                  <a:lnTo>
                    <a:pt x="543" y="151"/>
                  </a:lnTo>
                  <a:lnTo>
                    <a:pt x="544" y="151"/>
                  </a:lnTo>
                  <a:lnTo>
                    <a:pt x="545" y="152"/>
                  </a:lnTo>
                  <a:lnTo>
                    <a:pt x="545" y="152"/>
                  </a:lnTo>
                  <a:lnTo>
                    <a:pt x="546" y="152"/>
                  </a:lnTo>
                  <a:lnTo>
                    <a:pt x="547" y="152"/>
                  </a:lnTo>
                  <a:lnTo>
                    <a:pt x="548" y="152"/>
                  </a:lnTo>
                  <a:lnTo>
                    <a:pt x="552" y="151"/>
                  </a:lnTo>
                  <a:lnTo>
                    <a:pt x="553" y="151"/>
                  </a:lnTo>
                  <a:lnTo>
                    <a:pt x="554" y="151"/>
                  </a:lnTo>
                  <a:lnTo>
                    <a:pt x="558" y="152"/>
                  </a:lnTo>
                  <a:lnTo>
                    <a:pt x="561" y="152"/>
                  </a:lnTo>
                  <a:lnTo>
                    <a:pt x="564" y="153"/>
                  </a:lnTo>
                  <a:lnTo>
                    <a:pt x="565" y="153"/>
                  </a:lnTo>
                  <a:lnTo>
                    <a:pt x="566" y="153"/>
                  </a:lnTo>
                  <a:lnTo>
                    <a:pt x="567" y="153"/>
                  </a:lnTo>
                  <a:lnTo>
                    <a:pt x="568" y="152"/>
                  </a:lnTo>
                  <a:lnTo>
                    <a:pt x="572" y="151"/>
                  </a:lnTo>
                  <a:lnTo>
                    <a:pt x="574" y="150"/>
                  </a:lnTo>
                  <a:lnTo>
                    <a:pt x="575" y="150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8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1" y="149"/>
                  </a:lnTo>
                  <a:lnTo>
                    <a:pt x="581" y="150"/>
                  </a:lnTo>
                  <a:lnTo>
                    <a:pt x="582" y="151"/>
                  </a:lnTo>
                  <a:lnTo>
                    <a:pt x="584" y="152"/>
                  </a:lnTo>
                  <a:lnTo>
                    <a:pt x="584" y="153"/>
                  </a:lnTo>
                  <a:lnTo>
                    <a:pt x="585" y="153"/>
                  </a:lnTo>
                  <a:lnTo>
                    <a:pt x="586" y="154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7" y="156"/>
                  </a:lnTo>
                  <a:lnTo>
                    <a:pt x="587" y="158"/>
                  </a:lnTo>
                  <a:lnTo>
                    <a:pt x="587" y="158"/>
                  </a:lnTo>
                  <a:lnTo>
                    <a:pt x="587" y="160"/>
                  </a:lnTo>
                  <a:lnTo>
                    <a:pt x="587" y="162"/>
                  </a:lnTo>
                  <a:lnTo>
                    <a:pt x="588" y="165"/>
                  </a:lnTo>
                  <a:lnTo>
                    <a:pt x="588" y="167"/>
                  </a:lnTo>
                  <a:lnTo>
                    <a:pt x="587" y="168"/>
                  </a:lnTo>
                  <a:lnTo>
                    <a:pt x="587" y="171"/>
                  </a:lnTo>
                  <a:lnTo>
                    <a:pt x="587" y="172"/>
                  </a:lnTo>
                  <a:lnTo>
                    <a:pt x="587" y="173"/>
                  </a:lnTo>
                  <a:lnTo>
                    <a:pt x="587" y="174"/>
                  </a:lnTo>
                  <a:lnTo>
                    <a:pt x="587" y="176"/>
                  </a:lnTo>
                  <a:lnTo>
                    <a:pt x="587" y="178"/>
                  </a:lnTo>
                  <a:lnTo>
                    <a:pt x="587" y="179"/>
                  </a:lnTo>
                  <a:lnTo>
                    <a:pt x="587" y="179"/>
                  </a:lnTo>
                  <a:lnTo>
                    <a:pt x="587" y="180"/>
                  </a:lnTo>
                  <a:lnTo>
                    <a:pt x="588" y="182"/>
                  </a:lnTo>
                  <a:lnTo>
                    <a:pt x="589" y="183"/>
                  </a:lnTo>
                  <a:lnTo>
                    <a:pt x="591" y="185"/>
                  </a:lnTo>
                  <a:lnTo>
                    <a:pt x="591" y="186"/>
                  </a:lnTo>
                  <a:lnTo>
                    <a:pt x="592" y="188"/>
                  </a:lnTo>
                  <a:lnTo>
                    <a:pt x="592" y="189"/>
                  </a:lnTo>
                  <a:lnTo>
                    <a:pt x="593" y="191"/>
                  </a:lnTo>
                  <a:lnTo>
                    <a:pt x="593" y="191"/>
                  </a:lnTo>
                  <a:lnTo>
                    <a:pt x="593" y="192"/>
                  </a:lnTo>
                  <a:lnTo>
                    <a:pt x="593" y="192"/>
                  </a:lnTo>
                  <a:lnTo>
                    <a:pt x="593" y="193"/>
                  </a:lnTo>
                  <a:lnTo>
                    <a:pt x="593" y="194"/>
                  </a:lnTo>
                  <a:lnTo>
                    <a:pt x="592" y="195"/>
                  </a:lnTo>
                  <a:lnTo>
                    <a:pt x="592" y="196"/>
                  </a:lnTo>
                  <a:lnTo>
                    <a:pt x="591" y="198"/>
                  </a:lnTo>
                  <a:lnTo>
                    <a:pt x="591" y="199"/>
                  </a:lnTo>
                  <a:lnTo>
                    <a:pt x="590" y="200"/>
                  </a:lnTo>
                  <a:lnTo>
                    <a:pt x="589" y="202"/>
                  </a:lnTo>
                  <a:lnTo>
                    <a:pt x="588" y="203"/>
                  </a:lnTo>
                  <a:lnTo>
                    <a:pt x="587" y="204"/>
                  </a:lnTo>
                  <a:lnTo>
                    <a:pt x="586" y="206"/>
                  </a:lnTo>
                  <a:lnTo>
                    <a:pt x="585" y="207"/>
                  </a:lnTo>
                  <a:lnTo>
                    <a:pt x="584" y="208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0"/>
                  </a:lnTo>
                  <a:lnTo>
                    <a:pt x="583" y="211"/>
                  </a:lnTo>
                  <a:lnTo>
                    <a:pt x="584" y="212"/>
                  </a:lnTo>
                  <a:lnTo>
                    <a:pt x="584" y="213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7"/>
                  </a:lnTo>
                  <a:lnTo>
                    <a:pt x="583" y="218"/>
                  </a:lnTo>
                  <a:lnTo>
                    <a:pt x="583" y="218"/>
                  </a:lnTo>
                  <a:lnTo>
                    <a:pt x="584" y="218"/>
                  </a:lnTo>
                  <a:lnTo>
                    <a:pt x="585" y="219"/>
                  </a:lnTo>
                  <a:lnTo>
                    <a:pt x="588" y="220"/>
                  </a:lnTo>
                  <a:lnTo>
                    <a:pt x="592" y="221"/>
                  </a:lnTo>
                  <a:lnTo>
                    <a:pt x="593" y="221"/>
                  </a:lnTo>
                  <a:lnTo>
                    <a:pt x="594" y="221"/>
                  </a:lnTo>
                  <a:lnTo>
                    <a:pt x="596" y="222"/>
                  </a:lnTo>
                  <a:lnTo>
                    <a:pt x="597" y="222"/>
                  </a:lnTo>
                  <a:lnTo>
                    <a:pt x="598" y="222"/>
                  </a:lnTo>
                  <a:lnTo>
                    <a:pt x="599" y="223"/>
                  </a:lnTo>
                  <a:lnTo>
                    <a:pt x="600" y="223"/>
                  </a:lnTo>
                  <a:lnTo>
                    <a:pt x="602" y="225"/>
                  </a:lnTo>
                  <a:lnTo>
                    <a:pt x="603" y="226"/>
                  </a:lnTo>
                  <a:lnTo>
                    <a:pt x="605" y="226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6" y="228"/>
                  </a:lnTo>
                  <a:lnTo>
                    <a:pt x="606" y="228"/>
                  </a:lnTo>
                  <a:lnTo>
                    <a:pt x="606" y="229"/>
                  </a:lnTo>
                  <a:lnTo>
                    <a:pt x="606" y="229"/>
                  </a:lnTo>
                  <a:lnTo>
                    <a:pt x="606" y="230"/>
                  </a:lnTo>
                  <a:lnTo>
                    <a:pt x="606" y="231"/>
                  </a:lnTo>
                  <a:lnTo>
                    <a:pt x="606" y="231"/>
                  </a:lnTo>
                  <a:lnTo>
                    <a:pt x="606" y="233"/>
                  </a:lnTo>
                  <a:lnTo>
                    <a:pt x="606" y="234"/>
                  </a:lnTo>
                  <a:lnTo>
                    <a:pt x="606" y="235"/>
                  </a:lnTo>
                  <a:lnTo>
                    <a:pt x="605" y="235"/>
                  </a:lnTo>
                  <a:lnTo>
                    <a:pt x="605" y="236"/>
                  </a:lnTo>
                  <a:lnTo>
                    <a:pt x="605" y="236"/>
                  </a:lnTo>
                  <a:lnTo>
                    <a:pt x="604" y="236"/>
                  </a:lnTo>
                  <a:lnTo>
                    <a:pt x="603" y="236"/>
                  </a:lnTo>
                  <a:lnTo>
                    <a:pt x="603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8" y="238"/>
                  </a:lnTo>
                  <a:lnTo>
                    <a:pt x="598" y="239"/>
                  </a:lnTo>
                  <a:lnTo>
                    <a:pt x="597" y="239"/>
                  </a:lnTo>
                  <a:lnTo>
                    <a:pt x="597" y="239"/>
                  </a:lnTo>
                  <a:lnTo>
                    <a:pt x="597" y="240"/>
                  </a:lnTo>
                  <a:lnTo>
                    <a:pt x="597" y="240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7" y="241"/>
                  </a:lnTo>
                  <a:lnTo>
                    <a:pt x="598" y="242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9" y="244"/>
                  </a:lnTo>
                  <a:lnTo>
                    <a:pt x="599" y="244"/>
                  </a:lnTo>
                  <a:lnTo>
                    <a:pt x="599" y="245"/>
                  </a:lnTo>
                  <a:lnTo>
                    <a:pt x="599" y="245"/>
                  </a:lnTo>
                  <a:lnTo>
                    <a:pt x="598" y="246"/>
                  </a:lnTo>
                  <a:lnTo>
                    <a:pt x="598" y="247"/>
                  </a:lnTo>
                  <a:lnTo>
                    <a:pt x="598" y="247"/>
                  </a:lnTo>
                  <a:lnTo>
                    <a:pt x="598" y="249"/>
                  </a:lnTo>
                  <a:lnTo>
                    <a:pt x="597" y="251"/>
                  </a:lnTo>
                  <a:lnTo>
                    <a:pt x="597" y="252"/>
                  </a:lnTo>
                  <a:lnTo>
                    <a:pt x="597" y="253"/>
                  </a:lnTo>
                  <a:lnTo>
                    <a:pt x="597" y="254"/>
                  </a:lnTo>
                  <a:lnTo>
                    <a:pt x="596" y="254"/>
                  </a:lnTo>
                  <a:lnTo>
                    <a:pt x="596" y="255"/>
                  </a:lnTo>
                  <a:lnTo>
                    <a:pt x="596" y="255"/>
                  </a:lnTo>
                  <a:lnTo>
                    <a:pt x="595" y="256"/>
                  </a:lnTo>
                  <a:lnTo>
                    <a:pt x="594" y="256"/>
                  </a:lnTo>
                  <a:lnTo>
                    <a:pt x="592" y="258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59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0"/>
                  </a:lnTo>
                  <a:lnTo>
                    <a:pt x="591" y="261"/>
                  </a:lnTo>
                  <a:lnTo>
                    <a:pt x="592" y="262"/>
                  </a:lnTo>
                  <a:lnTo>
                    <a:pt x="592" y="262"/>
                  </a:lnTo>
                  <a:lnTo>
                    <a:pt x="593" y="263"/>
                  </a:lnTo>
                  <a:lnTo>
                    <a:pt x="593" y="263"/>
                  </a:lnTo>
                  <a:lnTo>
                    <a:pt x="592" y="263"/>
                  </a:lnTo>
                  <a:lnTo>
                    <a:pt x="592" y="263"/>
                  </a:lnTo>
                  <a:lnTo>
                    <a:pt x="592" y="264"/>
                  </a:lnTo>
                  <a:lnTo>
                    <a:pt x="591" y="264"/>
                  </a:lnTo>
                  <a:lnTo>
                    <a:pt x="589" y="265"/>
                  </a:lnTo>
                  <a:lnTo>
                    <a:pt x="589" y="265"/>
                  </a:lnTo>
                  <a:lnTo>
                    <a:pt x="588" y="265"/>
                  </a:lnTo>
                  <a:lnTo>
                    <a:pt x="588" y="266"/>
                  </a:lnTo>
                  <a:lnTo>
                    <a:pt x="587" y="266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7"/>
                  </a:lnTo>
                  <a:lnTo>
                    <a:pt x="587" y="268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7" y="270"/>
                  </a:lnTo>
                  <a:lnTo>
                    <a:pt x="588" y="271"/>
                  </a:lnTo>
                  <a:lnTo>
                    <a:pt x="588" y="272"/>
                  </a:lnTo>
                  <a:lnTo>
                    <a:pt x="589" y="272"/>
                  </a:lnTo>
                  <a:lnTo>
                    <a:pt x="590" y="273"/>
                  </a:lnTo>
                  <a:lnTo>
                    <a:pt x="591" y="274"/>
                  </a:lnTo>
                  <a:lnTo>
                    <a:pt x="592" y="274"/>
                  </a:lnTo>
                  <a:lnTo>
                    <a:pt x="593" y="275"/>
                  </a:lnTo>
                  <a:lnTo>
                    <a:pt x="594" y="275"/>
                  </a:lnTo>
                  <a:lnTo>
                    <a:pt x="595" y="276"/>
                  </a:lnTo>
                  <a:lnTo>
                    <a:pt x="598" y="276"/>
                  </a:lnTo>
                  <a:lnTo>
                    <a:pt x="598" y="277"/>
                  </a:lnTo>
                  <a:lnTo>
                    <a:pt x="599" y="277"/>
                  </a:lnTo>
                  <a:lnTo>
                    <a:pt x="601" y="278"/>
                  </a:lnTo>
                  <a:lnTo>
                    <a:pt x="601" y="278"/>
                  </a:lnTo>
                  <a:lnTo>
                    <a:pt x="602" y="279"/>
                  </a:lnTo>
                  <a:lnTo>
                    <a:pt x="603" y="279"/>
                  </a:lnTo>
                  <a:lnTo>
                    <a:pt x="603" y="280"/>
                  </a:lnTo>
                  <a:lnTo>
                    <a:pt x="604" y="280"/>
                  </a:lnTo>
                  <a:lnTo>
                    <a:pt x="604" y="280"/>
                  </a:lnTo>
                  <a:lnTo>
                    <a:pt x="605" y="281"/>
                  </a:lnTo>
                  <a:lnTo>
                    <a:pt x="607" y="281"/>
                  </a:lnTo>
                  <a:lnTo>
                    <a:pt x="608" y="282"/>
                  </a:lnTo>
                  <a:lnTo>
                    <a:pt x="610" y="282"/>
                  </a:lnTo>
                  <a:lnTo>
                    <a:pt x="610" y="282"/>
                  </a:lnTo>
                  <a:lnTo>
                    <a:pt x="611" y="282"/>
                  </a:lnTo>
                  <a:lnTo>
                    <a:pt x="611" y="282"/>
                  </a:lnTo>
                  <a:lnTo>
                    <a:pt x="611" y="283"/>
                  </a:lnTo>
                  <a:lnTo>
                    <a:pt x="612" y="284"/>
                  </a:lnTo>
                  <a:lnTo>
                    <a:pt x="613" y="284"/>
                  </a:lnTo>
                  <a:lnTo>
                    <a:pt x="613" y="284"/>
                  </a:lnTo>
                  <a:lnTo>
                    <a:pt x="614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5"/>
                  </a:lnTo>
                  <a:lnTo>
                    <a:pt x="615" y="286"/>
                  </a:lnTo>
                  <a:lnTo>
                    <a:pt x="616" y="286"/>
                  </a:lnTo>
                  <a:lnTo>
                    <a:pt x="616" y="287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1"/>
                  </a:lnTo>
                  <a:lnTo>
                    <a:pt x="616" y="291"/>
                  </a:lnTo>
                  <a:lnTo>
                    <a:pt x="616" y="292"/>
                  </a:lnTo>
                  <a:lnTo>
                    <a:pt x="617" y="293"/>
                  </a:lnTo>
                  <a:lnTo>
                    <a:pt x="617" y="293"/>
                  </a:lnTo>
                  <a:lnTo>
                    <a:pt x="618" y="294"/>
                  </a:lnTo>
                  <a:lnTo>
                    <a:pt x="620" y="295"/>
                  </a:lnTo>
                  <a:lnTo>
                    <a:pt x="621" y="296"/>
                  </a:lnTo>
                  <a:lnTo>
                    <a:pt x="622" y="297"/>
                  </a:lnTo>
                  <a:lnTo>
                    <a:pt x="624" y="298"/>
                  </a:lnTo>
                  <a:lnTo>
                    <a:pt x="625" y="299"/>
                  </a:lnTo>
                  <a:lnTo>
                    <a:pt x="628" y="300"/>
                  </a:lnTo>
                  <a:lnTo>
                    <a:pt x="629" y="301"/>
                  </a:lnTo>
                  <a:lnTo>
                    <a:pt x="630" y="301"/>
                  </a:lnTo>
                  <a:lnTo>
                    <a:pt x="631" y="302"/>
                  </a:lnTo>
                  <a:lnTo>
                    <a:pt x="632" y="303"/>
                  </a:lnTo>
                  <a:lnTo>
                    <a:pt x="632" y="304"/>
                  </a:lnTo>
                  <a:lnTo>
                    <a:pt x="633" y="304"/>
                  </a:lnTo>
                  <a:lnTo>
                    <a:pt x="633" y="305"/>
                  </a:lnTo>
                  <a:lnTo>
                    <a:pt x="633" y="306"/>
                  </a:lnTo>
                  <a:lnTo>
                    <a:pt x="633" y="307"/>
                  </a:lnTo>
                  <a:lnTo>
                    <a:pt x="633" y="307"/>
                  </a:lnTo>
                  <a:lnTo>
                    <a:pt x="633" y="309"/>
                  </a:lnTo>
                  <a:lnTo>
                    <a:pt x="632" y="311"/>
                  </a:lnTo>
                  <a:lnTo>
                    <a:pt x="632" y="312"/>
                  </a:lnTo>
                  <a:lnTo>
                    <a:pt x="632" y="312"/>
                  </a:lnTo>
                  <a:lnTo>
                    <a:pt x="632" y="313"/>
                  </a:lnTo>
                  <a:lnTo>
                    <a:pt x="632" y="314"/>
                  </a:lnTo>
                  <a:lnTo>
                    <a:pt x="632" y="314"/>
                  </a:lnTo>
                  <a:lnTo>
                    <a:pt x="633" y="317"/>
                  </a:lnTo>
                  <a:lnTo>
                    <a:pt x="633" y="318"/>
                  </a:lnTo>
                  <a:lnTo>
                    <a:pt x="633" y="319"/>
                  </a:lnTo>
                  <a:lnTo>
                    <a:pt x="633" y="320"/>
                  </a:lnTo>
                  <a:lnTo>
                    <a:pt x="633" y="321"/>
                  </a:lnTo>
                  <a:lnTo>
                    <a:pt x="633" y="322"/>
                  </a:lnTo>
                  <a:lnTo>
                    <a:pt x="632" y="324"/>
                  </a:lnTo>
                  <a:lnTo>
                    <a:pt x="631" y="325"/>
                  </a:lnTo>
                  <a:lnTo>
                    <a:pt x="630" y="329"/>
                  </a:lnTo>
                  <a:lnTo>
                    <a:pt x="629" y="330"/>
                  </a:lnTo>
                  <a:lnTo>
                    <a:pt x="629" y="331"/>
                  </a:lnTo>
                  <a:lnTo>
                    <a:pt x="627" y="333"/>
                  </a:lnTo>
                  <a:lnTo>
                    <a:pt x="627" y="333"/>
                  </a:lnTo>
                  <a:lnTo>
                    <a:pt x="626" y="334"/>
                  </a:lnTo>
                  <a:lnTo>
                    <a:pt x="626" y="335"/>
                  </a:lnTo>
                  <a:lnTo>
                    <a:pt x="626" y="336"/>
                  </a:lnTo>
                  <a:lnTo>
                    <a:pt x="626" y="336"/>
                  </a:lnTo>
                  <a:lnTo>
                    <a:pt x="626" y="340"/>
                  </a:lnTo>
                  <a:lnTo>
                    <a:pt x="625" y="343"/>
                  </a:lnTo>
                  <a:lnTo>
                    <a:pt x="625" y="347"/>
                  </a:lnTo>
                  <a:lnTo>
                    <a:pt x="624" y="349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49"/>
                  </a:lnTo>
                  <a:lnTo>
                    <a:pt x="624" y="350"/>
                  </a:lnTo>
                  <a:lnTo>
                    <a:pt x="624" y="350"/>
                  </a:lnTo>
                  <a:lnTo>
                    <a:pt x="624" y="351"/>
                  </a:lnTo>
                  <a:lnTo>
                    <a:pt x="623" y="351"/>
                  </a:lnTo>
                  <a:lnTo>
                    <a:pt x="623" y="352"/>
                  </a:lnTo>
                  <a:lnTo>
                    <a:pt x="622" y="353"/>
                  </a:lnTo>
                  <a:lnTo>
                    <a:pt x="619" y="354"/>
                  </a:lnTo>
                  <a:lnTo>
                    <a:pt x="617" y="356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6" y="357"/>
                  </a:lnTo>
                  <a:lnTo>
                    <a:pt x="615" y="358"/>
                  </a:lnTo>
                  <a:lnTo>
                    <a:pt x="614" y="358"/>
                  </a:lnTo>
                  <a:lnTo>
                    <a:pt x="613" y="358"/>
                  </a:lnTo>
                  <a:lnTo>
                    <a:pt x="611" y="358"/>
                  </a:lnTo>
                  <a:lnTo>
                    <a:pt x="610" y="358"/>
                  </a:lnTo>
                  <a:lnTo>
                    <a:pt x="609" y="359"/>
                  </a:lnTo>
                  <a:lnTo>
                    <a:pt x="608" y="359"/>
                  </a:lnTo>
                  <a:lnTo>
                    <a:pt x="607" y="359"/>
                  </a:lnTo>
                  <a:lnTo>
                    <a:pt x="607" y="360"/>
                  </a:lnTo>
                  <a:lnTo>
                    <a:pt x="606" y="360"/>
                  </a:lnTo>
                  <a:lnTo>
                    <a:pt x="606" y="361"/>
                  </a:lnTo>
                  <a:lnTo>
                    <a:pt x="604" y="362"/>
                  </a:lnTo>
                  <a:lnTo>
                    <a:pt x="603" y="363"/>
                  </a:lnTo>
                  <a:lnTo>
                    <a:pt x="603" y="364"/>
                  </a:lnTo>
                  <a:lnTo>
                    <a:pt x="603" y="364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6"/>
                  </a:lnTo>
                  <a:lnTo>
                    <a:pt x="602" y="367"/>
                  </a:lnTo>
                  <a:lnTo>
                    <a:pt x="602" y="367"/>
                  </a:lnTo>
                  <a:lnTo>
                    <a:pt x="602" y="368"/>
                  </a:lnTo>
                  <a:lnTo>
                    <a:pt x="602" y="369"/>
                  </a:lnTo>
                  <a:lnTo>
                    <a:pt x="602" y="369"/>
                  </a:lnTo>
                  <a:lnTo>
                    <a:pt x="603" y="372"/>
                  </a:lnTo>
                  <a:lnTo>
                    <a:pt x="604" y="373"/>
                  </a:lnTo>
                  <a:lnTo>
                    <a:pt x="604" y="374"/>
                  </a:lnTo>
                  <a:lnTo>
                    <a:pt x="604" y="375"/>
                  </a:lnTo>
                  <a:lnTo>
                    <a:pt x="604" y="375"/>
                  </a:lnTo>
                  <a:lnTo>
                    <a:pt x="604" y="376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7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3" y="379"/>
                  </a:lnTo>
                  <a:lnTo>
                    <a:pt x="603" y="379"/>
                  </a:lnTo>
                  <a:lnTo>
                    <a:pt x="602" y="379"/>
                  </a:lnTo>
                  <a:lnTo>
                    <a:pt x="602" y="380"/>
                  </a:lnTo>
                  <a:lnTo>
                    <a:pt x="601" y="380"/>
                  </a:lnTo>
                  <a:lnTo>
                    <a:pt x="600" y="380"/>
                  </a:lnTo>
                  <a:lnTo>
                    <a:pt x="599" y="380"/>
                  </a:lnTo>
                  <a:lnTo>
                    <a:pt x="598" y="380"/>
                  </a:lnTo>
                  <a:lnTo>
                    <a:pt x="597" y="380"/>
                  </a:lnTo>
                  <a:lnTo>
                    <a:pt x="594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91" y="380"/>
                  </a:lnTo>
                  <a:lnTo>
                    <a:pt x="590" y="381"/>
                  </a:lnTo>
                  <a:lnTo>
                    <a:pt x="590" y="381"/>
                  </a:lnTo>
                  <a:lnTo>
                    <a:pt x="589" y="382"/>
                  </a:lnTo>
                  <a:lnTo>
                    <a:pt x="588" y="382"/>
                  </a:lnTo>
                  <a:lnTo>
                    <a:pt x="587" y="383"/>
                  </a:lnTo>
                  <a:lnTo>
                    <a:pt x="586" y="386"/>
                  </a:lnTo>
                  <a:lnTo>
                    <a:pt x="585" y="387"/>
                  </a:lnTo>
                  <a:lnTo>
                    <a:pt x="584" y="387"/>
                  </a:lnTo>
                  <a:lnTo>
                    <a:pt x="584" y="388"/>
                  </a:lnTo>
                  <a:lnTo>
                    <a:pt x="582" y="389"/>
                  </a:lnTo>
                  <a:lnTo>
                    <a:pt x="581" y="390"/>
                  </a:lnTo>
                  <a:lnTo>
                    <a:pt x="580" y="390"/>
                  </a:lnTo>
                  <a:lnTo>
                    <a:pt x="578" y="391"/>
                  </a:lnTo>
                  <a:lnTo>
                    <a:pt x="576" y="391"/>
                  </a:lnTo>
                  <a:lnTo>
                    <a:pt x="575" y="391"/>
                  </a:lnTo>
                  <a:lnTo>
                    <a:pt x="573" y="392"/>
                  </a:lnTo>
                  <a:lnTo>
                    <a:pt x="570" y="393"/>
                  </a:lnTo>
                  <a:lnTo>
                    <a:pt x="568" y="393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3" y="395"/>
                  </a:lnTo>
                  <a:lnTo>
                    <a:pt x="562" y="396"/>
                  </a:lnTo>
                  <a:lnTo>
                    <a:pt x="559" y="397"/>
                  </a:lnTo>
                  <a:lnTo>
                    <a:pt x="558" y="398"/>
                  </a:lnTo>
                  <a:lnTo>
                    <a:pt x="557" y="398"/>
                  </a:lnTo>
                  <a:lnTo>
                    <a:pt x="556" y="399"/>
                  </a:lnTo>
                  <a:lnTo>
                    <a:pt x="555" y="399"/>
                  </a:lnTo>
                  <a:lnTo>
                    <a:pt x="555" y="399"/>
                  </a:lnTo>
                  <a:lnTo>
                    <a:pt x="554" y="399"/>
                  </a:lnTo>
                  <a:lnTo>
                    <a:pt x="553" y="399"/>
                  </a:lnTo>
                  <a:lnTo>
                    <a:pt x="553" y="398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51" y="398"/>
                  </a:lnTo>
                  <a:lnTo>
                    <a:pt x="550" y="397"/>
                  </a:lnTo>
                  <a:lnTo>
                    <a:pt x="549" y="397"/>
                  </a:lnTo>
                  <a:lnTo>
                    <a:pt x="549" y="397"/>
                  </a:lnTo>
                  <a:lnTo>
                    <a:pt x="548" y="397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9"/>
                  </a:lnTo>
                  <a:lnTo>
                    <a:pt x="544" y="399"/>
                  </a:lnTo>
                  <a:lnTo>
                    <a:pt x="544" y="400"/>
                  </a:lnTo>
                  <a:lnTo>
                    <a:pt x="543" y="400"/>
                  </a:lnTo>
                  <a:lnTo>
                    <a:pt x="543" y="401"/>
                  </a:lnTo>
                  <a:lnTo>
                    <a:pt x="543" y="401"/>
                  </a:lnTo>
                  <a:lnTo>
                    <a:pt x="543" y="402"/>
                  </a:lnTo>
                  <a:lnTo>
                    <a:pt x="542" y="404"/>
                  </a:lnTo>
                  <a:lnTo>
                    <a:pt x="542" y="405"/>
                  </a:lnTo>
                  <a:lnTo>
                    <a:pt x="541" y="407"/>
                  </a:lnTo>
                  <a:lnTo>
                    <a:pt x="539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8" y="412"/>
                  </a:lnTo>
                  <a:lnTo>
                    <a:pt x="532" y="419"/>
                  </a:lnTo>
                  <a:lnTo>
                    <a:pt x="532" y="420"/>
                  </a:lnTo>
                  <a:lnTo>
                    <a:pt x="531" y="421"/>
                  </a:lnTo>
                  <a:lnTo>
                    <a:pt x="531" y="422"/>
                  </a:lnTo>
                  <a:lnTo>
                    <a:pt x="530" y="423"/>
                  </a:lnTo>
                  <a:lnTo>
                    <a:pt x="530" y="424"/>
                  </a:lnTo>
                  <a:lnTo>
                    <a:pt x="530" y="425"/>
                  </a:lnTo>
                  <a:lnTo>
                    <a:pt x="530" y="426"/>
                  </a:lnTo>
                  <a:lnTo>
                    <a:pt x="529" y="427"/>
                  </a:lnTo>
                  <a:lnTo>
                    <a:pt x="529" y="428"/>
                  </a:lnTo>
                  <a:lnTo>
                    <a:pt x="529" y="429"/>
                  </a:lnTo>
                  <a:lnTo>
                    <a:pt x="529" y="430"/>
                  </a:lnTo>
                  <a:lnTo>
                    <a:pt x="530" y="432"/>
                  </a:lnTo>
                  <a:lnTo>
                    <a:pt x="530" y="433"/>
                  </a:lnTo>
                  <a:lnTo>
                    <a:pt x="530" y="434"/>
                  </a:lnTo>
                  <a:lnTo>
                    <a:pt x="531" y="435"/>
                  </a:lnTo>
                  <a:lnTo>
                    <a:pt x="531" y="436"/>
                  </a:lnTo>
                  <a:lnTo>
                    <a:pt x="531" y="436"/>
                  </a:lnTo>
                  <a:lnTo>
                    <a:pt x="532" y="437"/>
                  </a:lnTo>
                  <a:lnTo>
                    <a:pt x="533" y="437"/>
                  </a:lnTo>
                  <a:lnTo>
                    <a:pt x="533" y="438"/>
                  </a:lnTo>
                  <a:lnTo>
                    <a:pt x="537" y="440"/>
                  </a:lnTo>
                  <a:lnTo>
                    <a:pt x="539" y="440"/>
                  </a:lnTo>
                  <a:lnTo>
                    <a:pt x="541" y="441"/>
                  </a:lnTo>
                  <a:lnTo>
                    <a:pt x="542" y="442"/>
                  </a:lnTo>
                  <a:lnTo>
                    <a:pt x="543" y="442"/>
                  </a:lnTo>
                  <a:lnTo>
                    <a:pt x="544" y="443"/>
                  </a:lnTo>
                  <a:lnTo>
                    <a:pt x="544" y="443"/>
                  </a:lnTo>
                  <a:lnTo>
                    <a:pt x="545" y="444"/>
                  </a:lnTo>
                  <a:lnTo>
                    <a:pt x="545" y="444"/>
                  </a:lnTo>
                  <a:lnTo>
                    <a:pt x="546" y="445"/>
                  </a:lnTo>
                  <a:lnTo>
                    <a:pt x="547" y="446"/>
                  </a:lnTo>
                  <a:lnTo>
                    <a:pt x="548" y="448"/>
                  </a:lnTo>
                  <a:lnTo>
                    <a:pt x="548" y="449"/>
                  </a:lnTo>
                  <a:lnTo>
                    <a:pt x="549" y="450"/>
                  </a:lnTo>
                  <a:lnTo>
                    <a:pt x="549" y="451"/>
                  </a:lnTo>
                  <a:lnTo>
                    <a:pt x="549" y="451"/>
                  </a:lnTo>
                  <a:lnTo>
                    <a:pt x="549" y="452"/>
                  </a:lnTo>
                  <a:lnTo>
                    <a:pt x="549" y="454"/>
                  </a:lnTo>
                  <a:lnTo>
                    <a:pt x="549" y="455"/>
                  </a:lnTo>
                  <a:lnTo>
                    <a:pt x="549" y="456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8" y="458"/>
                  </a:lnTo>
                  <a:lnTo>
                    <a:pt x="548" y="459"/>
                  </a:lnTo>
                  <a:lnTo>
                    <a:pt x="548" y="460"/>
                  </a:lnTo>
                  <a:lnTo>
                    <a:pt x="547" y="460"/>
                  </a:lnTo>
                  <a:lnTo>
                    <a:pt x="547" y="461"/>
                  </a:lnTo>
                  <a:lnTo>
                    <a:pt x="546" y="461"/>
                  </a:lnTo>
                  <a:lnTo>
                    <a:pt x="544" y="463"/>
                  </a:lnTo>
                  <a:lnTo>
                    <a:pt x="543" y="463"/>
                  </a:lnTo>
                  <a:lnTo>
                    <a:pt x="543" y="464"/>
                  </a:lnTo>
                  <a:lnTo>
                    <a:pt x="542" y="464"/>
                  </a:lnTo>
                  <a:lnTo>
                    <a:pt x="541" y="464"/>
                  </a:lnTo>
                  <a:lnTo>
                    <a:pt x="540" y="464"/>
                  </a:lnTo>
                  <a:lnTo>
                    <a:pt x="539" y="464"/>
                  </a:lnTo>
                  <a:lnTo>
                    <a:pt x="537" y="464"/>
                  </a:lnTo>
                  <a:lnTo>
                    <a:pt x="536" y="464"/>
                  </a:lnTo>
                  <a:lnTo>
                    <a:pt x="534" y="464"/>
                  </a:lnTo>
                  <a:lnTo>
                    <a:pt x="533" y="464"/>
                  </a:lnTo>
                  <a:lnTo>
                    <a:pt x="532" y="464"/>
                  </a:lnTo>
                  <a:lnTo>
                    <a:pt x="532" y="464"/>
                  </a:lnTo>
                  <a:lnTo>
                    <a:pt x="531" y="464"/>
                  </a:lnTo>
                  <a:lnTo>
                    <a:pt x="531" y="464"/>
                  </a:lnTo>
                  <a:lnTo>
                    <a:pt x="530" y="464"/>
                  </a:lnTo>
                  <a:lnTo>
                    <a:pt x="529" y="466"/>
                  </a:lnTo>
                  <a:lnTo>
                    <a:pt x="528" y="466"/>
                  </a:lnTo>
                  <a:lnTo>
                    <a:pt x="528" y="466"/>
                  </a:lnTo>
                  <a:lnTo>
                    <a:pt x="528" y="467"/>
                  </a:lnTo>
                  <a:lnTo>
                    <a:pt x="527" y="467"/>
                  </a:lnTo>
                  <a:lnTo>
                    <a:pt x="526" y="469"/>
                  </a:lnTo>
                  <a:lnTo>
                    <a:pt x="526" y="470"/>
                  </a:lnTo>
                  <a:lnTo>
                    <a:pt x="525" y="471"/>
                  </a:lnTo>
                  <a:lnTo>
                    <a:pt x="525" y="472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4" y="473"/>
                  </a:lnTo>
                  <a:lnTo>
                    <a:pt x="523" y="473"/>
                  </a:lnTo>
                  <a:lnTo>
                    <a:pt x="523" y="473"/>
                  </a:lnTo>
                  <a:lnTo>
                    <a:pt x="522" y="473"/>
                  </a:lnTo>
                  <a:lnTo>
                    <a:pt x="521" y="473"/>
                  </a:lnTo>
                  <a:lnTo>
                    <a:pt x="519" y="471"/>
                  </a:lnTo>
                  <a:lnTo>
                    <a:pt x="519" y="471"/>
                  </a:lnTo>
                  <a:lnTo>
                    <a:pt x="518" y="470"/>
                  </a:lnTo>
                  <a:lnTo>
                    <a:pt x="517" y="470"/>
                  </a:lnTo>
                  <a:lnTo>
                    <a:pt x="515" y="470"/>
                  </a:lnTo>
                  <a:lnTo>
                    <a:pt x="514" y="469"/>
                  </a:lnTo>
                  <a:lnTo>
                    <a:pt x="512" y="469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09" y="468"/>
                  </a:lnTo>
                  <a:lnTo>
                    <a:pt x="509" y="468"/>
                  </a:lnTo>
                  <a:lnTo>
                    <a:pt x="508" y="468"/>
                  </a:lnTo>
                  <a:lnTo>
                    <a:pt x="507" y="468"/>
                  </a:lnTo>
                  <a:lnTo>
                    <a:pt x="505" y="469"/>
                  </a:lnTo>
                  <a:lnTo>
                    <a:pt x="502" y="470"/>
                  </a:lnTo>
                  <a:lnTo>
                    <a:pt x="500" y="471"/>
                  </a:lnTo>
                  <a:lnTo>
                    <a:pt x="500" y="471"/>
                  </a:lnTo>
                  <a:lnTo>
                    <a:pt x="498" y="471"/>
                  </a:lnTo>
                  <a:lnTo>
                    <a:pt x="496" y="472"/>
                  </a:lnTo>
                  <a:lnTo>
                    <a:pt x="495" y="472"/>
                  </a:lnTo>
                  <a:lnTo>
                    <a:pt x="494" y="472"/>
                  </a:lnTo>
                  <a:lnTo>
                    <a:pt x="492" y="472"/>
                  </a:lnTo>
                  <a:lnTo>
                    <a:pt x="491" y="472"/>
                  </a:lnTo>
                  <a:lnTo>
                    <a:pt x="487" y="471"/>
                  </a:lnTo>
                  <a:lnTo>
                    <a:pt x="486" y="471"/>
                  </a:lnTo>
                  <a:lnTo>
                    <a:pt x="483" y="471"/>
                  </a:lnTo>
                  <a:lnTo>
                    <a:pt x="482" y="471"/>
                  </a:lnTo>
                  <a:lnTo>
                    <a:pt x="481" y="470"/>
                  </a:lnTo>
                  <a:lnTo>
                    <a:pt x="480" y="470"/>
                  </a:lnTo>
                  <a:lnTo>
                    <a:pt x="476" y="469"/>
                  </a:lnTo>
                  <a:lnTo>
                    <a:pt x="475" y="469"/>
                  </a:lnTo>
                  <a:lnTo>
                    <a:pt x="474" y="469"/>
                  </a:lnTo>
                  <a:lnTo>
                    <a:pt x="474" y="469"/>
                  </a:lnTo>
                  <a:lnTo>
                    <a:pt x="473" y="469"/>
                  </a:lnTo>
                  <a:lnTo>
                    <a:pt x="472" y="469"/>
                  </a:lnTo>
                  <a:lnTo>
                    <a:pt x="471" y="469"/>
                  </a:lnTo>
                  <a:lnTo>
                    <a:pt x="471" y="470"/>
                  </a:lnTo>
                  <a:lnTo>
                    <a:pt x="470" y="470"/>
                  </a:lnTo>
                  <a:lnTo>
                    <a:pt x="470" y="471"/>
                  </a:lnTo>
                  <a:lnTo>
                    <a:pt x="470" y="471"/>
                  </a:lnTo>
                  <a:lnTo>
                    <a:pt x="469" y="472"/>
                  </a:lnTo>
                  <a:lnTo>
                    <a:pt x="469" y="472"/>
                  </a:lnTo>
                  <a:lnTo>
                    <a:pt x="469" y="473"/>
                  </a:lnTo>
                  <a:lnTo>
                    <a:pt x="469" y="473"/>
                  </a:lnTo>
                  <a:lnTo>
                    <a:pt x="469" y="474"/>
                  </a:lnTo>
                  <a:lnTo>
                    <a:pt x="470" y="476"/>
                  </a:lnTo>
                  <a:lnTo>
                    <a:pt x="470" y="477"/>
                  </a:lnTo>
                  <a:lnTo>
                    <a:pt x="470" y="477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70" y="478"/>
                  </a:lnTo>
                  <a:lnTo>
                    <a:pt x="469" y="479"/>
                  </a:lnTo>
                  <a:lnTo>
                    <a:pt x="469" y="479"/>
                  </a:lnTo>
                  <a:lnTo>
                    <a:pt x="468" y="479"/>
                  </a:lnTo>
                  <a:lnTo>
                    <a:pt x="468" y="480"/>
                  </a:lnTo>
                  <a:lnTo>
                    <a:pt x="467" y="480"/>
                  </a:lnTo>
                  <a:lnTo>
                    <a:pt x="466" y="480"/>
                  </a:lnTo>
                  <a:lnTo>
                    <a:pt x="461" y="482"/>
                  </a:lnTo>
                  <a:lnTo>
                    <a:pt x="460" y="482"/>
                  </a:lnTo>
                  <a:lnTo>
                    <a:pt x="460" y="482"/>
                  </a:lnTo>
                  <a:lnTo>
                    <a:pt x="459" y="482"/>
                  </a:lnTo>
                  <a:lnTo>
                    <a:pt x="459" y="483"/>
                  </a:lnTo>
                  <a:lnTo>
                    <a:pt x="459" y="483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58" y="485"/>
                  </a:lnTo>
                  <a:lnTo>
                    <a:pt x="457" y="486"/>
                  </a:lnTo>
                  <a:lnTo>
                    <a:pt x="457" y="487"/>
                  </a:lnTo>
                  <a:lnTo>
                    <a:pt x="457" y="490"/>
                  </a:lnTo>
                  <a:lnTo>
                    <a:pt x="456" y="491"/>
                  </a:lnTo>
                  <a:lnTo>
                    <a:pt x="456" y="492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5" y="494"/>
                  </a:lnTo>
                  <a:lnTo>
                    <a:pt x="454" y="495"/>
                  </a:lnTo>
                  <a:lnTo>
                    <a:pt x="453" y="495"/>
                  </a:lnTo>
                  <a:lnTo>
                    <a:pt x="453" y="495"/>
                  </a:lnTo>
                  <a:lnTo>
                    <a:pt x="452" y="495"/>
                  </a:lnTo>
                  <a:lnTo>
                    <a:pt x="451" y="495"/>
                  </a:lnTo>
                  <a:lnTo>
                    <a:pt x="451" y="495"/>
                  </a:lnTo>
                  <a:lnTo>
                    <a:pt x="450" y="495"/>
                  </a:lnTo>
                  <a:lnTo>
                    <a:pt x="449" y="495"/>
                  </a:lnTo>
                  <a:lnTo>
                    <a:pt x="449" y="495"/>
                  </a:lnTo>
                  <a:lnTo>
                    <a:pt x="447" y="494"/>
                  </a:lnTo>
                  <a:lnTo>
                    <a:pt x="447" y="494"/>
                  </a:lnTo>
                  <a:lnTo>
                    <a:pt x="446" y="494"/>
                  </a:lnTo>
                  <a:lnTo>
                    <a:pt x="445" y="493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3" y="491"/>
                  </a:lnTo>
                  <a:lnTo>
                    <a:pt x="442" y="489"/>
                  </a:lnTo>
                  <a:lnTo>
                    <a:pt x="441" y="487"/>
                  </a:lnTo>
                  <a:lnTo>
                    <a:pt x="440" y="484"/>
                  </a:lnTo>
                  <a:lnTo>
                    <a:pt x="439" y="482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37" y="478"/>
                  </a:lnTo>
                  <a:lnTo>
                    <a:pt x="437" y="478"/>
                  </a:lnTo>
                  <a:lnTo>
                    <a:pt x="437" y="477"/>
                  </a:lnTo>
                  <a:lnTo>
                    <a:pt x="437" y="477"/>
                  </a:lnTo>
                  <a:lnTo>
                    <a:pt x="436" y="477"/>
                  </a:lnTo>
                  <a:lnTo>
                    <a:pt x="436" y="477"/>
                  </a:lnTo>
                  <a:lnTo>
                    <a:pt x="435" y="477"/>
                  </a:lnTo>
                  <a:lnTo>
                    <a:pt x="435" y="477"/>
                  </a:lnTo>
                  <a:lnTo>
                    <a:pt x="434" y="477"/>
                  </a:lnTo>
                  <a:lnTo>
                    <a:pt x="433" y="478"/>
                  </a:lnTo>
                  <a:lnTo>
                    <a:pt x="432" y="478"/>
                  </a:lnTo>
                  <a:lnTo>
                    <a:pt x="431" y="479"/>
                  </a:lnTo>
                  <a:lnTo>
                    <a:pt x="430" y="479"/>
                  </a:lnTo>
                  <a:lnTo>
                    <a:pt x="430" y="479"/>
                  </a:lnTo>
                  <a:lnTo>
                    <a:pt x="429" y="479"/>
                  </a:lnTo>
                  <a:lnTo>
                    <a:pt x="429" y="479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27" y="478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3" y="475"/>
                  </a:lnTo>
                  <a:lnTo>
                    <a:pt x="420" y="473"/>
                  </a:lnTo>
                  <a:lnTo>
                    <a:pt x="419" y="472"/>
                  </a:lnTo>
                  <a:lnTo>
                    <a:pt x="418" y="471"/>
                  </a:lnTo>
                  <a:lnTo>
                    <a:pt x="417" y="471"/>
                  </a:lnTo>
                  <a:lnTo>
                    <a:pt x="416" y="470"/>
                  </a:lnTo>
                  <a:lnTo>
                    <a:pt x="412" y="468"/>
                  </a:lnTo>
                  <a:lnTo>
                    <a:pt x="411" y="467"/>
                  </a:lnTo>
                  <a:lnTo>
                    <a:pt x="410" y="467"/>
                  </a:lnTo>
                  <a:lnTo>
                    <a:pt x="408" y="465"/>
                  </a:lnTo>
                  <a:lnTo>
                    <a:pt x="407" y="465"/>
                  </a:lnTo>
                  <a:lnTo>
                    <a:pt x="406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5" y="464"/>
                  </a:lnTo>
                  <a:lnTo>
                    <a:pt x="404" y="465"/>
                  </a:lnTo>
                  <a:lnTo>
                    <a:pt x="404" y="465"/>
                  </a:lnTo>
                  <a:lnTo>
                    <a:pt x="402" y="466"/>
                  </a:lnTo>
                  <a:lnTo>
                    <a:pt x="400" y="467"/>
                  </a:lnTo>
                  <a:lnTo>
                    <a:pt x="399" y="468"/>
                  </a:lnTo>
                  <a:lnTo>
                    <a:pt x="399" y="469"/>
                  </a:lnTo>
                  <a:lnTo>
                    <a:pt x="398" y="469"/>
                  </a:lnTo>
                  <a:lnTo>
                    <a:pt x="398" y="471"/>
                  </a:lnTo>
                  <a:lnTo>
                    <a:pt x="397" y="471"/>
                  </a:lnTo>
                  <a:lnTo>
                    <a:pt x="397" y="472"/>
                  </a:lnTo>
                  <a:lnTo>
                    <a:pt x="396" y="473"/>
                  </a:lnTo>
                  <a:lnTo>
                    <a:pt x="395" y="473"/>
                  </a:lnTo>
                  <a:lnTo>
                    <a:pt x="395" y="474"/>
                  </a:lnTo>
                  <a:lnTo>
                    <a:pt x="394" y="474"/>
                  </a:lnTo>
                  <a:lnTo>
                    <a:pt x="394" y="475"/>
                  </a:lnTo>
                  <a:lnTo>
                    <a:pt x="394" y="475"/>
                  </a:lnTo>
                  <a:lnTo>
                    <a:pt x="394" y="477"/>
                  </a:lnTo>
                  <a:lnTo>
                    <a:pt x="394" y="478"/>
                  </a:lnTo>
                  <a:lnTo>
                    <a:pt x="394" y="479"/>
                  </a:lnTo>
                  <a:lnTo>
                    <a:pt x="393" y="481"/>
                  </a:lnTo>
                  <a:lnTo>
                    <a:pt x="393" y="482"/>
                  </a:lnTo>
                  <a:lnTo>
                    <a:pt x="393" y="484"/>
                  </a:lnTo>
                  <a:lnTo>
                    <a:pt x="393" y="484"/>
                  </a:lnTo>
                  <a:lnTo>
                    <a:pt x="393" y="485"/>
                  </a:lnTo>
                  <a:lnTo>
                    <a:pt x="394" y="487"/>
                  </a:lnTo>
                  <a:lnTo>
                    <a:pt x="394" y="489"/>
                  </a:lnTo>
                  <a:lnTo>
                    <a:pt x="395" y="491"/>
                  </a:lnTo>
                  <a:lnTo>
                    <a:pt x="395" y="492"/>
                  </a:lnTo>
                  <a:lnTo>
                    <a:pt x="395" y="492"/>
                  </a:lnTo>
                  <a:lnTo>
                    <a:pt x="395" y="493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3" y="495"/>
                  </a:lnTo>
                  <a:lnTo>
                    <a:pt x="393" y="495"/>
                  </a:lnTo>
                  <a:lnTo>
                    <a:pt x="391" y="496"/>
                  </a:lnTo>
                  <a:lnTo>
                    <a:pt x="390" y="496"/>
                  </a:lnTo>
                  <a:lnTo>
                    <a:pt x="389" y="497"/>
                  </a:lnTo>
                  <a:lnTo>
                    <a:pt x="386" y="498"/>
                  </a:lnTo>
                  <a:lnTo>
                    <a:pt x="385" y="498"/>
                  </a:lnTo>
                  <a:lnTo>
                    <a:pt x="384" y="498"/>
                  </a:lnTo>
                  <a:lnTo>
                    <a:pt x="383" y="499"/>
                  </a:lnTo>
                  <a:lnTo>
                    <a:pt x="381" y="500"/>
                  </a:lnTo>
                  <a:lnTo>
                    <a:pt x="379" y="502"/>
                  </a:lnTo>
                  <a:lnTo>
                    <a:pt x="376" y="504"/>
                  </a:lnTo>
                  <a:lnTo>
                    <a:pt x="375" y="505"/>
                  </a:lnTo>
                  <a:lnTo>
                    <a:pt x="374" y="507"/>
                  </a:lnTo>
                  <a:lnTo>
                    <a:pt x="373" y="508"/>
                  </a:lnTo>
                  <a:lnTo>
                    <a:pt x="372" y="509"/>
                  </a:lnTo>
                  <a:lnTo>
                    <a:pt x="371" y="511"/>
                  </a:lnTo>
                  <a:lnTo>
                    <a:pt x="370" y="511"/>
                  </a:lnTo>
                  <a:lnTo>
                    <a:pt x="370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9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8" y="512"/>
                  </a:lnTo>
                  <a:lnTo>
                    <a:pt x="367" y="512"/>
                  </a:lnTo>
                  <a:lnTo>
                    <a:pt x="367" y="512"/>
                  </a:lnTo>
                  <a:lnTo>
                    <a:pt x="365" y="510"/>
                  </a:lnTo>
                  <a:lnTo>
                    <a:pt x="364" y="510"/>
                  </a:lnTo>
                  <a:lnTo>
                    <a:pt x="363" y="509"/>
                  </a:lnTo>
                  <a:lnTo>
                    <a:pt x="361" y="509"/>
                  </a:lnTo>
                  <a:lnTo>
                    <a:pt x="360" y="508"/>
                  </a:lnTo>
                  <a:lnTo>
                    <a:pt x="358" y="508"/>
                  </a:lnTo>
                  <a:lnTo>
                    <a:pt x="357" y="508"/>
                  </a:lnTo>
                  <a:lnTo>
                    <a:pt x="355" y="50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52" y="507"/>
                  </a:lnTo>
                  <a:lnTo>
                    <a:pt x="352" y="506"/>
                  </a:lnTo>
                  <a:lnTo>
                    <a:pt x="351" y="506"/>
                  </a:lnTo>
                  <a:lnTo>
                    <a:pt x="351" y="506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5"/>
                  </a:lnTo>
                  <a:lnTo>
                    <a:pt x="350" y="504"/>
                  </a:lnTo>
                  <a:lnTo>
                    <a:pt x="350" y="504"/>
                  </a:lnTo>
                  <a:lnTo>
                    <a:pt x="351" y="501"/>
                  </a:lnTo>
                  <a:lnTo>
                    <a:pt x="351" y="500"/>
                  </a:lnTo>
                  <a:lnTo>
                    <a:pt x="351" y="500"/>
                  </a:lnTo>
                  <a:lnTo>
                    <a:pt x="351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50" y="499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5" y="500"/>
                  </a:lnTo>
                  <a:lnTo>
                    <a:pt x="343" y="501"/>
                  </a:lnTo>
                  <a:lnTo>
                    <a:pt x="342" y="501"/>
                  </a:lnTo>
                  <a:lnTo>
                    <a:pt x="341" y="501"/>
                  </a:lnTo>
                  <a:lnTo>
                    <a:pt x="339" y="501"/>
                  </a:lnTo>
                  <a:lnTo>
                    <a:pt x="338" y="501"/>
                  </a:lnTo>
                  <a:lnTo>
                    <a:pt x="334" y="500"/>
                  </a:lnTo>
                  <a:lnTo>
                    <a:pt x="332" y="500"/>
                  </a:lnTo>
                  <a:lnTo>
                    <a:pt x="331" y="500"/>
                  </a:lnTo>
                  <a:lnTo>
                    <a:pt x="330" y="499"/>
                  </a:lnTo>
                  <a:lnTo>
                    <a:pt x="329" y="499"/>
                  </a:lnTo>
                  <a:lnTo>
                    <a:pt x="327" y="498"/>
                  </a:lnTo>
                  <a:lnTo>
                    <a:pt x="327" y="498"/>
                  </a:lnTo>
                  <a:lnTo>
                    <a:pt x="326" y="498"/>
                  </a:lnTo>
                  <a:lnTo>
                    <a:pt x="325" y="498"/>
                  </a:lnTo>
                  <a:lnTo>
                    <a:pt x="324" y="497"/>
                  </a:lnTo>
                  <a:lnTo>
                    <a:pt x="322" y="497"/>
                  </a:lnTo>
                  <a:lnTo>
                    <a:pt x="321" y="497"/>
                  </a:lnTo>
                  <a:lnTo>
                    <a:pt x="320" y="497"/>
                  </a:lnTo>
                  <a:lnTo>
                    <a:pt x="320" y="497"/>
                  </a:lnTo>
                  <a:lnTo>
                    <a:pt x="319" y="498"/>
                  </a:lnTo>
                  <a:lnTo>
                    <a:pt x="318" y="498"/>
                  </a:lnTo>
                  <a:lnTo>
                    <a:pt x="317" y="499"/>
                  </a:lnTo>
                  <a:lnTo>
                    <a:pt x="316" y="500"/>
                  </a:lnTo>
                  <a:lnTo>
                    <a:pt x="315" y="500"/>
                  </a:lnTo>
                  <a:lnTo>
                    <a:pt x="315" y="500"/>
                  </a:lnTo>
                  <a:lnTo>
                    <a:pt x="314" y="500"/>
                  </a:lnTo>
                  <a:lnTo>
                    <a:pt x="314" y="500"/>
                  </a:lnTo>
                  <a:lnTo>
                    <a:pt x="313" y="500"/>
                  </a:lnTo>
                  <a:lnTo>
                    <a:pt x="312" y="499"/>
                  </a:lnTo>
                  <a:lnTo>
                    <a:pt x="311" y="499"/>
                  </a:lnTo>
                  <a:lnTo>
                    <a:pt x="308" y="496"/>
                  </a:lnTo>
                  <a:lnTo>
                    <a:pt x="307" y="496"/>
                  </a:lnTo>
                  <a:lnTo>
                    <a:pt x="306" y="495"/>
                  </a:lnTo>
                  <a:lnTo>
                    <a:pt x="304" y="495"/>
                  </a:lnTo>
                  <a:lnTo>
                    <a:pt x="303" y="494"/>
                  </a:lnTo>
                  <a:lnTo>
                    <a:pt x="302" y="494"/>
                  </a:lnTo>
                  <a:lnTo>
                    <a:pt x="300" y="492"/>
                  </a:lnTo>
                  <a:lnTo>
                    <a:pt x="299" y="492"/>
                  </a:lnTo>
                  <a:lnTo>
                    <a:pt x="298" y="492"/>
                  </a:lnTo>
                  <a:lnTo>
                    <a:pt x="298" y="492"/>
                  </a:lnTo>
                  <a:lnTo>
                    <a:pt x="297" y="492"/>
                  </a:lnTo>
                  <a:lnTo>
                    <a:pt x="297" y="492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3"/>
                  </a:lnTo>
                  <a:lnTo>
                    <a:pt x="297" y="494"/>
                  </a:lnTo>
                  <a:lnTo>
                    <a:pt x="297" y="496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7" y="498"/>
                  </a:lnTo>
                  <a:lnTo>
                    <a:pt x="297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6" y="498"/>
                  </a:lnTo>
                  <a:lnTo>
                    <a:pt x="294" y="498"/>
                  </a:lnTo>
                  <a:lnTo>
                    <a:pt x="293" y="498"/>
                  </a:lnTo>
                  <a:lnTo>
                    <a:pt x="292" y="498"/>
                  </a:lnTo>
                  <a:lnTo>
                    <a:pt x="291" y="498"/>
                  </a:lnTo>
                  <a:lnTo>
                    <a:pt x="290" y="499"/>
                  </a:lnTo>
                  <a:lnTo>
                    <a:pt x="289" y="499"/>
                  </a:lnTo>
                  <a:lnTo>
                    <a:pt x="288" y="500"/>
                  </a:lnTo>
                  <a:lnTo>
                    <a:pt x="285" y="502"/>
                  </a:lnTo>
                  <a:lnTo>
                    <a:pt x="285" y="502"/>
                  </a:lnTo>
                  <a:lnTo>
                    <a:pt x="284" y="502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1" y="503"/>
                  </a:lnTo>
                  <a:lnTo>
                    <a:pt x="280" y="503"/>
                  </a:lnTo>
                  <a:lnTo>
                    <a:pt x="279" y="503"/>
                  </a:lnTo>
                  <a:lnTo>
                    <a:pt x="277" y="503"/>
                  </a:lnTo>
                  <a:lnTo>
                    <a:pt x="276" y="503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5" y="502"/>
                  </a:lnTo>
                  <a:lnTo>
                    <a:pt x="274" y="502"/>
                  </a:lnTo>
                  <a:lnTo>
                    <a:pt x="274" y="501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3" y="498"/>
                  </a:lnTo>
                  <a:lnTo>
                    <a:pt x="272" y="497"/>
                  </a:lnTo>
                  <a:lnTo>
                    <a:pt x="271" y="497"/>
                  </a:lnTo>
                  <a:lnTo>
                    <a:pt x="270" y="496"/>
                  </a:lnTo>
                  <a:lnTo>
                    <a:pt x="270" y="496"/>
                  </a:lnTo>
                  <a:lnTo>
                    <a:pt x="268" y="495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4"/>
                  </a:lnTo>
                  <a:lnTo>
                    <a:pt x="264" y="493"/>
                  </a:lnTo>
                  <a:lnTo>
                    <a:pt x="264" y="493"/>
                  </a:lnTo>
                  <a:lnTo>
                    <a:pt x="263" y="492"/>
                  </a:lnTo>
                  <a:lnTo>
                    <a:pt x="263" y="492"/>
                  </a:lnTo>
                  <a:lnTo>
                    <a:pt x="262" y="490"/>
                  </a:lnTo>
                  <a:lnTo>
                    <a:pt x="261" y="489"/>
                  </a:lnTo>
                  <a:lnTo>
                    <a:pt x="260" y="489"/>
                  </a:lnTo>
                  <a:lnTo>
                    <a:pt x="259" y="488"/>
                  </a:lnTo>
                  <a:lnTo>
                    <a:pt x="258" y="487"/>
                  </a:lnTo>
                  <a:lnTo>
                    <a:pt x="257" y="487"/>
                  </a:lnTo>
                  <a:lnTo>
                    <a:pt x="255" y="486"/>
                  </a:lnTo>
                  <a:lnTo>
                    <a:pt x="254" y="486"/>
                  </a:lnTo>
                  <a:lnTo>
                    <a:pt x="254" y="486"/>
                  </a:lnTo>
                  <a:lnTo>
                    <a:pt x="253" y="486"/>
                  </a:lnTo>
                  <a:lnTo>
                    <a:pt x="252" y="486"/>
                  </a:lnTo>
                  <a:lnTo>
                    <a:pt x="251" y="486"/>
                  </a:lnTo>
                  <a:lnTo>
                    <a:pt x="249" y="487"/>
                  </a:lnTo>
                  <a:lnTo>
                    <a:pt x="246" y="488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9" y="498"/>
                  </a:lnTo>
                  <a:lnTo>
                    <a:pt x="238" y="499"/>
                  </a:lnTo>
                  <a:lnTo>
                    <a:pt x="238" y="499"/>
                  </a:lnTo>
                  <a:lnTo>
                    <a:pt x="237" y="499"/>
                  </a:lnTo>
                  <a:lnTo>
                    <a:pt x="237" y="499"/>
                  </a:lnTo>
                  <a:lnTo>
                    <a:pt x="236" y="499"/>
                  </a:lnTo>
                  <a:lnTo>
                    <a:pt x="236" y="499"/>
                  </a:lnTo>
                  <a:lnTo>
                    <a:pt x="234" y="499"/>
                  </a:lnTo>
                  <a:lnTo>
                    <a:pt x="233" y="499"/>
                  </a:lnTo>
                  <a:lnTo>
                    <a:pt x="231" y="499"/>
                  </a:lnTo>
                  <a:lnTo>
                    <a:pt x="228" y="500"/>
                  </a:lnTo>
                  <a:lnTo>
                    <a:pt x="220" y="500"/>
                  </a:lnTo>
                  <a:lnTo>
                    <a:pt x="219" y="500"/>
                  </a:lnTo>
                  <a:lnTo>
                    <a:pt x="215" y="500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1" y="501"/>
                  </a:lnTo>
                  <a:lnTo>
                    <a:pt x="210" y="501"/>
                  </a:lnTo>
                  <a:lnTo>
                    <a:pt x="208" y="501"/>
                  </a:lnTo>
                  <a:lnTo>
                    <a:pt x="206" y="501"/>
                  </a:lnTo>
                  <a:lnTo>
                    <a:pt x="206" y="501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3" y="501"/>
                  </a:lnTo>
                  <a:lnTo>
                    <a:pt x="202" y="502"/>
                  </a:lnTo>
                  <a:lnTo>
                    <a:pt x="200" y="501"/>
                  </a:lnTo>
                  <a:lnTo>
                    <a:pt x="200" y="501"/>
                  </a:lnTo>
                  <a:lnTo>
                    <a:pt x="199" y="501"/>
                  </a:lnTo>
                  <a:lnTo>
                    <a:pt x="198" y="501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5" y="498"/>
                  </a:lnTo>
                  <a:lnTo>
                    <a:pt x="195" y="498"/>
                  </a:lnTo>
                  <a:lnTo>
                    <a:pt x="195" y="497"/>
                  </a:lnTo>
                  <a:lnTo>
                    <a:pt x="195" y="496"/>
                  </a:ln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  <a:close/>
                  <a:moveTo>
                    <a:pt x="335" y="203"/>
                  </a:moveTo>
                  <a:lnTo>
                    <a:pt x="335" y="204"/>
                  </a:lnTo>
                  <a:lnTo>
                    <a:pt x="334" y="204"/>
                  </a:lnTo>
                  <a:lnTo>
                    <a:pt x="332" y="204"/>
                  </a:lnTo>
                  <a:lnTo>
                    <a:pt x="327" y="205"/>
                  </a:lnTo>
                  <a:lnTo>
                    <a:pt x="325" y="206"/>
                  </a:lnTo>
                  <a:lnTo>
                    <a:pt x="323" y="206"/>
                  </a:lnTo>
                  <a:lnTo>
                    <a:pt x="321" y="207"/>
                  </a:lnTo>
                  <a:lnTo>
                    <a:pt x="319" y="208"/>
                  </a:lnTo>
                  <a:lnTo>
                    <a:pt x="318" y="208"/>
                  </a:lnTo>
                  <a:lnTo>
                    <a:pt x="315" y="210"/>
                  </a:lnTo>
                  <a:lnTo>
                    <a:pt x="314" y="211"/>
                  </a:lnTo>
                  <a:lnTo>
                    <a:pt x="312" y="212"/>
                  </a:lnTo>
                  <a:lnTo>
                    <a:pt x="309" y="212"/>
                  </a:lnTo>
                  <a:lnTo>
                    <a:pt x="307" y="213"/>
                  </a:lnTo>
                  <a:lnTo>
                    <a:pt x="306" y="213"/>
                  </a:lnTo>
                  <a:lnTo>
                    <a:pt x="302" y="215"/>
                  </a:lnTo>
                  <a:lnTo>
                    <a:pt x="301" y="216"/>
                  </a:lnTo>
                  <a:lnTo>
                    <a:pt x="300" y="217"/>
                  </a:lnTo>
                  <a:lnTo>
                    <a:pt x="297" y="217"/>
                  </a:lnTo>
                  <a:lnTo>
                    <a:pt x="296" y="217"/>
                  </a:lnTo>
                  <a:lnTo>
                    <a:pt x="295" y="218"/>
                  </a:lnTo>
                  <a:lnTo>
                    <a:pt x="292" y="218"/>
                  </a:lnTo>
                  <a:lnTo>
                    <a:pt x="291" y="218"/>
                  </a:lnTo>
                  <a:lnTo>
                    <a:pt x="289" y="218"/>
                  </a:lnTo>
                  <a:lnTo>
                    <a:pt x="289" y="219"/>
                  </a:lnTo>
                  <a:lnTo>
                    <a:pt x="288" y="219"/>
                  </a:lnTo>
                  <a:lnTo>
                    <a:pt x="287" y="219"/>
                  </a:lnTo>
                  <a:lnTo>
                    <a:pt x="287" y="220"/>
                  </a:lnTo>
                  <a:lnTo>
                    <a:pt x="286" y="220"/>
                  </a:lnTo>
                  <a:lnTo>
                    <a:pt x="286" y="221"/>
                  </a:lnTo>
                  <a:lnTo>
                    <a:pt x="285" y="222"/>
                  </a:lnTo>
                  <a:lnTo>
                    <a:pt x="285" y="223"/>
                  </a:lnTo>
                  <a:lnTo>
                    <a:pt x="285" y="224"/>
                  </a:lnTo>
                  <a:lnTo>
                    <a:pt x="284" y="226"/>
                  </a:lnTo>
                  <a:lnTo>
                    <a:pt x="284" y="227"/>
                  </a:lnTo>
                  <a:lnTo>
                    <a:pt x="283" y="228"/>
                  </a:lnTo>
                  <a:lnTo>
                    <a:pt x="283" y="229"/>
                  </a:lnTo>
                  <a:lnTo>
                    <a:pt x="283" y="229"/>
                  </a:lnTo>
                  <a:lnTo>
                    <a:pt x="282" y="229"/>
                  </a:lnTo>
                  <a:lnTo>
                    <a:pt x="282" y="230"/>
                  </a:lnTo>
                  <a:lnTo>
                    <a:pt x="281" y="230"/>
                  </a:lnTo>
                  <a:lnTo>
                    <a:pt x="279" y="230"/>
                  </a:lnTo>
                  <a:lnTo>
                    <a:pt x="278" y="230"/>
                  </a:lnTo>
                  <a:lnTo>
                    <a:pt x="276" y="230"/>
                  </a:lnTo>
                  <a:lnTo>
                    <a:pt x="275" y="230"/>
                  </a:lnTo>
                  <a:lnTo>
                    <a:pt x="275" y="229"/>
                  </a:lnTo>
                  <a:lnTo>
                    <a:pt x="274" y="229"/>
                  </a:lnTo>
                  <a:lnTo>
                    <a:pt x="272" y="228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0" y="227"/>
                  </a:lnTo>
                  <a:lnTo>
                    <a:pt x="269" y="227"/>
                  </a:lnTo>
                  <a:lnTo>
                    <a:pt x="269" y="227"/>
                  </a:lnTo>
                  <a:lnTo>
                    <a:pt x="268" y="227"/>
                  </a:lnTo>
                  <a:lnTo>
                    <a:pt x="268" y="227"/>
                  </a:lnTo>
                  <a:lnTo>
                    <a:pt x="267" y="228"/>
                  </a:lnTo>
                  <a:lnTo>
                    <a:pt x="264" y="229"/>
                  </a:lnTo>
                  <a:lnTo>
                    <a:pt x="263" y="230"/>
                  </a:lnTo>
                  <a:lnTo>
                    <a:pt x="262" y="230"/>
                  </a:lnTo>
                  <a:lnTo>
                    <a:pt x="259" y="231"/>
                  </a:lnTo>
                  <a:lnTo>
                    <a:pt x="257" y="231"/>
                  </a:lnTo>
                  <a:lnTo>
                    <a:pt x="254" y="232"/>
                  </a:lnTo>
                  <a:lnTo>
                    <a:pt x="252" y="233"/>
                  </a:lnTo>
                  <a:lnTo>
                    <a:pt x="251" y="234"/>
                  </a:lnTo>
                  <a:lnTo>
                    <a:pt x="250" y="234"/>
                  </a:lnTo>
                  <a:lnTo>
                    <a:pt x="249" y="235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8" y="237"/>
                  </a:lnTo>
                  <a:lnTo>
                    <a:pt x="249" y="237"/>
                  </a:lnTo>
                  <a:lnTo>
                    <a:pt x="249" y="237"/>
                  </a:lnTo>
                  <a:lnTo>
                    <a:pt x="251" y="238"/>
                  </a:lnTo>
                  <a:lnTo>
                    <a:pt x="252" y="238"/>
                  </a:lnTo>
                  <a:lnTo>
                    <a:pt x="253" y="239"/>
                  </a:lnTo>
                  <a:lnTo>
                    <a:pt x="253" y="240"/>
                  </a:lnTo>
                  <a:lnTo>
                    <a:pt x="255" y="241"/>
                  </a:lnTo>
                  <a:lnTo>
                    <a:pt x="257" y="243"/>
                  </a:lnTo>
                  <a:lnTo>
                    <a:pt x="259" y="246"/>
                  </a:lnTo>
                  <a:lnTo>
                    <a:pt x="260" y="247"/>
                  </a:lnTo>
                  <a:lnTo>
                    <a:pt x="261" y="247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61" y="24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0" y="251"/>
                  </a:lnTo>
                  <a:lnTo>
                    <a:pt x="260" y="251"/>
                  </a:lnTo>
                  <a:lnTo>
                    <a:pt x="258" y="252"/>
                  </a:lnTo>
                  <a:lnTo>
                    <a:pt x="257" y="253"/>
                  </a:lnTo>
                  <a:lnTo>
                    <a:pt x="256" y="253"/>
                  </a:lnTo>
                  <a:lnTo>
                    <a:pt x="256" y="25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4" y="256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5" y="257"/>
                  </a:lnTo>
                  <a:lnTo>
                    <a:pt x="255" y="258"/>
                  </a:lnTo>
                  <a:lnTo>
                    <a:pt x="255" y="259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8" y="262"/>
                  </a:lnTo>
                  <a:lnTo>
                    <a:pt x="259" y="265"/>
                  </a:lnTo>
                  <a:lnTo>
                    <a:pt x="259" y="265"/>
                  </a:lnTo>
                  <a:lnTo>
                    <a:pt x="260" y="267"/>
                  </a:lnTo>
                  <a:lnTo>
                    <a:pt x="261" y="268"/>
                  </a:lnTo>
                  <a:lnTo>
                    <a:pt x="262" y="269"/>
                  </a:lnTo>
                  <a:lnTo>
                    <a:pt x="263" y="270"/>
                  </a:lnTo>
                  <a:lnTo>
                    <a:pt x="265" y="272"/>
                  </a:lnTo>
                  <a:lnTo>
                    <a:pt x="268" y="274"/>
                  </a:lnTo>
                  <a:lnTo>
                    <a:pt x="268" y="275"/>
                  </a:lnTo>
                  <a:lnTo>
                    <a:pt x="269" y="276"/>
                  </a:lnTo>
                  <a:lnTo>
                    <a:pt x="269" y="276"/>
                  </a:lnTo>
                  <a:lnTo>
                    <a:pt x="269" y="277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9" y="279"/>
                  </a:lnTo>
                  <a:lnTo>
                    <a:pt x="269" y="280"/>
                  </a:lnTo>
                  <a:lnTo>
                    <a:pt x="268" y="281"/>
                  </a:lnTo>
                  <a:lnTo>
                    <a:pt x="268" y="282"/>
                  </a:lnTo>
                  <a:lnTo>
                    <a:pt x="268" y="282"/>
                  </a:lnTo>
                  <a:lnTo>
                    <a:pt x="268" y="283"/>
                  </a:lnTo>
                  <a:lnTo>
                    <a:pt x="268" y="284"/>
                  </a:lnTo>
                  <a:lnTo>
                    <a:pt x="268" y="284"/>
                  </a:lnTo>
                  <a:lnTo>
                    <a:pt x="268" y="285"/>
                  </a:lnTo>
                  <a:lnTo>
                    <a:pt x="269" y="285"/>
                  </a:lnTo>
                  <a:lnTo>
                    <a:pt x="269" y="286"/>
                  </a:lnTo>
                  <a:lnTo>
                    <a:pt x="270" y="286"/>
                  </a:lnTo>
                  <a:lnTo>
                    <a:pt x="271" y="287"/>
                  </a:lnTo>
                  <a:lnTo>
                    <a:pt x="271" y="287"/>
                  </a:lnTo>
                  <a:lnTo>
                    <a:pt x="272" y="288"/>
                  </a:lnTo>
                  <a:lnTo>
                    <a:pt x="273" y="288"/>
                  </a:lnTo>
                  <a:lnTo>
                    <a:pt x="275" y="289"/>
                  </a:lnTo>
                  <a:lnTo>
                    <a:pt x="276" y="289"/>
                  </a:lnTo>
                  <a:lnTo>
                    <a:pt x="276" y="290"/>
                  </a:lnTo>
                  <a:lnTo>
                    <a:pt x="277" y="290"/>
                  </a:lnTo>
                  <a:lnTo>
                    <a:pt x="277" y="291"/>
                  </a:lnTo>
                  <a:lnTo>
                    <a:pt x="277" y="291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7" y="293"/>
                  </a:lnTo>
                  <a:lnTo>
                    <a:pt x="277" y="294"/>
                  </a:lnTo>
                  <a:lnTo>
                    <a:pt x="277" y="296"/>
                  </a:lnTo>
                  <a:lnTo>
                    <a:pt x="277" y="296"/>
                  </a:lnTo>
                  <a:lnTo>
                    <a:pt x="277" y="297"/>
                  </a:lnTo>
                  <a:lnTo>
                    <a:pt x="277" y="297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8" y="300"/>
                  </a:lnTo>
                  <a:lnTo>
                    <a:pt x="277" y="302"/>
                  </a:lnTo>
                  <a:lnTo>
                    <a:pt x="277" y="302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7" y="304"/>
                  </a:lnTo>
                  <a:lnTo>
                    <a:pt x="277" y="305"/>
                  </a:lnTo>
                  <a:lnTo>
                    <a:pt x="278" y="305"/>
                  </a:lnTo>
                  <a:lnTo>
                    <a:pt x="278" y="306"/>
                  </a:lnTo>
                  <a:lnTo>
                    <a:pt x="279" y="306"/>
                  </a:lnTo>
                  <a:lnTo>
                    <a:pt x="279" y="307"/>
                  </a:lnTo>
                  <a:lnTo>
                    <a:pt x="279" y="307"/>
                  </a:lnTo>
                  <a:lnTo>
                    <a:pt x="280" y="308"/>
                  </a:lnTo>
                  <a:lnTo>
                    <a:pt x="281" y="308"/>
                  </a:lnTo>
                  <a:lnTo>
                    <a:pt x="282" y="308"/>
                  </a:lnTo>
                  <a:lnTo>
                    <a:pt x="282" y="308"/>
                  </a:lnTo>
                  <a:lnTo>
                    <a:pt x="283" y="309"/>
                  </a:lnTo>
                  <a:lnTo>
                    <a:pt x="284" y="309"/>
                  </a:lnTo>
                  <a:lnTo>
                    <a:pt x="288" y="309"/>
                  </a:lnTo>
                  <a:lnTo>
                    <a:pt x="289" y="309"/>
                  </a:lnTo>
                  <a:lnTo>
                    <a:pt x="292" y="309"/>
                  </a:lnTo>
                  <a:lnTo>
                    <a:pt x="292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4" y="309"/>
                  </a:lnTo>
                  <a:lnTo>
                    <a:pt x="294" y="308"/>
                  </a:lnTo>
                  <a:lnTo>
                    <a:pt x="294" y="308"/>
                  </a:lnTo>
                  <a:lnTo>
                    <a:pt x="295" y="307"/>
                  </a:lnTo>
                  <a:lnTo>
                    <a:pt x="296" y="305"/>
                  </a:lnTo>
                  <a:lnTo>
                    <a:pt x="297" y="304"/>
                  </a:lnTo>
                  <a:lnTo>
                    <a:pt x="297" y="303"/>
                  </a:lnTo>
                  <a:lnTo>
                    <a:pt x="297" y="303"/>
                  </a:lnTo>
                  <a:lnTo>
                    <a:pt x="298" y="302"/>
                  </a:lnTo>
                  <a:lnTo>
                    <a:pt x="298" y="302"/>
                  </a:lnTo>
                  <a:lnTo>
                    <a:pt x="299" y="302"/>
                  </a:lnTo>
                  <a:lnTo>
                    <a:pt x="300" y="301"/>
                  </a:lnTo>
                  <a:lnTo>
                    <a:pt x="303" y="301"/>
                  </a:lnTo>
                  <a:lnTo>
                    <a:pt x="304" y="300"/>
                  </a:lnTo>
                  <a:lnTo>
                    <a:pt x="306" y="300"/>
                  </a:lnTo>
                  <a:lnTo>
                    <a:pt x="307" y="299"/>
                  </a:lnTo>
                  <a:lnTo>
                    <a:pt x="310" y="298"/>
                  </a:lnTo>
                  <a:lnTo>
                    <a:pt x="312" y="298"/>
                  </a:lnTo>
                  <a:lnTo>
                    <a:pt x="313" y="297"/>
                  </a:lnTo>
                  <a:lnTo>
                    <a:pt x="314" y="297"/>
                  </a:lnTo>
                  <a:lnTo>
                    <a:pt x="315" y="296"/>
                  </a:lnTo>
                  <a:lnTo>
                    <a:pt x="316" y="296"/>
                  </a:lnTo>
                  <a:lnTo>
                    <a:pt x="321" y="292"/>
                  </a:lnTo>
                  <a:lnTo>
                    <a:pt x="323" y="290"/>
                  </a:lnTo>
                  <a:lnTo>
                    <a:pt x="324" y="289"/>
                  </a:lnTo>
                  <a:lnTo>
                    <a:pt x="325" y="289"/>
                  </a:lnTo>
                  <a:lnTo>
                    <a:pt x="326" y="289"/>
                  </a:lnTo>
                  <a:lnTo>
                    <a:pt x="327" y="288"/>
                  </a:lnTo>
                  <a:lnTo>
                    <a:pt x="329" y="287"/>
                  </a:lnTo>
                  <a:lnTo>
                    <a:pt x="330" y="287"/>
                  </a:lnTo>
                  <a:lnTo>
                    <a:pt x="331" y="286"/>
                  </a:lnTo>
                  <a:lnTo>
                    <a:pt x="332" y="286"/>
                  </a:lnTo>
                  <a:lnTo>
                    <a:pt x="333" y="285"/>
                  </a:lnTo>
                  <a:lnTo>
                    <a:pt x="334" y="285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6" y="282"/>
                  </a:lnTo>
                  <a:lnTo>
                    <a:pt x="336" y="282"/>
                  </a:lnTo>
                  <a:lnTo>
                    <a:pt x="337" y="282"/>
                  </a:lnTo>
                  <a:lnTo>
                    <a:pt x="338" y="281"/>
                  </a:lnTo>
                  <a:lnTo>
                    <a:pt x="338" y="281"/>
                  </a:lnTo>
                  <a:lnTo>
                    <a:pt x="339" y="281"/>
                  </a:lnTo>
                  <a:lnTo>
                    <a:pt x="342" y="281"/>
                  </a:lnTo>
                  <a:lnTo>
                    <a:pt x="343" y="280"/>
                  </a:lnTo>
                  <a:lnTo>
                    <a:pt x="345" y="280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1" y="280"/>
                  </a:lnTo>
                  <a:lnTo>
                    <a:pt x="352" y="281"/>
                  </a:lnTo>
                  <a:lnTo>
                    <a:pt x="354" y="281"/>
                  </a:lnTo>
                  <a:lnTo>
                    <a:pt x="355" y="282"/>
                  </a:lnTo>
                  <a:lnTo>
                    <a:pt x="356" y="283"/>
                  </a:lnTo>
                  <a:lnTo>
                    <a:pt x="358" y="284"/>
                  </a:lnTo>
                  <a:lnTo>
                    <a:pt x="360" y="285"/>
                  </a:lnTo>
                  <a:lnTo>
                    <a:pt x="360" y="285"/>
                  </a:lnTo>
                  <a:lnTo>
                    <a:pt x="361" y="285"/>
                  </a:lnTo>
                  <a:lnTo>
                    <a:pt x="362" y="286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6" y="286"/>
                  </a:lnTo>
                  <a:lnTo>
                    <a:pt x="366" y="286"/>
                  </a:lnTo>
                  <a:lnTo>
                    <a:pt x="367" y="286"/>
                  </a:lnTo>
                  <a:lnTo>
                    <a:pt x="368" y="286"/>
                  </a:lnTo>
                  <a:lnTo>
                    <a:pt x="368" y="285"/>
                  </a:lnTo>
                  <a:lnTo>
                    <a:pt x="369" y="285"/>
                  </a:lnTo>
                  <a:lnTo>
                    <a:pt x="370" y="284"/>
                  </a:lnTo>
                  <a:lnTo>
                    <a:pt x="372" y="282"/>
                  </a:lnTo>
                  <a:lnTo>
                    <a:pt x="373" y="282"/>
                  </a:lnTo>
                  <a:lnTo>
                    <a:pt x="374" y="281"/>
                  </a:lnTo>
                  <a:lnTo>
                    <a:pt x="374" y="280"/>
                  </a:lnTo>
                  <a:lnTo>
                    <a:pt x="375" y="279"/>
                  </a:lnTo>
                  <a:lnTo>
                    <a:pt x="375" y="278"/>
                  </a:lnTo>
                  <a:lnTo>
                    <a:pt x="375" y="277"/>
                  </a:lnTo>
                  <a:lnTo>
                    <a:pt x="375" y="276"/>
                  </a:lnTo>
                  <a:lnTo>
                    <a:pt x="375" y="275"/>
                  </a:lnTo>
                  <a:lnTo>
                    <a:pt x="374" y="271"/>
                  </a:lnTo>
                  <a:lnTo>
                    <a:pt x="374" y="269"/>
                  </a:lnTo>
                  <a:lnTo>
                    <a:pt x="374" y="268"/>
                  </a:lnTo>
                  <a:lnTo>
                    <a:pt x="374" y="267"/>
                  </a:lnTo>
                  <a:lnTo>
                    <a:pt x="373" y="267"/>
                  </a:lnTo>
                  <a:lnTo>
                    <a:pt x="373" y="266"/>
                  </a:lnTo>
                  <a:lnTo>
                    <a:pt x="373" y="266"/>
                  </a:lnTo>
                  <a:lnTo>
                    <a:pt x="372" y="265"/>
                  </a:lnTo>
                  <a:lnTo>
                    <a:pt x="371" y="264"/>
                  </a:lnTo>
                  <a:lnTo>
                    <a:pt x="371" y="264"/>
                  </a:lnTo>
                  <a:lnTo>
                    <a:pt x="371" y="263"/>
                  </a:lnTo>
                  <a:lnTo>
                    <a:pt x="370" y="263"/>
                  </a:lnTo>
                  <a:lnTo>
                    <a:pt x="370" y="262"/>
                  </a:lnTo>
                  <a:lnTo>
                    <a:pt x="370" y="261"/>
                  </a:lnTo>
                  <a:lnTo>
                    <a:pt x="371" y="261"/>
                  </a:lnTo>
                  <a:lnTo>
                    <a:pt x="371" y="260"/>
                  </a:lnTo>
                  <a:lnTo>
                    <a:pt x="371" y="260"/>
                  </a:lnTo>
                  <a:lnTo>
                    <a:pt x="371" y="259"/>
                  </a:lnTo>
                  <a:lnTo>
                    <a:pt x="372" y="259"/>
                  </a:lnTo>
                  <a:lnTo>
                    <a:pt x="373" y="258"/>
                  </a:lnTo>
                  <a:lnTo>
                    <a:pt x="374" y="257"/>
                  </a:lnTo>
                  <a:lnTo>
                    <a:pt x="374" y="257"/>
                  </a:lnTo>
                  <a:lnTo>
                    <a:pt x="379" y="254"/>
                  </a:lnTo>
                  <a:lnTo>
                    <a:pt x="382" y="253"/>
                  </a:lnTo>
                  <a:lnTo>
                    <a:pt x="382" y="252"/>
                  </a:lnTo>
                  <a:lnTo>
                    <a:pt x="383" y="252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5" y="250"/>
                  </a:lnTo>
                  <a:lnTo>
                    <a:pt x="385" y="249"/>
                  </a:lnTo>
                  <a:lnTo>
                    <a:pt x="386" y="248"/>
                  </a:lnTo>
                  <a:lnTo>
                    <a:pt x="386" y="247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6" y="245"/>
                  </a:lnTo>
                  <a:lnTo>
                    <a:pt x="386" y="245"/>
                  </a:lnTo>
                  <a:lnTo>
                    <a:pt x="385" y="244"/>
                  </a:lnTo>
                  <a:lnTo>
                    <a:pt x="385" y="243"/>
                  </a:lnTo>
                  <a:lnTo>
                    <a:pt x="384" y="242"/>
                  </a:lnTo>
                  <a:lnTo>
                    <a:pt x="383" y="241"/>
                  </a:lnTo>
                  <a:lnTo>
                    <a:pt x="383" y="240"/>
                  </a:lnTo>
                  <a:lnTo>
                    <a:pt x="382" y="240"/>
                  </a:lnTo>
                  <a:lnTo>
                    <a:pt x="381" y="239"/>
                  </a:lnTo>
                  <a:lnTo>
                    <a:pt x="378" y="237"/>
                  </a:lnTo>
                  <a:lnTo>
                    <a:pt x="377" y="236"/>
                  </a:lnTo>
                  <a:lnTo>
                    <a:pt x="376" y="235"/>
                  </a:lnTo>
                  <a:lnTo>
                    <a:pt x="376" y="235"/>
                  </a:lnTo>
                  <a:lnTo>
                    <a:pt x="375" y="234"/>
                  </a:lnTo>
                  <a:lnTo>
                    <a:pt x="374" y="232"/>
                  </a:lnTo>
                  <a:lnTo>
                    <a:pt x="373" y="231"/>
                  </a:lnTo>
                  <a:lnTo>
                    <a:pt x="372" y="231"/>
                  </a:lnTo>
                  <a:lnTo>
                    <a:pt x="372" y="230"/>
                  </a:lnTo>
                  <a:lnTo>
                    <a:pt x="371" y="230"/>
                  </a:lnTo>
                  <a:lnTo>
                    <a:pt x="370" y="229"/>
                  </a:lnTo>
                  <a:lnTo>
                    <a:pt x="366" y="227"/>
                  </a:lnTo>
                  <a:lnTo>
                    <a:pt x="365" y="226"/>
                  </a:lnTo>
                  <a:lnTo>
                    <a:pt x="362" y="226"/>
                  </a:lnTo>
                  <a:lnTo>
                    <a:pt x="360" y="225"/>
                  </a:lnTo>
                  <a:lnTo>
                    <a:pt x="360" y="225"/>
                  </a:lnTo>
                  <a:lnTo>
                    <a:pt x="359" y="224"/>
                  </a:lnTo>
                  <a:lnTo>
                    <a:pt x="358" y="224"/>
                  </a:lnTo>
                  <a:lnTo>
                    <a:pt x="357" y="223"/>
                  </a:lnTo>
                  <a:lnTo>
                    <a:pt x="357" y="222"/>
                  </a:lnTo>
                  <a:lnTo>
                    <a:pt x="356" y="222"/>
                  </a:lnTo>
                  <a:lnTo>
                    <a:pt x="355" y="221"/>
                  </a:lnTo>
                  <a:lnTo>
                    <a:pt x="355" y="220"/>
                  </a:lnTo>
                  <a:lnTo>
                    <a:pt x="355" y="219"/>
                  </a:lnTo>
                  <a:lnTo>
                    <a:pt x="354" y="217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3" y="216"/>
                  </a:lnTo>
                  <a:lnTo>
                    <a:pt x="352" y="215"/>
                  </a:lnTo>
                  <a:lnTo>
                    <a:pt x="351" y="215"/>
                  </a:lnTo>
                  <a:lnTo>
                    <a:pt x="349" y="215"/>
                  </a:lnTo>
                  <a:lnTo>
                    <a:pt x="348" y="214"/>
                  </a:lnTo>
                  <a:lnTo>
                    <a:pt x="347" y="214"/>
                  </a:lnTo>
                  <a:lnTo>
                    <a:pt x="346" y="213"/>
                  </a:lnTo>
                  <a:lnTo>
                    <a:pt x="343" y="211"/>
                  </a:lnTo>
                  <a:lnTo>
                    <a:pt x="342" y="210"/>
                  </a:lnTo>
                  <a:lnTo>
                    <a:pt x="339" y="208"/>
                  </a:lnTo>
                  <a:lnTo>
                    <a:pt x="338" y="207"/>
                  </a:lnTo>
                  <a:lnTo>
                    <a:pt x="338" y="207"/>
                  </a:lnTo>
                  <a:lnTo>
                    <a:pt x="337" y="207"/>
                  </a:lnTo>
                  <a:lnTo>
                    <a:pt x="337" y="206"/>
                  </a:lnTo>
                  <a:lnTo>
                    <a:pt x="337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6" y="204"/>
                  </a:lnTo>
                  <a:lnTo>
                    <a:pt x="337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5" y="203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:a16="http://schemas.microsoft.com/office/drawing/2014/main" id="{D98DDA3C-3659-2AA1-83FE-462BD958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3069"/>
              <a:ext cx="438" cy="512"/>
            </a:xfrm>
            <a:custGeom>
              <a:avLst/>
              <a:gdLst>
                <a:gd name="T0" fmla="*/ 269 w 438"/>
                <a:gd name="T1" fmla="*/ 10 h 512"/>
                <a:gd name="T2" fmla="*/ 282 w 438"/>
                <a:gd name="T3" fmla="*/ 9 h 512"/>
                <a:gd name="T4" fmla="*/ 306 w 438"/>
                <a:gd name="T5" fmla="*/ 29 h 512"/>
                <a:gd name="T6" fmla="*/ 323 w 438"/>
                <a:gd name="T7" fmla="*/ 45 h 512"/>
                <a:gd name="T8" fmla="*/ 321 w 438"/>
                <a:gd name="T9" fmla="*/ 65 h 512"/>
                <a:gd name="T10" fmla="*/ 327 w 438"/>
                <a:gd name="T11" fmla="*/ 89 h 512"/>
                <a:gd name="T12" fmla="*/ 317 w 438"/>
                <a:gd name="T13" fmla="*/ 108 h 512"/>
                <a:gd name="T14" fmla="*/ 318 w 438"/>
                <a:gd name="T15" fmla="*/ 121 h 512"/>
                <a:gd name="T16" fmla="*/ 332 w 438"/>
                <a:gd name="T17" fmla="*/ 128 h 512"/>
                <a:gd name="T18" fmla="*/ 343 w 438"/>
                <a:gd name="T19" fmla="*/ 144 h 512"/>
                <a:gd name="T20" fmla="*/ 352 w 438"/>
                <a:gd name="T21" fmla="*/ 152 h 512"/>
                <a:gd name="T22" fmla="*/ 383 w 438"/>
                <a:gd name="T23" fmla="*/ 149 h 512"/>
                <a:gd name="T24" fmla="*/ 392 w 438"/>
                <a:gd name="T25" fmla="*/ 162 h 512"/>
                <a:gd name="T26" fmla="*/ 397 w 438"/>
                <a:gd name="T27" fmla="*/ 188 h 512"/>
                <a:gd name="T28" fmla="*/ 390 w 438"/>
                <a:gd name="T29" fmla="*/ 207 h 512"/>
                <a:gd name="T30" fmla="*/ 393 w 438"/>
                <a:gd name="T31" fmla="*/ 220 h 512"/>
                <a:gd name="T32" fmla="*/ 411 w 438"/>
                <a:gd name="T33" fmla="*/ 229 h 512"/>
                <a:gd name="T34" fmla="*/ 403 w 438"/>
                <a:gd name="T35" fmla="*/ 238 h 512"/>
                <a:gd name="T36" fmla="*/ 403 w 438"/>
                <a:gd name="T37" fmla="*/ 247 h 512"/>
                <a:gd name="T38" fmla="*/ 396 w 438"/>
                <a:gd name="T39" fmla="*/ 260 h 512"/>
                <a:gd name="T40" fmla="*/ 392 w 438"/>
                <a:gd name="T41" fmla="*/ 267 h 512"/>
                <a:gd name="T42" fmla="*/ 403 w 438"/>
                <a:gd name="T43" fmla="*/ 277 h 512"/>
                <a:gd name="T44" fmla="*/ 417 w 438"/>
                <a:gd name="T45" fmla="*/ 284 h 512"/>
                <a:gd name="T46" fmla="*/ 423 w 438"/>
                <a:gd name="T47" fmla="*/ 294 h 512"/>
                <a:gd name="T48" fmla="*/ 438 w 438"/>
                <a:gd name="T49" fmla="*/ 309 h 512"/>
                <a:gd name="T50" fmla="*/ 434 w 438"/>
                <a:gd name="T51" fmla="*/ 331 h 512"/>
                <a:gd name="T52" fmla="*/ 428 w 438"/>
                <a:gd name="T53" fmla="*/ 351 h 512"/>
                <a:gd name="T54" fmla="*/ 411 w 438"/>
                <a:gd name="T55" fmla="*/ 360 h 512"/>
                <a:gd name="T56" fmla="*/ 409 w 438"/>
                <a:gd name="T57" fmla="*/ 375 h 512"/>
                <a:gd name="T58" fmla="*/ 399 w 438"/>
                <a:gd name="T59" fmla="*/ 380 h 512"/>
                <a:gd name="T60" fmla="*/ 381 w 438"/>
                <a:gd name="T61" fmla="*/ 391 h 512"/>
                <a:gd name="T62" fmla="*/ 358 w 438"/>
                <a:gd name="T63" fmla="*/ 398 h 512"/>
                <a:gd name="T64" fmla="*/ 348 w 438"/>
                <a:gd name="T65" fmla="*/ 402 h 512"/>
                <a:gd name="T66" fmla="*/ 334 w 438"/>
                <a:gd name="T67" fmla="*/ 428 h 512"/>
                <a:gd name="T68" fmla="*/ 349 w 438"/>
                <a:gd name="T69" fmla="*/ 443 h 512"/>
                <a:gd name="T70" fmla="*/ 353 w 438"/>
                <a:gd name="T71" fmla="*/ 458 h 512"/>
                <a:gd name="T72" fmla="*/ 337 w 438"/>
                <a:gd name="T73" fmla="*/ 464 h 512"/>
                <a:gd name="T74" fmla="*/ 329 w 438"/>
                <a:gd name="T75" fmla="*/ 473 h 512"/>
                <a:gd name="T76" fmla="*/ 312 w 438"/>
                <a:gd name="T77" fmla="*/ 468 h 512"/>
                <a:gd name="T78" fmla="*/ 281 w 438"/>
                <a:gd name="T79" fmla="*/ 469 h 512"/>
                <a:gd name="T80" fmla="*/ 275 w 438"/>
                <a:gd name="T81" fmla="*/ 477 h 512"/>
                <a:gd name="T82" fmla="*/ 263 w 438"/>
                <a:gd name="T83" fmla="*/ 484 h 512"/>
                <a:gd name="T84" fmla="*/ 255 w 438"/>
                <a:gd name="T85" fmla="*/ 495 h 512"/>
                <a:gd name="T86" fmla="*/ 242 w 438"/>
                <a:gd name="T87" fmla="*/ 478 h 512"/>
                <a:gd name="T88" fmla="*/ 232 w 438"/>
                <a:gd name="T89" fmla="*/ 478 h 512"/>
                <a:gd name="T90" fmla="*/ 210 w 438"/>
                <a:gd name="T91" fmla="*/ 464 h 512"/>
                <a:gd name="T92" fmla="*/ 199 w 438"/>
                <a:gd name="T93" fmla="*/ 477 h 512"/>
                <a:gd name="T94" fmla="*/ 198 w 438"/>
                <a:gd name="T95" fmla="*/ 495 h 512"/>
                <a:gd name="T96" fmla="*/ 175 w 438"/>
                <a:gd name="T97" fmla="*/ 511 h 512"/>
                <a:gd name="T98" fmla="*/ 160 w 438"/>
                <a:gd name="T99" fmla="*/ 507 h 512"/>
                <a:gd name="T100" fmla="*/ 155 w 438"/>
                <a:gd name="T101" fmla="*/ 499 h 512"/>
                <a:gd name="T102" fmla="*/ 132 w 438"/>
                <a:gd name="T103" fmla="*/ 498 h 512"/>
                <a:gd name="T104" fmla="*/ 117 w 438"/>
                <a:gd name="T105" fmla="*/ 499 h 512"/>
                <a:gd name="T106" fmla="*/ 102 w 438"/>
                <a:gd name="T107" fmla="*/ 494 h 512"/>
                <a:gd name="T108" fmla="*/ 90 w 438"/>
                <a:gd name="T109" fmla="*/ 502 h 512"/>
                <a:gd name="T110" fmla="*/ 78 w 438"/>
                <a:gd name="T111" fmla="*/ 498 h 512"/>
                <a:gd name="T112" fmla="*/ 63 w 438"/>
                <a:gd name="T113" fmla="*/ 487 h 512"/>
                <a:gd name="T114" fmla="*/ 45 w 438"/>
                <a:gd name="T115" fmla="*/ 495 h 512"/>
                <a:gd name="T116" fmla="*/ 18 w 438"/>
                <a:gd name="T117" fmla="*/ 500 h 512"/>
                <a:gd name="T118" fmla="*/ 1 w 438"/>
                <a:gd name="T119" fmla="*/ 49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512">
                  <a:moveTo>
                    <a:pt x="256" y="0"/>
                  </a:moveTo>
                  <a:lnTo>
                    <a:pt x="256" y="0"/>
                  </a:lnTo>
                  <a:lnTo>
                    <a:pt x="257" y="0"/>
                  </a:lnTo>
                  <a:lnTo>
                    <a:pt x="257" y="1"/>
                  </a:lnTo>
                  <a:lnTo>
                    <a:pt x="258" y="1"/>
                  </a:lnTo>
                  <a:lnTo>
                    <a:pt x="260" y="3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4" y="6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6" y="8"/>
                  </a:lnTo>
                  <a:lnTo>
                    <a:pt x="266" y="9"/>
                  </a:lnTo>
                  <a:lnTo>
                    <a:pt x="267" y="9"/>
                  </a:lnTo>
                  <a:lnTo>
                    <a:pt x="268" y="9"/>
                  </a:lnTo>
                  <a:lnTo>
                    <a:pt x="268" y="10"/>
                  </a:lnTo>
                  <a:lnTo>
                    <a:pt x="269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9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8"/>
                  </a:lnTo>
                  <a:lnTo>
                    <a:pt x="273" y="8"/>
                  </a:lnTo>
                  <a:lnTo>
                    <a:pt x="274" y="7"/>
                  </a:lnTo>
                  <a:lnTo>
                    <a:pt x="275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9" y="8"/>
                  </a:lnTo>
                  <a:lnTo>
                    <a:pt x="280" y="8"/>
                  </a:lnTo>
                  <a:lnTo>
                    <a:pt x="281" y="8"/>
                  </a:lnTo>
                  <a:lnTo>
                    <a:pt x="281" y="8"/>
                  </a:lnTo>
                  <a:lnTo>
                    <a:pt x="281" y="9"/>
                  </a:lnTo>
                  <a:lnTo>
                    <a:pt x="282" y="9"/>
                  </a:lnTo>
                  <a:lnTo>
                    <a:pt x="284" y="10"/>
                  </a:lnTo>
                  <a:lnTo>
                    <a:pt x="286" y="14"/>
                  </a:lnTo>
                  <a:lnTo>
                    <a:pt x="290" y="18"/>
                  </a:lnTo>
                  <a:lnTo>
                    <a:pt x="292" y="20"/>
                  </a:lnTo>
                  <a:lnTo>
                    <a:pt x="293" y="21"/>
                  </a:lnTo>
                  <a:lnTo>
                    <a:pt x="293" y="21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0" y="24"/>
                  </a:lnTo>
                  <a:lnTo>
                    <a:pt x="301" y="25"/>
                  </a:lnTo>
                  <a:lnTo>
                    <a:pt x="302" y="26"/>
                  </a:lnTo>
                  <a:lnTo>
                    <a:pt x="304" y="27"/>
                  </a:lnTo>
                  <a:lnTo>
                    <a:pt x="305" y="28"/>
                  </a:lnTo>
                  <a:lnTo>
                    <a:pt x="306" y="29"/>
                  </a:lnTo>
                  <a:lnTo>
                    <a:pt x="306" y="30"/>
                  </a:lnTo>
                  <a:lnTo>
                    <a:pt x="307" y="31"/>
                  </a:lnTo>
                  <a:lnTo>
                    <a:pt x="308" y="32"/>
                  </a:lnTo>
                  <a:lnTo>
                    <a:pt x="310" y="35"/>
                  </a:lnTo>
                  <a:lnTo>
                    <a:pt x="310" y="36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2" y="38"/>
                  </a:lnTo>
                  <a:lnTo>
                    <a:pt x="313" y="38"/>
                  </a:lnTo>
                  <a:lnTo>
                    <a:pt x="313" y="39"/>
                  </a:lnTo>
                  <a:lnTo>
                    <a:pt x="314" y="39"/>
                  </a:lnTo>
                  <a:lnTo>
                    <a:pt x="316" y="40"/>
                  </a:lnTo>
                  <a:lnTo>
                    <a:pt x="317" y="41"/>
                  </a:lnTo>
                  <a:lnTo>
                    <a:pt x="322" y="43"/>
                  </a:lnTo>
                  <a:lnTo>
                    <a:pt x="323" y="43"/>
                  </a:lnTo>
                  <a:lnTo>
                    <a:pt x="324" y="44"/>
                  </a:lnTo>
                  <a:lnTo>
                    <a:pt x="323" y="45"/>
                  </a:lnTo>
                  <a:lnTo>
                    <a:pt x="322" y="46"/>
                  </a:lnTo>
                  <a:lnTo>
                    <a:pt x="320" y="48"/>
                  </a:lnTo>
                  <a:lnTo>
                    <a:pt x="319" y="49"/>
                  </a:lnTo>
                  <a:lnTo>
                    <a:pt x="318" y="50"/>
                  </a:lnTo>
                  <a:lnTo>
                    <a:pt x="317" y="51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3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5"/>
                  </a:lnTo>
                  <a:lnTo>
                    <a:pt x="317" y="56"/>
                  </a:lnTo>
                  <a:lnTo>
                    <a:pt x="318" y="58"/>
                  </a:lnTo>
                  <a:lnTo>
                    <a:pt x="319" y="60"/>
                  </a:lnTo>
                  <a:lnTo>
                    <a:pt x="319" y="61"/>
                  </a:lnTo>
                  <a:lnTo>
                    <a:pt x="320" y="63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7"/>
                  </a:lnTo>
                  <a:lnTo>
                    <a:pt x="321" y="69"/>
                  </a:lnTo>
                  <a:lnTo>
                    <a:pt x="321" y="74"/>
                  </a:lnTo>
                  <a:lnTo>
                    <a:pt x="321" y="75"/>
                  </a:lnTo>
                  <a:lnTo>
                    <a:pt x="321" y="76"/>
                  </a:lnTo>
                  <a:lnTo>
                    <a:pt x="322" y="77"/>
                  </a:lnTo>
                  <a:lnTo>
                    <a:pt x="322" y="78"/>
                  </a:lnTo>
                  <a:lnTo>
                    <a:pt x="322" y="78"/>
                  </a:lnTo>
                  <a:lnTo>
                    <a:pt x="323" y="80"/>
                  </a:lnTo>
                  <a:lnTo>
                    <a:pt x="324" y="81"/>
                  </a:lnTo>
                  <a:lnTo>
                    <a:pt x="324" y="82"/>
                  </a:lnTo>
                  <a:lnTo>
                    <a:pt x="325" y="83"/>
                  </a:lnTo>
                  <a:lnTo>
                    <a:pt x="325" y="84"/>
                  </a:lnTo>
                  <a:lnTo>
                    <a:pt x="326" y="87"/>
                  </a:lnTo>
                  <a:lnTo>
                    <a:pt x="327" y="89"/>
                  </a:lnTo>
                  <a:lnTo>
                    <a:pt x="327" y="90"/>
                  </a:lnTo>
                  <a:lnTo>
                    <a:pt x="327" y="91"/>
                  </a:lnTo>
                  <a:lnTo>
                    <a:pt x="327" y="93"/>
                  </a:lnTo>
                  <a:lnTo>
                    <a:pt x="326" y="94"/>
                  </a:lnTo>
                  <a:lnTo>
                    <a:pt x="326" y="95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3" y="99"/>
                  </a:lnTo>
                  <a:lnTo>
                    <a:pt x="323" y="100"/>
                  </a:lnTo>
                  <a:lnTo>
                    <a:pt x="322" y="101"/>
                  </a:lnTo>
                  <a:lnTo>
                    <a:pt x="321" y="104"/>
                  </a:lnTo>
                  <a:lnTo>
                    <a:pt x="321" y="105"/>
                  </a:lnTo>
                  <a:lnTo>
                    <a:pt x="321" y="105"/>
                  </a:lnTo>
                  <a:lnTo>
                    <a:pt x="320" y="105"/>
                  </a:lnTo>
                  <a:lnTo>
                    <a:pt x="320" y="106"/>
                  </a:lnTo>
                  <a:lnTo>
                    <a:pt x="319" y="106"/>
                  </a:lnTo>
                  <a:lnTo>
                    <a:pt x="317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5" y="109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4" y="111"/>
                  </a:lnTo>
                  <a:lnTo>
                    <a:pt x="314" y="111"/>
                  </a:lnTo>
                  <a:lnTo>
                    <a:pt x="314" y="112"/>
                  </a:lnTo>
                  <a:lnTo>
                    <a:pt x="314" y="113"/>
                  </a:lnTo>
                  <a:lnTo>
                    <a:pt x="315" y="114"/>
                  </a:lnTo>
                  <a:lnTo>
                    <a:pt x="315" y="114"/>
                  </a:lnTo>
                  <a:lnTo>
                    <a:pt x="315" y="115"/>
                  </a:lnTo>
                  <a:lnTo>
                    <a:pt x="316" y="117"/>
                  </a:lnTo>
                  <a:lnTo>
                    <a:pt x="317" y="118"/>
                  </a:lnTo>
                  <a:lnTo>
                    <a:pt x="317" y="119"/>
                  </a:lnTo>
                  <a:lnTo>
                    <a:pt x="318" y="120"/>
                  </a:lnTo>
                  <a:lnTo>
                    <a:pt x="318" y="121"/>
                  </a:lnTo>
                  <a:lnTo>
                    <a:pt x="318" y="122"/>
                  </a:lnTo>
                  <a:lnTo>
                    <a:pt x="319" y="123"/>
                  </a:lnTo>
                  <a:lnTo>
                    <a:pt x="319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1" y="125"/>
                  </a:lnTo>
                  <a:lnTo>
                    <a:pt x="322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5" y="127"/>
                  </a:lnTo>
                  <a:lnTo>
                    <a:pt x="326" y="127"/>
                  </a:lnTo>
                  <a:lnTo>
                    <a:pt x="329" y="127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2" y="128"/>
                  </a:lnTo>
                  <a:lnTo>
                    <a:pt x="333" y="129"/>
                  </a:lnTo>
                  <a:lnTo>
                    <a:pt x="334" y="129"/>
                  </a:lnTo>
                  <a:lnTo>
                    <a:pt x="334" y="130"/>
                  </a:lnTo>
                  <a:lnTo>
                    <a:pt x="335" y="130"/>
                  </a:lnTo>
                  <a:lnTo>
                    <a:pt x="336" y="132"/>
                  </a:lnTo>
                  <a:lnTo>
                    <a:pt x="336" y="132"/>
                  </a:lnTo>
                  <a:lnTo>
                    <a:pt x="337" y="133"/>
                  </a:lnTo>
                  <a:lnTo>
                    <a:pt x="338" y="134"/>
                  </a:lnTo>
                  <a:lnTo>
                    <a:pt x="339" y="135"/>
                  </a:lnTo>
                  <a:lnTo>
                    <a:pt x="341" y="137"/>
                  </a:lnTo>
                  <a:lnTo>
                    <a:pt x="341" y="137"/>
                  </a:lnTo>
                  <a:lnTo>
                    <a:pt x="342" y="138"/>
                  </a:lnTo>
                  <a:lnTo>
                    <a:pt x="342" y="139"/>
                  </a:lnTo>
                  <a:lnTo>
                    <a:pt x="343" y="139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4"/>
                  </a:lnTo>
                  <a:lnTo>
                    <a:pt x="343" y="145"/>
                  </a:lnTo>
                  <a:lnTo>
                    <a:pt x="343" y="146"/>
                  </a:lnTo>
                  <a:lnTo>
                    <a:pt x="344" y="147"/>
                  </a:lnTo>
                  <a:lnTo>
                    <a:pt x="344" y="148"/>
                  </a:lnTo>
                  <a:lnTo>
                    <a:pt x="344" y="148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6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50" y="152"/>
                  </a:lnTo>
                  <a:lnTo>
                    <a:pt x="350" y="152"/>
                  </a:lnTo>
                  <a:lnTo>
                    <a:pt x="351" y="152"/>
                  </a:lnTo>
                  <a:lnTo>
                    <a:pt x="352" y="152"/>
                  </a:lnTo>
                  <a:lnTo>
                    <a:pt x="353" y="152"/>
                  </a:lnTo>
                  <a:lnTo>
                    <a:pt x="357" y="151"/>
                  </a:lnTo>
                  <a:lnTo>
                    <a:pt x="358" y="151"/>
                  </a:lnTo>
                  <a:lnTo>
                    <a:pt x="359" y="151"/>
                  </a:lnTo>
                  <a:lnTo>
                    <a:pt x="363" y="152"/>
                  </a:lnTo>
                  <a:lnTo>
                    <a:pt x="366" y="152"/>
                  </a:lnTo>
                  <a:lnTo>
                    <a:pt x="369" y="153"/>
                  </a:lnTo>
                  <a:lnTo>
                    <a:pt x="370" y="153"/>
                  </a:lnTo>
                  <a:lnTo>
                    <a:pt x="371" y="153"/>
                  </a:lnTo>
                  <a:lnTo>
                    <a:pt x="372" y="153"/>
                  </a:lnTo>
                  <a:lnTo>
                    <a:pt x="373" y="152"/>
                  </a:lnTo>
                  <a:lnTo>
                    <a:pt x="377" y="151"/>
                  </a:lnTo>
                  <a:lnTo>
                    <a:pt x="379" y="150"/>
                  </a:lnTo>
                  <a:lnTo>
                    <a:pt x="380" y="150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3" y="149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5" y="149"/>
                  </a:lnTo>
                  <a:lnTo>
                    <a:pt x="386" y="149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89" y="152"/>
                  </a:lnTo>
                  <a:lnTo>
                    <a:pt x="389" y="153"/>
                  </a:lnTo>
                  <a:lnTo>
                    <a:pt x="390" y="153"/>
                  </a:lnTo>
                  <a:lnTo>
                    <a:pt x="391" y="154"/>
                  </a:lnTo>
                  <a:lnTo>
                    <a:pt x="391" y="155"/>
                  </a:lnTo>
                  <a:lnTo>
                    <a:pt x="391" y="155"/>
                  </a:lnTo>
                  <a:lnTo>
                    <a:pt x="392" y="156"/>
                  </a:lnTo>
                  <a:lnTo>
                    <a:pt x="392" y="158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3" y="165"/>
                  </a:lnTo>
                  <a:lnTo>
                    <a:pt x="393" y="167"/>
                  </a:lnTo>
                  <a:lnTo>
                    <a:pt x="392" y="168"/>
                  </a:lnTo>
                  <a:lnTo>
                    <a:pt x="392" y="171"/>
                  </a:lnTo>
                  <a:lnTo>
                    <a:pt x="392" y="172"/>
                  </a:lnTo>
                  <a:lnTo>
                    <a:pt x="392" y="173"/>
                  </a:lnTo>
                  <a:lnTo>
                    <a:pt x="392" y="174"/>
                  </a:lnTo>
                  <a:lnTo>
                    <a:pt x="392" y="176"/>
                  </a:lnTo>
                  <a:lnTo>
                    <a:pt x="392" y="178"/>
                  </a:lnTo>
                  <a:lnTo>
                    <a:pt x="392" y="179"/>
                  </a:lnTo>
                  <a:lnTo>
                    <a:pt x="392" y="179"/>
                  </a:lnTo>
                  <a:lnTo>
                    <a:pt x="392" y="180"/>
                  </a:lnTo>
                  <a:lnTo>
                    <a:pt x="393" y="182"/>
                  </a:lnTo>
                  <a:lnTo>
                    <a:pt x="394" y="183"/>
                  </a:lnTo>
                  <a:lnTo>
                    <a:pt x="396" y="185"/>
                  </a:lnTo>
                  <a:lnTo>
                    <a:pt x="396" y="186"/>
                  </a:lnTo>
                  <a:lnTo>
                    <a:pt x="397" y="188"/>
                  </a:lnTo>
                  <a:lnTo>
                    <a:pt x="397" y="189"/>
                  </a:lnTo>
                  <a:lnTo>
                    <a:pt x="398" y="191"/>
                  </a:lnTo>
                  <a:lnTo>
                    <a:pt x="398" y="191"/>
                  </a:lnTo>
                  <a:lnTo>
                    <a:pt x="398" y="192"/>
                  </a:lnTo>
                  <a:lnTo>
                    <a:pt x="398" y="192"/>
                  </a:lnTo>
                  <a:lnTo>
                    <a:pt x="398" y="193"/>
                  </a:lnTo>
                  <a:lnTo>
                    <a:pt x="398" y="194"/>
                  </a:lnTo>
                  <a:lnTo>
                    <a:pt x="397" y="195"/>
                  </a:lnTo>
                  <a:lnTo>
                    <a:pt x="397" y="196"/>
                  </a:lnTo>
                  <a:lnTo>
                    <a:pt x="396" y="198"/>
                  </a:lnTo>
                  <a:lnTo>
                    <a:pt x="396" y="199"/>
                  </a:lnTo>
                  <a:lnTo>
                    <a:pt x="395" y="200"/>
                  </a:lnTo>
                  <a:lnTo>
                    <a:pt x="394" y="202"/>
                  </a:lnTo>
                  <a:lnTo>
                    <a:pt x="393" y="203"/>
                  </a:lnTo>
                  <a:lnTo>
                    <a:pt x="392" y="204"/>
                  </a:lnTo>
                  <a:lnTo>
                    <a:pt x="391" y="206"/>
                  </a:lnTo>
                  <a:lnTo>
                    <a:pt x="390" y="207"/>
                  </a:lnTo>
                  <a:lnTo>
                    <a:pt x="389" y="208"/>
                  </a:lnTo>
                  <a:lnTo>
                    <a:pt x="389" y="209"/>
                  </a:lnTo>
                  <a:lnTo>
                    <a:pt x="388" y="210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7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9" y="218"/>
                  </a:lnTo>
                  <a:lnTo>
                    <a:pt x="390" y="219"/>
                  </a:lnTo>
                  <a:lnTo>
                    <a:pt x="393" y="220"/>
                  </a:lnTo>
                  <a:lnTo>
                    <a:pt x="397" y="221"/>
                  </a:lnTo>
                  <a:lnTo>
                    <a:pt x="398" y="221"/>
                  </a:lnTo>
                  <a:lnTo>
                    <a:pt x="399" y="221"/>
                  </a:lnTo>
                  <a:lnTo>
                    <a:pt x="401" y="222"/>
                  </a:lnTo>
                  <a:lnTo>
                    <a:pt x="402" y="222"/>
                  </a:lnTo>
                  <a:lnTo>
                    <a:pt x="403" y="222"/>
                  </a:lnTo>
                  <a:lnTo>
                    <a:pt x="404" y="223"/>
                  </a:lnTo>
                  <a:lnTo>
                    <a:pt x="405" y="223"/>
                  </a:lnTo>
                  <a:lnTo>
                    <a:pt x="407" y="225"/>
                  </a:lnTo>
                  <a:lnTo>
                    <a:pt x="408" y="226"/>
                  </a:lnTo>
                  <a:lnTo>
                    <a:pt x="410" y="226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11" y="229"/>
                  </a:lnTo>
                  <a:lnTo>
                    <a:pt x="411" y="229"/>
                  </a:lnTo>
                  <a:lnTo>
                    <a:pt x="411" y="230"/>
                  </a:lnTo>
                  <a:lnTo>
                    <a:pt x="411" y="231"/>
                  </a:lnTo>
                  <a:lnTo>
                    <a:pt x="411" y="231"/>
                  </a:lnTo>
                  <a:lnTo>
                    <a:pt x="411" y="233"/>
                  </a:lnTo>
                  <a:lnTo>
                    <a:pt x="411" y="234"/>
                  </a:lnTo>
                  <a:lnTo>
                    <a:pt x="411" y="235"/>
                  </a:lnTo>
                  <a:lnTo>
                    <a:pt x="410" y="235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09" y="236"/>
                  </a:lnTo>
                  <a:lnTo>
                    <a:pt x="408" y="236"/>
                  </a:lnTo>
                  <a:lnTo>
                    <a:pt x="408" y="237"/>
                  </a:lnTo>
                  <a:lnTo>
                    <a:pt x="407" y="237"/>
                  </a:lnTo>
                  <a:lnTo>
                    <a:pt x="405" y="237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3" y="238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403" y="242"/>
                  </a:lnTo>
                  <a:lnTo>
                    <a:pt x="404" y="243"/>
                  </a:lnTo>
                  <a:lnTo>
                    <a:pt x="404" y="243"/>
                  </a:lnTo>
                  <a:lnTo>
                    <a:pt x="404" y="244"/>
                  </a:lnTo>
                  <a:lnTo>
                    <a:pt x="404" y="244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3" y="246"/>
                  </a:lnTo>
                  <a:lnTo>
                    <a:pt x="403" y="247"/>
                  </a:lnTo>
                  <a:lnTo>
                    <a:pt x="403" y="247"/>
                  </a:lnTo>
                  <a:lnTo>
                    <a:pt x="403" y="249"/>
                  </a:lnTo>
                  <a:lnTo>
                    <a:pt x="402" y="251"/>
                  </a:lnTo>
                  <a:lnTo>
                    <a:pt x="402" y="252"/>
                  </a:lnTo>
                  <a:lnTo>
                    <a:pt x="402" y="253"/>
                  </a:lnTo>
                  <a:lnTo>
                    <a:pt x="402" y="254"/>
                  </a:lnTo>
                  <a:lnTo>
                    <a:pt x="401" y="254"/>
                  </a:lnTo>
                  <a:lnTo>
                    <a:pt x="401" y="255"/>
                  </a:lnTo>
                  <a:lnTo>
                    <a:pt x="401" y="255"/>
                  </a:lnTo>
                  <a:lnTo>
                    <a:pt x="400" y="256"/>
                  </a:lnTo>
                  <a:lnTo>
                    <a:pt x="399" y="256"/>
                  </a:lnTo>
                  <a:lnTo>
                    <a:pt x="397" y="258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59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0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2"/>
                  </a:lnTo>
                  <a:lnTo>
                    <a:pt x="398" y="263"/>
                  </a:lnTo>
                  <a:lnTo>
                    <a:pt x="398" y="263"/>
                  </a:lnTo>
                  <a:lnTo>
                    <a:pt x="397" y="263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6" y="264"/>
                  </a:lnTo>
                  <a:lnTo>
                    <a:pt x="394" y="265"/>
                  </a:lnTo>
                  <a:lnTo>
                    <a:pt x="394" y="265"/>
                  </a:lnTo>
                  <a:lnTo>
                    <a:pt x="393" y="265"/>
                  </a:lnTo>
                  <a:lnTo>
                    <a:pt x="393" y="266"/>
                  </a:lnTo>
                  <a:lnTo>
                    <a:pt x="392" y="266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7"/>
                  </a:lnTo>
                  <a:lnTo>
                    <a:pt x="392" y="268"/>
                  </a:lnTo>
                  <a:lnTo>
                    <a:pt x="392" y="269"/>
                  </a:lnTo>
                  <a:lnTo>
                    <a:pt x="392" y="269"/>
                  </a:lnTo>
                  <a:lnTo>
                    <a:pt x="392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4" y="272"/>
                  </a:lnTo>
                  <a:lnTo>
                    <a:pt x="395" y="273"/>
                  </a:lnTo>
                  <a:lnTo>
                    <a:pt x="396" y="274"/>
                  </a:lnTo>
                  <a:lnTo>
                    <a:pt x="397" y="274"/>
                  </a:lnTo>
                  <a:lnTo>
                    <a:pt x="398" y="275"/>
                  </a:lnTo>
                  <a:lnTo>
                    <a:pt x="399" y="275"/>
                  </a:lnTo>
                  <a:lnTo>
                    <a:pt x="400" y="276"/>
                  </a:lnTo>
                  <a:lnTo>
                    <a:pt x="403" y="276"/>
                  </a:lnTo>
                  <a:lnTo>
                    <a:pt x="403" y="277"/>
                  </a:lnTo>
                  <a:lnTo>
                    <a:pt x="404" y="277"/>
                  </a:lnTo>
                  <a:lnTo>
                    <a:pt x="406" y="278"/>
                  </a:lnTo>
                  <a:lnTo>
                    <a:pt x="406" y="278"/>
                  </a:lnTo>
                  <a:lnTo>
                    <a:pt x="407" y="279"/>
                  </a:lnTo>
                  <a:lnTo>
                    <a:pt x="408" y="279"/>
                  </a:lnTo>
                  <a:lnTo>
                    <a:pt x="408" y="280"/>
                  </a:lnTo>
                  <a:lnTo>
                    <a:pt x="409" y="280"/>
                  </a:lnTo>
                  <a:lnTo>
                    <a:pt x="409" y="280"/>
                  </a:lnTo>
                  <a:lnTo>
                    <a:pt x="410" y="281"/>
                  </a:lnTo>
                  <a:lnTo>
                    <a:pt x="412" y="281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5" y="282"/>
                  </a:lnTo>
                  <a:lnTo>
                    <a:pt x="416" y="282"/>
                  </a:lnTo>
                  <a:lnTo>
                    <a:pt x="416" y="282"/>
                  </a:lnTo>
                  <a:lnTo>
                    <a:pt x="416" y="283"/>
                  </a:lnTo>
                  <a:lnTo>
                    <a:pt x="417" y="284"/>
                  </a:lnTo>
                  <a:lnTo>
                    <a:pt x="418" y="284"/>
                  </a:lnTo>
                  <a:lnTo>
                    <a:pt x="418" y="284"/>
                  </a:lnTo>
                  <a:lnTo>
                    <a:pt x="419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6"/>
                  </a:lnTo>
                  <a:lnTo>
                    <a:pt x="421" y="286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1" y="290"/>
                  </a:lnTo>
                  <a:lnTo>
                    <a:pt x="421" y="291"/>
                  </a:lnTo>
                  <a:lnTo>
                    <a:pt x="421" y="291"/>
                  </a:lnTo>
                  <a:lnTo>
                    <a:pt x="421" y="292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3" y="294"/>
                  </a:lnTo>
                  <a:lnTo>
                    <a:pt x="425" y="295"/>
                  </a:lnTo>
                  <a:lnTo>
                    <a:pt x="426" y="296"/>
                  </a:lnTo>
                  <a:lnTo>
                    <a:pt x="427" y="297"/>
                  </a:lnTo>
                  <a:lnTo>
                    <a:pt x="429" y="298"/>
                  </a:lnTo>
                  <a:lnTo>
                    <a:pt x="430" y="299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5" y="301"/>
                  </a:lnTo>
                  <a:lnTo>
                    <a:pt x="436" y="302"/>
                  </a:lnTo>
                  <a:lnTo>
                    <a:pt x="437" y="303"/>
                  </a:lnTo>
                  <a:lnTo>
                    <a:pt x="437" y="304"/>
                  </a:lnTo>
                  <a:lnTo>
                    <a:pt x="438" y="304"/>
                  </a:lnTo>
                  <a:lnTo>
                    <a:pt x="438" y="305"/>
                  </a:lnTo>
                  <a:lnTo>
                    <a:pt x="438" y="306"/>
                  </a:lnTo>
                  <a:lnTo>
                    <a:pt x="438" y="307"/>
                  </a:lnTo>
                  <a:lnTo>
                    <a:pt x="438" y="307"/>
                  </a:lnTo>
                  <a:lnTo>
                    <a:pt x="438" y="309"/>
                  </a:lnTo>
                  <a:lnTo>
                    <a:pt x="437" y="311"/>
                  </a:lnTo>
                  <a:lnTo>
                    <a:pt x="437" y="312"/>
                  </a:lnTo>
                  <a:lnTo>
                    <a:pt x="437" y="312"/>
                  </a:lnTo>
                  <a:lnTo>
                    <a:pt x="437" y="313"/>
                  </a:lnTo>
                  <a:lnTo>
                    <a:pt x="437" y="314"/>
                  </a:lnTo>
                  <a:lnTo>
                    <a:pt x="437" y="314"/>
                  </a:lnTo>
                  <a:lnTo>
                    <a:pt x="438" y="317"/>
                  </a:lnTo>
                  <a:lnTo>
                    <a:pt x="438" y="318"/>
                  </a:lnTo>
                  <a:lnTo>
                    <a:pt x="438" y="319"/>
                  </a:lnTo>
                  <a:lnTo>
                    <a:pt x="438" y="320"/>
                  </a:lnTo>
                  <a:lnTo>
                    <a:pt x="438" y="321"/>
                  </a:lnTo>
                  <a:lnTo>
                    <a:pt x="438" y="322"/>
                  </a:lnTo>
                  <a:lnTo>
                    <a:pt x="437" y="324"/>
                  </a:lnTo>
                  <a:lnTo>
                    <a:pt x="436" y="325"/>
                  </a:lnTo>
                  <a:lnTo>
                    <a:pt x="435" y="329"/>
                  </a:lnTo>
                  <a:lnTo>
                    <a:pt x="434" y="330"/>
                  </a:lnTo>
                  <a:lnTo>
                    <a:pt x="434" y="331"/>
                  </a:lnTo>
                  <a:lnTo>
                    <a:pt x="432" y="333"/>
                  </a:lnTo>
                  <a:lnTo>
                    <a:pt x="432" y="333"/>
                  </a:lnTo>
                  <a:lnTo>
                    <a:pt x="431" y="334"/>
                  </a:lnTo>
                  <a:lnTo>
                    <a:pt x="431" y="335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40"/>
                  </a:lnTo>
                  <a:lnTo>
                    <a:pt x="430" y="343"/>
                  </a:lnTo>
                  <a:lnTo>
                    <a:pt x="430" y="347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49"/>
                  </a:lnTo>
                  <a:lnTo>
                    <a:pt x="429" y="350"/>
                  </a:lnTo>
                  <a:lnTo>
                    <a:pt x="429" y="350"/>
                  </a:lnTo>
                  <a:lnTo>
                    <a:pt x="429" y="351"/>
                  </a:lnTo>
                  <a:lnTo>
                    <a:pt x="428" y="351"/>
                  </a:lnTo>
                  <a:lnTo>
                    <a:pt x="428" y="352"/>
                  </a:lnTo>
                  <a:lnTo>
                    <a:pt x="427" y="353"/>
                  </a:lnTo>
                  <a:lnTo>
                    <a:pt x="424" y="354"/>
                  </a:lnTo>
                  <a:lnTo>
                    <a:pt x="422" y="356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1" y="357"/>
                  </a:lnTo>
                  <a:lnTo>
                    <a:pt x="420" y="358"/>
                  </a:lnTo>
                  <a:lnTo>
                    <a:pt x="419" y="358"/>
                  </a:lnTo>
                  <a:lnTo>
                    <a:pt x="418" y="358"/>
                  </a:lnTo>
                  <a:lnTo>
                    <a:pt x="416" y="358"/>
                  </a:lnTo>
                  <a:lnTo>
                    <a:pt x="415" y="358"/>
                  </a:lnTo>
                  <a:lnTo>
                    <a:pt x="414" y="359"/>
                  </a:lnTo>
                  <a:lnTo>
                    <a:pt x="413" y="359"/>
                  </a:lnTo>
                  <a:lnTo>
                    <a:pt x="412" y="359"/>
                  </a:lnTo>
                  <a:lnTo>
                    <a:pt x="412" y="360"/>
                  </a:lnTo>
                  <a:lnTo>
                    <a:pt x="411" y="360"/>
                  </a:lnTo>
                  <a:lnTo>
                    <a:pt x="411" y="361"/>
                  </a:lnTo>
                  <a:lnTo>
                    <a:pt x="409" y="362"/>
                  </a:lnTo>
                  <a:lnTo>
                    <a:pt x="408" y="363"/>
                  </a:lnTo>
                  <a:lnTo>
                    <a:pt x="408" y="364"/>
                  </a:lnTo>
                  <a:lnTo>
                    <a:pt x="408" y="364"/>
                  </a:lnTo>
                  <a:lnTo>
                    <a:pt x="407" y="365"/>
                  </a:lnTo>
                  <a:lnTo>
                    <a:pt x="407" y="365"/>
                  </a:lnTo>
                  <a:lnTo>
                    <a:pt x="407" y="366"/>
                  </a:lnTo>
                  <a:lnTo>
                    <a:pt x="407" y="367"/>
                  </a:lnTo>
                  <a:lnTo>
                    <a:pt x="407" y="367"/>
                  </a:lnTo>
                  <a:lnTo>
                    <a:pt x="407" y="368"/>
                  </a:lnTo>
                  <a:lnTo>
                    <a:pt x="407" y="369"/>
                  </a:lnTo>
                  <a:lnTo>
                    <a:pt x="407" y="369"/>
                  </a:lnTo>
                  <a:lnTo>
                    <a:pt x="408" y="372"/>
                  </a:lnTo>
                  <a:lnTo>
                    <a:pt x="409" y="373"/>
                  </a:lnTo>
                  <a:lnTo>
                    <a:pt x="409" y="374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09" y="376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7"/>
                  </a:lnTo>
                  <a:lnTo>
                    <a:pt x="409" y="378"/>
                  </a:lnTo>
                  <a:lnTo>
                    <a:pt x="409" y="378"/>
                  </a:lnTo>
                  <a:lnTo>
                    <a:pt x="408" y="379"/>
                  </a:lnTo>
                  <a:lnTo>
                    <a:pt x="408" y="379"/>
                  </a:lnTo>
                  <a:lnTo>
                    <a:pt x="407" y="379"/>
                  </a:lnTo>
                  <a:lnTo>
                    <a:pt x="407" y="380"/>
                  </a:lnTo>
                  <a:lnTo>
                    <a:pt x="406" y="380"/>
                  </a:lnTo>
                  <a:lnTo>
                    <a:pt x="405" y="380"/>
                  </a:lnTo>
                  <a:lnTo>
                    <a:pt x="404" y="380"/>
                  </a:lnTo>
                  <a:lnTo>
                    <a:pt x="403" y="380"/>
                  </a:lnTo>
                  <a:lnTo>
                    <a:pt x="402" y="380"/>
                  </a:lnTo>
                  <a:lnTo>
                    <a:pt x="399" y="380"/>
                  </a:lnTo>
                  <a:lnTo>
                    <a:pt x="397" y="380"/>
                  </a:lnTo>
                  <a:lnTo>
                    <a:pt x="397" y="380"/>
                  </a:lnTo>
                  <a:lnTo>
                    <a:pt x="396" y="380"/>
                  </a:lnTo>
                  <a:lnTo>
                    <a:pt x="395" y="381"/>
                  </a:lnTo>
                  <a:lnTo>
                    <a:pt x="395" y="381"/>
                  </a:lnTo>
                  <a:lnTo>
                    <a:pt x="394" y="382"/>
                  </a:lnTo>
                  <a:lnTo>
                    <a:pt x="393" y="382"/>
                  </a:lnTo>
                  <a:lnTo>
                    <a:pt x="392" y="383"/>
                  </a:lnTo>
                  <a:lnTo>
                    <a:pt x="391" y="386"/>
                  </a:lnTo>
                  <a:lnTo>
                    <a:pt x="390" y="387"/>
                  </a:lnTo>
                  <a:lnTo>
                    <a:pt x="389" y="387"/>
                  </a:lnTo>
                  <a:lnTo>
                    <a:pt x="389" y="388"/>
                  </a:lnTo>
                  <a:lnTo>
                    <a:pt x="387" y="389"/>
                  </a:lnTo>
                  <a:lnTo>
                    <a:pt x="386" y="390"/>
                  </a:lnTo>
                  <a:lnTo>
                    <a:pt x="385" y="390"/>
                  </a:lnTo>
                  <a:lnTo>
                    <a:pt x="383" y="391"/>
                  </a:lnTo>
                  <a:lnTo>
                    <a:pt x="381" y="391"/>
                  </a:lnTo>
                  <a:lnTo>
                    <a:pt x="380" y="391"/>
                  </a:lnTo>
                  <a:lnTo>
                    <a:pt x="378" y="392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1" y="394"/>
                  </a:lnTo>
                  <a:lnTo>
                    <a:pt x="370" y="394"/>
                  </a:lnTo>
                  <a:lnTo>
                    <a:pt x="368" y="395"/>
                  </a:lnTo>
                  <a:lnTo>
                    <a:pt x="367" y="396"/>
                  </a:lnTo>
                  <a:lnTo>
                    <a:pt x="364" y="397"/>
                  </a:lnTo>
                  <a:lnTo>
                    <a:pt x="363" y="398"/>
                  </a:lnTo>
                  <a:lnTo>
                    <a:pt x="362" y="398"/>
                  </a:lnTo>
                  <a:lnTo>
                    <a:pt x="361" y="399"/>
                  </a:lnTo>
                  <a:lnTo>
                    <a:pt x="360" y="399"/>
                  </a:lnTo>
                  <a:lnTo>
                    <a:pt x="360" y="399"/>
                  </a:lnTo>
                  <a:lnTo>
                    <a:pt x="359" y="399"/>
                  </a:lnTo>
                  <a:lnTo>
                    <a:pt x="358" y="399"/>
                  </a:lnTo>
                  <a:lnTo>
                    <a:pt x="358" y="398"/>
                  </a:lnTo>
                  <a:lnTo>
                    <a:pt x="357" y="398"/>
                  </a:lnTo>
                  <a:lnTo>
                    <a:pt x="357" y="398"/>
                  </a:lnTo>
                  <a:lnTo>
                    <a:pt x="356" y="398"/>
                  </a:lnTo>
                  <a:lnTo>
                    <a:pt x="355" y="397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53" y="397"/>
                  </a:lnTo>
                  <a:lnTo>
                    <a:pt x="352" y="398"/>
                  </a:lnTo>
                  <a:lnTo>
                    <a:pt x="351" y="398"/>
                  </a:lnTo>
                  <a:lnTo>
                    <a:pt x="351" y="398"/>
                  </a:lnTo>
                  <a:lnTo>
                    <a:pt x="350" y="399"/>
                  </a:lnTo>
                  <a:lnTo>
                    <a:pt x="349" y="399"/>
                  </a:lnTo>
                  <a:lnTo>
                    <a:pt x="349" y="400"/>
                  </a:lnTo>
                  <a:lnTo>
                    <a:pt x="348" y="400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8" y="402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6" y="407"/>
                  </a:lnTo>
                  <a:lnTo>
                    <a:pt x="344" y="410"/>
                  </a:lnTo>
                  <a:lnTo>
                    <a:pt x="344" y="411"/>
                  </a:lnTo>
                  <a:lnTo>
                    <a:pt x="344" y="412"/>
                  </a:lnTo>
                  <a:lnTo>
                    <a:pt x="343" y="412"/>
                  </a:lnTo>
                  <a:lnTo>
                    <a:pt x="337" y="419"/>
                  </a:lnTo>
                  <a:lnTo>
                    <a:pt x="337" y="420"/>
                  </a:lnTo>
                  <a:lnTo>
                    <a:pt x="336" y="421"/>
                  </a:lnTo>
                  <a:lnTo>
                    <a:pt x="336" y="422"/>
                  </a:lnTo>
                  <a:lnTo>
                    <a:pt x="335" y="423"/>
                  </a:lnTo>
                  <a:lnTo>
                    <a:pt x="335" y="424"/>
                  </a:lnTo>
                  <a:lnTo>
                    <a:pt x="335" y="425"/>
                  </a:lnTo>
                  <a:lnTo>
                    <a:pt x="335" y="426"/>
                  </a:lnTo>
                  <a:lnTo>
                    <a:pt x="334" y="427"/>
                  </a:lnTo>
                  <a:lnTo>
                    <a:pt x="334" y="428"/>
                  </a:lnTo>
                  <a:lnTo>
                    <a:pt x="334" y="429"/>
                  </a:lnTo>
                  <a:lnTo>
                    <a:pt x="334" y="430"/>
                  </a:lnTo>
                  <a:lnTo>
                    <a:pt x="335" y="432"/>
                  </a:lnTo>
                  <a:lnTo>
                    <a:pt x="335" y="433"/>
                  </a:lnTo>
                  <a:lnTo>
                    <a:pt x="335" y="434"/>
                  </a:lnTo>
                  <a:lnTo>
                    <a:pt x="336" y="435"/>
                  </a:lnTo>
                  <a:lnTo>
                    <a:pt x="336" y="436"/>
                  </a:lnTo>
                  <a:lnTo>
                    <a:pt x="336" y="436"/>
                  </a:lnTo>
                  <a:lnTo>
                    <a:pt x="337" y="437"/>
                  </a:lnTo>
                  <a:lnTo>
                    <a:pt x="338" y="437"/>
                  </a:lnTo>
                  <a:lnTo>
                    <a:pt x="338" y="438"/>
                  </a:lnTo>
                  <a:lnTo>
                    <a:pt x="342" y="440"/>
                  </a:lnTo>
                  <a:lnTo>
                    <a:pt x="344" y="440"/>
                  </a:lnTo>
                  <a:lnTo>
                    <a:pt x="346" y="441"/>
                  </a:lnTo>
                  <a:lnTo>
                    <a:pt x="347" y="442"/>
                  </a:lnTo>
                  <a:lnTo>
                    <a:pt x="348" y="442"/>
                  </a:lnTo>
                  <a:lnTo>
                    <a:pt x="349" y="443"/>
                  </a:lnTo>
                  <a:lnTo>
                    <a:pt x="349" y="443"/>
                  </a:lnTo>
                  <a:lnTo>
                    <a:pt x="350" y="444"/>
                  </a:lnTo>
                  <a:lnTo>
                    <a:pt x="350" y="444"/>
                  </a:lnTo>
                  <a:lnTo>
                    <a:pt x="351" y="445"/>
                  </a:lnTo>
                  <a:lnTo>
                    <a:pt x="352" y="446"/>
                  </a:lnTo>
                  <a:lnTo>
                    <a:pt x="353" y="448"/>
                  </a:lnTo>
                  <a:lnTo>
                    <a:pt x="353" y="449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4" y="451"/>
                  </a:lnTo>
                  <a:lnTo>
                    <a:pt x="354" y="452"/>
                  </a:lnTo>
                  <a:lnTo>
                    <a:pt x="354" y="454"/>
                  </a:lnTo>
                  <a:lnTo>
                    <a:pt x="354" y="455"/>
                  </a:lnTo>
                  <a:lnTo>
                    <a:pt x="354" y="456"/>
                  </a:lnTo>
                  <a:lnTo>
                    <a:pt x="354" y="457"/>
                  </a:lnTo>
                  <a:lnTo>
                    <a:pt x="354" y="457"/>
                  </a:lnTo>
                  <a:lnTo>
                    <a:pt x="353" y="458"/>
                  </a:lnTo>
                  <a:lnTo>
                    <a:pt x="353" y="459"/>
                  </a:lnTo>
                  <a:lnTo>
                    <a:pt x="353" y="460"/>
                  </a:lnTo>
                  <a:lnTo>
                    <a:pt x="352" y="460"/>
                  </a:lnTo>
                  <a:lnTo>
                    <a:pt x="352" y="461"/>
                  </a:lnTo>
                  <a:lnTo>
                    <a:pt x="351" y="461"/>
                  </a:lnTo>
                  <a:lnTo>
                    <a:pt x="349" y="463"/>
                  </a:lnTo>
                  <a:lnTo>
                    <a:pt x="348" y="463"/>
                  </a:lnTo>
                  <a:lnTo>
                    <a:pt x="348" y="464"/>
                  </a:lnTo>
                  <a:lnTo>
                    <a:pt x="347" y="464"/>
                  </a:lnTo>
                  <a:lnTo>
                    <a:pt x="346" y="464"/>
                  </a:lnTo>
                  <a:lnTo>
                    <a:pt x="345" y="464"/>
                  </a:lnTo>
                  <a:lnTo>
                    <a:pt x="344" y="464"/>
                  </a:lnTo>
                  <a:lnTo>
                    <a:pt x="342" y="464"/>
                  </a:lnTo>
                  <a:lnTo>
                    <a:pt x="341" y="464"/>
                  </a:lnTo>
                  <a:lnTo>
                    <a:pt x="339" y="464"/>
                  </a:lnTo>
                  <a:lnTo>
                    <a:pt x="338" y="464"/>
                  </a:lnTo>
                  <a:lnTo>
                    <a:pt x="337" y="464"/>
                  </a:lnTo>
                  <a:lnTo>
                    <a:pt x="337" y="464"/>
                  </a:lnTo>
                  <a:lnTo>
                    <a:pt x="336" y="464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4" y="466"/>
                  </a:lnTo>
                  <a:lnTo>
                    <a:pt x="333" y="466"/>
                  </a:lnTo>
                  <a:lnTo>
                    <a:pt x="333" y="466"/>
                  </a:lnTo>
                  <a:lnTo>
                    <a:pt x="333" y="467"/>
                  </a:lnTo>
                  <a:lnTo>
                    <a:pt x="332" y="467"/>
                  </a:lnTo>
                  <a:lnTo>
                    <a:pt x="331" y="469"/>
                  </a:lnTo>
                  <a:lnTo>
                    <a:pt x="331" y="470"/>
                  </a:lnTo>
                  <a:lnTo>
                    <a:pt x="330" y="471"/>
                  </a:lnTo>
                  <a:lnTo>
                    <a:pt x="330" y="472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8" y="473"/>
                  </a:lnTo>
                  <a:lnTo>
                    <a:pt x="328" y="473"/>
                  </a:lnTo>
                  <a:lnTo>
                    <a:pt x="327" y="473"/>
                  </a:lnTo>
                  <a:lnTo>
                    <a:pt x="326" y="473"/>
                  </a:lnTo>
                  <a:lnTo>
                    <a:pt x="324" y="471"/>
                  </a:lnTo>
                  <a:lnTo>
                    <a:pt x="324" y="471"/>
                  </a:lnTo>
                  <a:lnTo>
                    <a:pt x="323" y="470"/>
                  </a:lnTo>
                  <a:lnTo>
                    <a:pt x="322" y="470"/>
                  </a:lnTo>
                  <a:lnTo>
                    <a:pt x="320" y="470"/>
                  </a:lnTo>
                  <a:lnTo>
                    <a:pt x="319" y="469"/>
                  </a:lnTo>
                  <a:lnTo>
                    <a:pt x="317" y="469"/>
                  </a:lnTo>
                  <a:lnTo>
                    <a:pt x="315" y="468"/>
                  </a:lnTo>
                  <a:lnTo>
                    <a:pt x="315" y="468"/>
                  </a:lnTo>
                  <a:lnTo>
                    <a:pt x="314" y="468"/>
                  </a:lnTo>
                  <a:lnTo>
                    <a:pt x="314" y="468"/>
                  </a:lnTo>
                  <a:lnTo>
                    <a:pt x="313" y="468"/>
                  </a:lnTo>
                  <a:lnTo>
                    <a:pt x="312" y="468"/>
                  </a:lnTo>
                  <a:lnTo>
                    <a:pt x="310" y="469"/>
                  </a:lnTo>
                  <a:lnTo>
                    <a:pt x="307" y="470"/>
                  </a:lnTo>
                  <a:lnTo>
                    <a:pt x="305" y="471"/>
                  </a:lnTo>
                  <a:lnTo>
                    <a:pt x="305" y="471"/>
                  </a:lnTo>
                  <a:lnTo>
                    <a:pt x="303" y="471"/>
                  </a:lnTo>
                  <a:lnTo>
                    <a:pt x="301" y="472"/>
                  </a:lnTo>
                  <a:lnTo>
                    <a:pt x="300" y="472"/>
                  </a:lnTo>
                  <a:lnTo>
                    <a:pt x="299" y="472"/>
                  </a:lnTo>
                  <a:lnTo>
                    <a:pt x="297" y="472"/>
                  </a:lnTo>
                  <a:lnTo>
                    <a:pt x="296" y="472"/>
                  </a:lnTo>
                  <a:lnTo>
                    <a:pt x="292" y="471"/>
                  </a:lnTo>
                  <a:lnTo>
                    <a:pt x="291" y="471"/>
                  </a:lnTo>
                  <a:lnTo>
                    <a:pt x="288" y="471"/>
                  </a:lnTo>
                  <a:lnTo>
                    <a:pt x="287" y="471"/>
                  </a:lnTo>
                  <a:lnTo>
                    <a:pt x="286" y="470"/>
                  </a:lnTo>
                  <a:lnTo>
                    <a:pt x="285" y="470"/>
                  </a:lnTo>
                  <a:lnTo>
                    <a:pt x="281" y="469"/>
                  </a:lnTo>
                  <a:lnTo>
                    <a:pt x="280" y="469"/>
                  </a:lnTo>
                  <a:lnTo>
                    <a:pt x="279" y="469"/>
                  </a:lnTo>
                  <a:lnTo>
                    <a:pt x="279" y="469"/>
                  </a:lnTo>
                  <a:lnTo>
                    <a:pt x="278" y="469"/>
                  </a:lnTo>
                  <a:lnTo>
                    <a:pt x="277" y="469"/>
                  </a:lnTo>
                  <a:lnTo>
                    <a:pt x="276" y="469"/>
                  </a:lnTo>
                  <a:lnTo>
                    <a:pt x="276" y="470"/>
                  </a:lnTo>
                  <a:lnTo>
                    <a:pt x="275" y="470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74" y="472"/>
                  </a:lnTo>
                  <a:lnTo>
                    <a:pt x="274" y="472"/>
                  </a:lnTo>
                  <a:lnTo>
                    <a:pt x="274" y="473"/>
                  </a:lnTo>
                  <a:lnTo>
                    <a:pt x="274" y="473"/>
                  </a:lnTo>
                  <a:lnTo>
                    <a:pt x="274" y="474"/>
                  </a:lnTo>
                  <a:lnTo>
                    <a:pt x="275" y="476"/>
                  </a:lnTo>
                  <a:lnTo>
                    <a:pt x="275" y="477"/>
                  </a:lnTo>
                  <a:lnTo>
                    <a:pt x="275" y="477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5" y="478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80"/>
                  </a:lnTo>
                  <a:lnTo>
                    <a:pt x="272" y="480"/>
                  </a:lnTo>
                  <a:lnTo>
                    <a:pt x="271" y="480"/>
                  </a:lnTo>
                  <a:lnTo>
                    <a:pt x="266" y="482"/>
                  </a:lnTo>
                  <a:lnTo>
                    <a:pt x="265" y="482"/>
                  </a:lnTo>
                  <a:lnTo>
                    <a:pt x="265" y="482"/>
                  </a:lnTo>
                  <a:lnTo>
                    <a:pt x="264" y="482"/>
                  </a:lnTo>
                  <a:lnTo>
                    <a:pt x="264" y="483"/>
                  </a:lnTo>
                  <a:lnTo>
                    <a:pt x="264" y="483"/>
                  </a:lnTo>
                  <a:lnTo>
                    <a:pt x="263" y="484"/>
                  </a:lnTo>
                  <a:lnTo>
                    <a:pt x="263" y="484"/>
                  </a:lnTo>
                  <a:lnTo>
                    <a:pt x="263" y="485"/>
                  </a:lnTo>
                  <a:lnTo>
                    <a:pt x="262" y="486"/>
                  </a:lnTo>
                  <a:lnTo>
                    <a:pt x="262" y="487"/>
                  </a:lnTo>
                  <a:lnTo>
                    <a:pt x="262" y="490"/>
                  </a:lnTo>
                  <a:lnTo>
                    <a:pt x="261" y="491"/>
                  </a:lnTo>
                  <a:lnTo>
                    <a:pt x="261" y="492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60" y="494"/>
                  </a:lnTo>
                  <a:lnTo>
                    <a:pt x="259" y="495"/>
                  </a:lnTo>
                  <a:lnTo>
                    <a:pt x="258" y="495"/>
                  </a:lnTo>
                  <a:lnTo>
                    <a:pt x="258" y="495"/>
                  </a:lnTo>
                  <a:lnTo>
                    <a:pt x="257" y="495"/>
                  </a:lnTo>
                  <a:lnTo>
                    <a:pt x="256" y="495"/>
                  </a:lnTo>
                  <a:lnTo>
                    <a:pt x="256" y="495"/>
                  </a:lnTo>
                  <a:lnTo>
                    <a:pt x="255" y="495"/>
                  </a:lnTo>
                  <a:lnTo>
                    <a:pt x="254" y="495"/>
                  </a:lnTo>
                  <a:lnTo>
                    <a:pt x="254" y="495"/>
                  </a:lnTo>
                  <a:lnTo>
                    <a:pt x="252" y="494"/>
                  </a:lnTo>
                  <a:lnTo>
                    <a:pt x="252" y="494"/>
                  </a:lnTo>
                  <a:lnTo>
                    <a:pt x="251" y="494"/>
                  </a:lnTo>
                  <a:lnTo>
                    <a:pt x="250" y="493"/>
                  </a:lnTo>
                  <a:lnTo>
                    <a:pt x="250" y="492"/>
                  </a:lnTo>
                  <a:lnTo>
                    <a:pt x="249" y="492"/>
                  </a:lnTo>
                  <a:lnTo>
                    <a:pt x="248" y="491"/>
                  </a:lnTo>
                  <a:lnTo>
                    <a:pt x="247" y="489"/>
                  </a:lnTo>
                  <a:lnTo>
                    <a:pt x="246" y="487"/>
                  </a:lnTo>
                  <a:lnTo>
                    <a:pt x="245" y="484"/>
                  </a:lnTo>
                  <a:lnTo>
                    <a:pt x="244" y="482"/>
                  </a:lnTo>
                  <a:lnTo>
                    <a:pt x="243" y="481"/>
                  </a:lnTo>
                  <a:lnTo>
                    <a:pt x="243" y="479"/>
                  </a:lnTo>
                  <a:lnTo>
                    <a:pt x="242" y="478"/>
                  </a:lnTo>
                  <a:lnTo>
                    <a:pt x="242" y="478"/>
                  </a:lnTo>
                  <a:lnTo>
                    <a:pt x="242" y="477"/>
                  </a:lnTo>
                  <a:lnTo>
                    <a:pt x="242" y="477"/>
                  </a:lnTo>
                  <a:lnTo>
                    <a:pt x="241" y="477"/>
                  </a:lnTo>
                  <a:lnTo>
                    <a:pt x="241" y="477"/>
                  </a:lnTo>
                  <a:lnTo>
                    <a:pt x="240" y="477"/>
                  </a:lnTo>
                  <a:lnTo>
                    <a:pt x="240" y="477"/>
                  </a:lnTo>
                  <a:lnTo>
                    <a:pt x="239" y="477"/>
                  </a:lnTo>
                  <a:lnTo>
                    <a:pt x="238" y="478"/>
                  </a:lnTo>
                  <a:lnTo>
                    <a:pt x="237" y="478"/>
                  </a:lnTo>
                  <a:lnTo>
                    <a:pt x="236" y="479"/>
                  </a:lnTo>
                  <a:lnTo>
                    <a:pt x="235" y="479"/>
                  </a:lnTo>
                  <a:lnTo>
                    <a:pt x="235" y="479"/>
                  </a:lnTo>
                  <a:lnTo>
                    <a:pt x="234" y="479"/>
                  </a:lnTo>
                  <a:lnTo>
                    <a:pt x="234" y="479"/>
                  </a:lnTo>
                  <a:lnTo>
                    <a:pt x="233" y="479"/>
                  </a:lnTo>
                  <a:lnTo>
                    <a:pt x="233" y="479"/>
                  </a:lnTo>
                  <a:lnTo>
                    <a:pt x="232" y="478"/>
                  </a:lnTo>
                  <a:lnTo>
                    <a:pt x="231" y="477"/>
                  </a:lnTo>
                  <a:lnTo>
                    <a:pt x="230" y="477"/>
                  </a:lnTo>
                  <a:lnTo>
                    <a:pt x="228" y="475"/>
                  </a:lnTo>
                  <a:lnTo>
                    <a:pt x="225" y="473"/>
                  </a:lnTo>
                  <a:lnTo>
                    <a:pt x="224" y="472"/>
                  </a:lnTo>
                  <a:lnTo>
                    <a:pt x="223" y="471"/>
                  </a:lnTo>
                  <a:lnTo>
                    <a:pt x="222" y="471"/>
                  </a:lnTo>
                  <a:lnTo>
                    <a:pt x="221" y="470"/>
                  </a:lnTo>
                  <a:lnTo>
                    <a:pt x="217" y="468"/>
                  </a:lnTo>
                  <a:lnTo>
                    <a:pt x="216" y="467"/>
                  </a:lnTo>
                  <a:lnTo>
                    <a:pt x="215" y="467"/>
                  </a:lnTo>
                  <a:lnTo>
                    <a:pt x="213" y="465"/>
                  </a:lnTo>
                  <a:lnTo>
                    <a:pt x="212" y="465"/>
                  </a:lnTo>
                  <a:lnTo>
                    <a:pt x="211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10" y="464"/>
                  </a:lnTo>
                  <a:lnTo>
                    <a:pt x="209" y="465"/>
                  </a:lnTo>
                  <a:lnTo>
                    <a:pt x="209" y="465"/>
                  </a:lnTo>
                  <a:lnTo>
                    <a:pt x="207" y="466"/>
                  </a:lnTo>
                  <a:lnTo>
                    <a:pt x="205" y="467"/>
                  </a:lnTo>
                  <a:lnTo>
                    <a:pt x="204" y="468"/>
                  </a:lnTo>
                  <a:lnTo>
                    <a:pt x="204" y="469"/>
                  </a:lnTo>
                  <a:lnTo>
                    <a:pt x="203" y="469"/>
                  </a:lnTo>
                  <a:lnTo>
                    <a:pt x="203" y="471"/>
                  </a:lnTo>
                  <a:lnTo>
                    <a:pt x="202" y="471"/>
                  </a:lnTo>
                  <a:lnTo>
                    <a:pt x="202" y="472"/>
                  </a:lnTo>
                  <a:lnTo>
                    <a:pt x="201" y="473"/>
                  </a:lnTo>
                  <a:lnTo>
                    <a:pt x="200" y="473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9" y="475"/>
                  </a:lnTo>
                  <a:lnTo>
                    <a:pt x="199" y="475"/>
                  </a:lnTo>
                  <a:lnTo>
                    <a:pt x="199" y="477"/>
                  </a:lnTo>
                  <a:lnTo>
                    <a:pt x="199" y="478"/>
                  </a:lnTo>
                  <a:lnTo>
                    <a:pt x="199" y="479"/>
                  </a:lnTo>
                  <a:lnTo>
                    <a:pt x="198" y="481"/>
                  </a:lnTo>
                  <a:lnTo>
                    <a:pt x="198" y="482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200" y="491"/>
                  </a:lnTo>
                  <a:lnTo>
                    <a:pt x="200" y="492"/>
                  </a:lnTo>
                  <a:lnTo>
                    <a:pt x="200" y="492"/>
                  </a:lnTo>
                  <a:lnTo>
                    <a:pt x="200" y="493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9" y="494"/>
                  </a:lnTo>
                  <a:lnTo>
                    <a:pt x="198" y="495"/>
                  </a:lnTo>
                  <a:lnTo>
                    <a:pt x="198" y="495"/>
                  </a:lnTo>
                  <a:lnTo>
                    <a:pt x="196" y="496"/>
                  </a:lnTo>
                  <a:lnTo>
                    <a:pt x="195" y="496"/>
                  </a:lnTo>
                  <a:lnTo>
                    <a:pt x="194" y="497"/>
                  </a:lnTo>
                  <a:lnTo>
                    <a:pt x="191" y="498"/>
                  </a:lnTo>
                  <a:lnTo>
                    <a:pt x="190" y="498"/>
                  </a:lnTo>
                  <a:lnTo>
                    <a:pt x="189" y="498"/>
                  </a:lnTo>
                  <a:lnTo>
                    <a:pt x="188" y="499"/>
                  </a:lnTo>
                  <a:lnTo>
                    <a:pt x="186" y="500"/>
                  </a:lnTo>
                  <a:lnTo>
                    <a:pt x="184" y="502"/>
                  </a:lnTo>
                  <a:lnTo>
                    <a:pt x="181" y="504"/>
                  </a:lnTo>
                  <a:lnTo>
                    <a:pt x="180" y="505"/>
                  </a:lnTo>
                  <a:lnTo>
                    <a:pt x="179" y="507"/>
                  </a:lnTo>
                  <a:lnTo>
                    <a:pt x="178" y="508"/>
                  </a:lnTo>
                  <a:lnTo>
                    <a:pt x="177" y="509"/>
                  </a:lnTo>
                  <a:lnTo>
                    <a:pt x="176" y="511"/>
                  </a:lnTo>
                  <a:lnTo>
                    <a:pt x="175" y="511"/>
                  </a:lnTo>
                  <a:lnTo>
                    <a:pt x="175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4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3" y="512"/>
                  </a:lnTo>
                  <a:lnTo>
                    <a:pt x="172" y="512"/>
                  </a:lnTo>
                  <a:lnTo>
                    <a:pt x="172" y="512"/>
                  </a:lnTo>
                  <a:lnTo>
                    <a:pt x="170" y="510"/>
                  </a:lnTo>
                  <a:lnTo>
                    <a:pt x="169" y="510"/>
                  </a:lnTo>
                  <a:lnTo>
                    <a:pt x="168" y="509"/>
                  </a:lnTo>
                  <a:lnTo>
                    <a:pt x="166" y="509"/>
                  </a:lnTo>
                  <a:lnTo>
                    <a:pt x="165" y="508"/>
                  </a:lnTo>
                  <a:lnTo>
                    <a:pt x="163" y="508"/>
                  </a:lnTo>
                  <a:lnTo>
                    <a:pt x="162" y="508"/>
                  </a:lnTo>
                  <a:lnTo>
                    <a:pt x="160" y="507"/>
                  </a:lnTo>
                  <a:lnTo>
                    <a:pt x="158" y="507"/>
                  </a:lnTo>
                  <a:lnTo>
                    <a:pt x="158" y="507"/>
                  </a:lnTo>
                  <a:lnTo>
                    <a:pt x="157" y="507"/>
                  </a:lnTo>
                  <a:lnTo>
                    <a:pt x="157" y="506"/>
                  </a:lnTo>
                  <a:lnTo>
                    <a:pt x="156" y="506"/>
                  </a:lnTo>
                  <a:lnTo>
                    <a:pt x="156" y="506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6" y="501"/>
                  </a:lnTo>
                  <a:lnTo>
                    <a:pt x="156" y="500"/>
                  </a:lnTo>
                  <a:lnTo>
                    <a:pt x="156" y="500"/>
                  </a:lnTo>
                  <a:lnTo>
                    <a:pt x="156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5" y="499"/>
                  </a:lnTo>
                  <a:lnTo>
                    <a:pt x="153" y="500"/>
                  </a:lnTo>
                  <a:lnTo>
                    <a:pt x="151" y="500"/>
                  </a:lnTo>
                  <a:lnTo>
                    <a:pt x="150" y="500"/>
                  </a:lnTo>
                  <a:lnTo>
                    <a:pt x="148" y="501"/>
                  </a:lnTo>
                  <a:lnTo>
                    <a:pt x="147" y="501"/>
                  </a:lnTo>
                  <a:lnTo>
                    <a:pt x="146" y="501"/>
                  </a:lnTo>
                  <a:lnTo>
                    <a:pt x="144" y="501"/>
                  </a:lnTo>
                  <a:lnTo>
                    <a:pt x="143" y="501"/>
                  </a:lnTo>
                  <a:lnTo>
                    <a:pt x="139" y="500"/>
                  </a:lnTo>
                  <a:lnTo>
                    <a:pt x="137" y="500"/>
                  </a:lnTo>
                  <a:lnTo>
                    <a:pt x="136" y="500"/>
                  </a:lnTo>
                  <a:lnTo>
                    <a:pt x="135" y="499"/>
                  </a:lnTo>
                  <a:lnTo>
                    <a:pt x="134" y="499"/>
                  </a:lnTo>
                  <a:lnTo>
                    <a:pt x="132" y="498"/>
                  </a:lnTo>
                  <a:lnTo>
                    <a:pt x="132" y="498"/>
                  </a:lnTo>
                  <a:lnTo>
                    <a:pt x="131" y="498"/>
                  </a:lnTo>
                  <a:lnTo>
                    <a:pt x="130" y="498"/>
                  </a:lnTo>
                  <a:lnTo>
                    <a:pt x="129" y="497"/>
                  </a:lnTo>
                  <a:lnTo>
                    <a:pt x="127" y="497"/>
                  </a:lnTo>
                  <a:lnTo>
                    <a:pt x="126" y="497"/>
                  </a:lnTo>
                  <a:lnTo>
                    <a:pt x="125" y="497"/>
                  </a:lnTo>
                  <a:lnTo>
                    <a:pt x="125" y="497"/>
                  </a:lnTo>
                  <a:lnTo>
                    <a:pt x="124" y="498"/>
                  </a:lnTo>
                  <a:lnTo>
                    <a:pt x="123" y="498"/>
                  </a:lnTo>
                  <a:lnTo>
                    <a:pt x="122" y="499"/>
                  </a:lnTo>
                  <a:lnTo>
                    <a:pt x="121" y="500"/>
                  </a:lnTo>
                  <a:lnTo>
                    <a:pt x="120" y="500"/>
                  </a:lnTo>
                  <a:lnTo>
                    <a:pt x="120" y="500"/>
                  </a:lnTo>
                  <a:lnTo>
                    <a:pt x="119" y="500"/>
                  </a:lnTo>
                  <a:lnTo>
                    <a:pt x="119" y="500"/>
                  </a:lnTo>
                  <a:lnTo>
                    <a:pt x="118" y="500"/>
                  </a:lnTo>
                  <a:lnTo>
                    <a:pt x="117" y="499"/>
                  </a:lnTo>
                  <a:lnTo>
                    <a:pt x="116" y="499"/>
                  </a:lnTo>
                  <a:lnTo>
                    <a:pt x="113" y="496"/>
                  </a:lnTo>
                  <a:lnTo>
                    <a:pt x="112" y="496"/>
                  </a:lnTo>
                  <a:lnTo>
                    <a:pt x="111" y="495"/>
                  </a:lnTo>
                  <a:lnTo>
                    <a:pt x="109" y="495"/>
                  </a:lnTo>
                  <a:lnTo>
                    <a:pt x="108" y="494"/>
                  </a:lnTo>
                  <a:lnTo>
                    <a:pt x="107" y="494"/>
                  </a:lnTo>
                  <a:lnTo>
                    <a:pt x="105" y="492"/>
                  </a:lnTo>
                  <a:lnTo>
                    <a:pt x="104" y="492"/>
                  </a:lnTo>
                  <a:lnTo>
                    <a:pt x="103" y="492"/>
                  </a:lnTo>
                  <a:lnTo>
                    <a:pt x="103" y="492"/>
                  </a:lnTo>
                  <a:lnTo>
                    <a:pt x="102" y="492"/>
                  </a:lnTo>
                  <a:lnTo>
                    <a:pt x="102" y="492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3"/>
                  </a:lnTo>
                  <a:lnTo>
                    <a:pt x="102" y="494"/>
                  </a:lnTo>
                  <a:lnTo>
                    <a:pt x="102" y="496"/>
                  </a:lnTo>
                  <a:lnTo>
                    <a:pt x="102" y="497"/>
                  </a:lnTo>
                  <a:lnTo>
                    <a:pt x="102" y="497"/>
                  </a:lnTo>
                  <a:lnTo>
                    <a:pt x="102" y="498"/>
                  </a:lnTo>
                  <a:lnTo>
                    <a:pt x="102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99" y="498"/>
                  </a:lnTo>
                  <a:lnTo>
                    <a:pt x="98" y="498"/>
                  </a:lnTo>
                  <a:lnTo>
                    <a:pt x="97" y="498"/>
                  </a:lnTo>
                  <a:lnTo>
                    <a:pt x="96" y="498"/>
                  </a:lnTo>
                  <a:lnTo>
                    <a:pt x="95" y="499"/>
                  </a:lnTo>
                  <a:lnTo>
                    <a:pt x="94" y="499"/>
                  </a:lnTo>
                  <a:lnTo>
                    <a:pt x="93" y="500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89" y="502"/>
                  </a:lnTo>
                  <a:lnTo>
                    <a:pt x="89" y="503"/>
                  </a:lnTo>
                  <a:lnTo>
                    <a:pt x="87" y="503"/>
                  </a:lnTo>
                  <a:lnTo>
                    <a:pt x="86" y="503"/>
                  </a:lnTo>
                  <a:lnTo>
                    <a:pt x="85" y="503"/>
                  </a:lnTo>
                  <a:lnTo>
                    <a:pt x="84" y="503"/>
                  </a:lnTo>
                  <a:lnTo>
                    <a:pt x="82" y="503"/>
                  </a:lnTo>
                  <a:lnTo>
                    <a:pt x="81" y="503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79" y="502"/>
                  </a:lnTo>
                  <a:lnTo>
                    <a:pt x="79" y="501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9"/>
                  </a:lnTo>
                  <a:lnTo>
                    <a:pt x="78" y="498"/>
                  </a:lnTo>
                  <a:lnTo>
                    <a:pt x="77" y="497"/>
                  </a:lnTo>
                  <a:lnTo>
                    <a:pt x="76" y="497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73" y="495"/>
                  </a:lnTo>
                  <a:lnTo>
                    <a:pt x="72" y="494"/>
                  </a:lnTo>
                  <a:lnTo>
                    <a:pt x="70" y="494"/>
                  </a:lnTo>
                  <a:lnTo>
                    <a:pt x="70" y="494"/>
                  </a:lnTo>
                  <a:lnTo>
                    <a:pt x="69" y="493"/>
                  </a:lnTo>
                  <a:lnTo>
                    <a:pt x="69" y="493"/>
                  </a:lnTo>
                  <a:lnTo>
                    <a:pt x="68" y="492"/>
                  </a:lnTo>
                  <a:lnTo>
                    <a:pt x="68" y="492"/>
                  </a:lnTo>
                  <a:lnTo>
                    <a:pt x="67" y="490"/>
                  </a:lnTo>
                  <a:lnTo>
                    <a:pt x="66" y="489"/>
                  </a:lnTo>
                  <a:lnTo>
                    <a:pt x="65" y="489"/>
                  </a:lnTo>
                  <a:lnTo>
                    <a:pt x="64" y="488"/>
                  </a:lnTo>
                  <a:lnTo>
                    <a:pt x="63" y="487"/>
                  </a:lnTo>
                  <a:lnTo>
                    <a:pt x="62" y="487"/>
                  </a:lnTo>
                  <a:lnTo>
                    <a:pt x="60" y="486"/>
                  </a:lnTo>
                  <a:lnTo>
                    <a:pt x="59" y="486"/>
                  </a:lnTo>
                  <a:lnTo>
                    <a:pt x="59" y="486"/>
                  </a:lnTo>
                  <a:lnTo>
                    <a:pt x="58" y="486"/>
                  </a:lnTo>
                  <a:lnTo>
                    <a:pt x="57" y="486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1" y="488"/>
                  </a:lnTo>
                  <a:lnTo>
                    <a:pt x="50" y="488"/>
                  </a:lnTo>
                  <a:lnTo>
                    <a:pt x="49" y="488"/>
                  </a:lnTo>
                  <a:lnTo>
                    <a:pt x="49" y="489"/>
                  </a:lnTo>
                  <a:lnTo>
                    <a:pt x="48" y="490"/>
                  </a:lnTo>
                  <a:lnTo>
                    <a:pt x="48" y="490"/>
                  </a:lnTo>
                  <a:lnTo>
                    <a:pt x="47" y="492"/>
                  </a:lnTo>
                  <a:lnTo>
                    <a:pt x="46" y="494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4" y="498"/>
                  </a:lnTo>
                  <a:lnTo>
                    <a:pt x="43" y="499"/>
                  </a:lnTo>
                  <a:lnTo>
                    <a:pt x="43" y="499"/>
                  </a:lnTo>
                  <a:lnTo>
                    <a:pt x="42" y="499"/>
                  </a:lnTo>
                  <a:lnTo>
                    <a:pt x="42" y="499"/>
                  </a:lnTo>
                  <a:lnTo>
                    <a:pt x="41" y="499"/>
                  </a:lnTo>
                  <a:lnTo>
                    <a:pt x="41" y="499"/>
                  </a:lnTo>
                  <a:lnTo>
                    <a:pt x="39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3" y="500"/>
                  </a:lnTo>
                  <a:lnTo>
                    <a:pt x="25" y="500"/>
                  </a:lnTo>
                  <a:lnTo>
                    <a:pt x="24" y="500"/>
                  </a:lnTo>
                  <a:lnTo>
                    <a:pt x="20" y="500"/>
                  </a:lnTo>
                  <a:lnTo>
                    <a:pt x="19" y="500"/>
                  </a:lnTo>
                  <a:lnTo>
                    <a:pt x="18" y="500"/>
                  </a:lnTo>
                  <a:lnTo>
                    <a:pt x="16" y="501"/>
                  </a:lnTo>
                  <a:lnTo>
                    <a:pt x="15" y="501"/>
                  </a:lnTo>
                  <a:lnTo>
                    <a:pt x="13" y="501"/>
                  </a:lnTo>
                  <a:lnTo>
                    <a:pt x="11" y="501"/>
                  </a:lnTo>
                  <a:lnTo>
                    <a:pt x="11" y="501"/>
                  </a:lnTo>
                  <a:lnTo>
                    <a:pt x="10" y="501"/>
                  </a:lnTo>
                  <a:lnTo>
                    <a:pt x="9" y="501"/>
                  </a:lnTo>
                  <a:lnTo>
                    <a:pt x="8" y="501"/>
                  </a:lnTo>
                  <a:lnTo>
                    <a:pt x="7" y="502"/>
                  </a:lnTo>
                  <a:lnTo>
                    <a:pt x="5" y="501"/>
                  </a:lnTo>
                  <a:lnTo>
                    <a:pt x="5" y="501"/>
                  </a:lnTo>
                  <a:lnTo>
                    <a:pt x="4" y="501"/>
                  </a:lnTo>
                  <a:lnTo>
                    <a:pt x="3" y="501"/>
                  </a:lnTo>
                  <a:lnTo>
                    <a:pt x="2" y="500"/>
                  </a:lnTo>
                  <a:lnTo>
                    <a:pt x="2" y="500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497"/>
                  </a:lnTo>
                  <a:lnTo>
                    <a:pt x="0" y="49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:a16="http://schemas.microsoft.com/office/drawing/2014/main" id="{7B0CF0D7-1495-E177-659D-4028C072E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3069"/>
              <a:ext cx="451" cy="513"/>
            </a:xfrm>
            <a:custGeom>
              <a:avLst/>
              <a:gdLst>
                <a:gd name="T0" fmla="*/ 182 w 451"/>
                <a:gd name="T1" fmla="*/ 492 h 513"/>
                <a:gd name="T2" fmla="*/ 173 w 451"/>
                <a:gd name="T3" fmla="*/ 504 h 513"/>
                <a:gd name="T4" fmla="*/ 155 w 451"/>
                <a:gd name="T5" fmla="*/ 512 h 513"/>
                <a:gd name="T6" fmla="*/ 142 w 451"/>
                <a:gd name="T7" fmla="*/ 509 h 513"/>
                <a:gd name="T8" fmla="*/ 127 w 451"/>
                <a:gd name="T9" fmla="*/ 508 h 513"/>
                <a:gd name="T10" fmla="*/ 109 w 451"/>
                <a:gd name="T11" fmla="*/ 508 h 513"/>
                <a:gd name="T12" fmla="*/ 103 w 451"/>
                <a:gd name="T13" fmla="*/ 497 h 513"/>
                <a:gd name="T14" fmla="*/ 97 w 451"/>
                <a:gd name="T15" fmla="*/ 484 h 513"/>
                <a:gd name="T16" fmla="*/ 98 w 451"/>
                <a:gd name="T17" fmla="*/ 458 h 513"/>
                <a:gd name="T18" fmla="*/ 86 w 451"/>
                <a:gd name="T19" fmla="*/ 455 h 513"/>
                <a:gd name="T20" fmla="*/ 83 w 451"/>
                <a:gd name="T21" fmla="*/ 447 h 513"/>
                <a:gd name="T22" fmla="*/ 84 w 451"/>
                <a:gd name="T23" fmla="*/ 439 h 513"/>
                <a:gd name="T24" fmla="*/ 90 w 451"/>
                <a:gd name="T25" fmla="*/ 431 h 513"/>
                <a:gd name="T26" fmla="*/ 79 w 451"/>
                <a:gd name="T27" fmla="*/ 429 h 513"/>
                <a:gd name="T28" fmla="*/ 86 w 451"/>
                <a:gd name="T29" fmla="*/ 413 h 513"/>
                <a:gd name="T30" fmla="*/ 102 w 451"/>
                <a:gd name="T31" fmla="*/ 410 h 513"/>
                <a:gd name="T32" fmla="*/ 116 w 451"/>
                <a:gd name="T33" fmla="*/ 399 h 513"/>
                <a:gd name="T34" fmla="*/ 113 w 451"/>
                <a:gd name="T35" fmla="*/ 391 h 513"/>
                <a:gd name="T36" fmla="*/ 117 w 451"/>
                <a:gd name="T37" fmla="*/ 370 h 513"/>
                <a:gd name="T38" fmla="*/ 122 w 451"/>
                <a:gd name="T39" fmla="*/ 346 h 513"/>
                <a:gd name="T40" fmla="*/ 124 w 451"/>
                <a:gd name="T41" fmla="*/ 319 h 513"/>
                <a:gd name="T42" fmla="*/ 103 w 451"/>
                <a:gd name="T43" fmla="*/ 308 h 513"/>
                <a:gd name="T44" fmla="*/ 92 w 451"/>
                <a:gd name="T45" fmla="*/ 298 h 513"/>
                <a:gd name="T46" fmla="*/ 72 w 451"/>
                <a:gd name="T47" fmla="*/ 283 h 513"/>
                <a:gd name="T48" fmla="*/ 51 w 451"/>
                <a:gd name="T49" fmla="*/ 284 h 513"/>
                <a:gd name="T50" fmla="*/ 32 w 451"/>
                <a:gd name="T51" fmla="*/ 270 h 513"/>
                <a:gd name="T52" fmla="*/ 35 w 451"/>
                <a:gd name="T53" fmla="*/ 265 h 513"/>
                <a:gd name="T54" fmla="*/ 15 w 451"/>
                <a:gd name="T55" fmla="*/ 264 h 513"/>
                <a:gd name="T56" fmla="*/ 0 w 451"/>
                <a:gd name="T57" fmla="*/ 264 h 513"/>
                <a:gd name="T58" fmla="*/ 6 w 451"/>
                <a:gd name="T59" fmla="*/ 249 h 513"/>
                <a:gd name="T60" fmla="*/ 4 w 451"/>
                <a:gd name="T61" fmla="*/ 236 h 513"/>
                <a:gd name="T62" fmla="*/ 18 w 451"/>
                <a:gd name="T63" fmla="*/ 230 h 513"/>
                <a:gd name="T64" fmla="*/ 26 w 451"/>
                <a:gd name="T65" fmla="*/ 218 h 513"/>
                <a:gd name="T66" fmla="*/ 33 w 451"/>
                <a:gd name="T67" fmla="*/ 202 h 513"/>
                <a:gd name="T68" fmla="*/ 54 w 451"/>
                <a:gd name="T69" fmla="*/ 194 h 513"/>
                <a:gd name="T70" fmla="*/ 77 w 451"/>
                <a:gd name="T71" fmla="*/ 177 h 513"/>
                <a:gd name="T72" fmla="*/ 90 w 451"/>
                <a:gd name="T73" fmla="*/ 179 h 513"/>
                <a:gd name="T74" fmla="*/ 111 w 451"/>
                <a:gd name="T75" fmla="*/ 173 h 513"/>
                <a:gd name="T76" fmla="*/ 128 w 451"/>
                <a:gd name="T77" fmla="*/ 165 h 513"/>
                <a:gd name="T78" fmla="*/ 139 w 451"/>
                <a:gd name="T79" fmla="*/ 166 h 513"/>
                <a:gd name="T80" fmla="*/ 158 w 451"/>
                <a:gd name="T81" fmla="*/ 154 h 513"/>
                <a:gd name="T82" fmla="*/ 170 w 451"/>
                <a:gd name="T83" fmla="*/ 143 h 513"/>
                <a:gd name="T84" fmla="*/ 176 w 451"/>
                <a:gd name="T85" fmla="*/ 132 h 513"/>
                <a:gd name="T86" fmla="*/ 186 w 451"/>
                <a:gd name="T87" fmla="*/ 125 h 513"/>
                <a:gd name="T88" fmla="*/ 230 w 451"/>
                <a:gd name="T89" fmla="*/ 129 h 513"/>
                <a:gd name="T90" fmla="*/ 253 w 451"/>
                <a:gd name="T91" fmla="*/ 130 h 513"/>
                <a:gd name="T92" fmla="*/ 277 w 451"/>
                <a:gd name="T93" fmla="*/ 121 h 513"/>
                <a:gd name="T94" fmla="*/ 289 w 451"/>
                <a:gd name="T95" fmla="*/ 116 h 513"/>
                <a:gd name="T96" fmla="*/ 289 w 451"/>
                <a:gd name="T97" fmla="*/ 93 h 513"/>
                <a:gd name="T98" fmla="*/ 298 w 451"/>
                <a:gd name="T99" fmla="*/ 88 h 513"/>
                <a:gd name="T100" fmla="*/ 307 w 451"/>
                <a:gd name="T101" fmla="*/ 79 h 513"/>
                <a:gd name="T102" fmla="*/ 319 w 451"/>
                <a:gd name="T103" fmla="*/ 71 h 513"/>
                <a:gd name="T104" fmla="*/ 321 w 451"/>
                <a:gd name="T105" fmla="*/ 53 h 513"/>
                <a:gd name="T106" fmla="*/ 327 w 451"/>
                <a:gd name="T107" fmla="*/ 54 h 513"/>
                <a:gd name="T108" fmla="*/ 341 w 451"/>
                <a:gd name="T109" fmla="*/ 53 h 513"/>
                <a:gd name="T110" fmla="*/ 351 w 451"/>
                <a:gd name="T111" fmla="*/ 55 h 513"/>
                <a:gd name="T112" fmla="*/ 360 w 451"/>
                <a:gd name="T113" fmla="*/ 65 h 513"/>
                <a:gd name="T114" fmla="*/ 383 w 451"/>
                <a:gd name="T115" fmla="*/ 61 h 513"/>
                <a:gd name="T116" fmla="*/ 401 w 451"/>
                <a:gd name="T117" fmla="*/ 44 h 513"/>
                <a:gd name="T118" fmla="*/ 409 w 451"/>
                <a:gd name="T119" fmla="*/ 30 h 513"/>
                <a:gd name="T120" fmla="*/ 429 w 451"/>
                <a:gd name="T121" fmla="*/ 31 h 513"/>
                <a:gd name="T122" fmla="*/ 437 w 451"/>
                <a:gd name="T123" fmla="*/ 20 h 513"/>
                <a:gd name="T124" fmla="*/ 450 w 451"/>
                <a:gd name="T125" fmla="*/ 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1" h="513">
                  <a:moveTo>
                    <a:pt x="195" y="496"/>
                  </a:moveTo>
                  <a:lnTo>
                    <a:pt x="195" y="495"/>
                  </a:lnTo>
                  <a:lnTo>
                    <a:pt x="195" y="493"/>
                  </a:lnTo>
                  <a:lnTo>
                    <a:pt x="195" y="489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2" y="487"/>
                  </a:lnTo>
                  <a:lnTo>
                    <a:pt x="190" y="488"/>
                  </a:lnTo>
                  <a:lnTo>
                    <a:pt x="189" y="488"/>
                  </a:lnTo>
                  <a:lnTo>
                    <a:pt x="188" y="489"/>
                  </a:lnTo>
                  <a:lnTo>
                    <a:pt x="185" y="490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80" y="493"/>
                  </a:lnTo>
                  <a:lnTo>
                    <a:pt x="180" y="493"/>
                  </a:lnTo>
                  <a:lnTo>
                    <a:pt x="179" y="494"/>
                  </a:lnTo>
                  <a:lnTo>
                    <a:pt x="179" y="494"/>
                  </a:lnTo>
                  <a:lnTo>
                    <a:pt x="179" y="495"/>
                  </a:lnTo>
                  <a:lnTo>
                    <a:pt x="178" y="497"/>
                  </a:lnTo>
                  <a:lnTo>
                    <a:pt x="177" y="499"/>
                  </a:lnTo>
                  <a:lnTo>
                    <a:pt x="176" y="500"/>
                  </a:lnTo>
                  <a:lnTo>
                    <a:pt x="176" y="501"/>
                  </a:lnTo>
                  <a:lnTo>
                    <a:pt x="175" y="502"/>
                  </a:lnTo>
                  <a:lnTo>
                    <a:pt x="175" y="503"/>
                  </a:lnTo>
                  <a:lnTo>
                    <a:pt x="174" y="503"/>
                  </a:lnTo>
                  <a:lnTo>
                    <a:pt x="174" y="504"/>
                  </a:lnTo>
                  <a:lnTo>
                    <a:pt x="173" y="504"/>
                  </a:lnTo>
                  <a:lnTo>
                    <a:pt x="173" y="504"/>
                  </a:lnTo>
                  <a:lnTo>
                    <a:pt x="171" y="505"/>
                  </a:lnTo>
                  <a:lnTo>
                    <a:pt x="171" y="505"/>
                  </a:lnTo>
                  <a:lnTo>
                    <a:pt x="170" y="505"/>
                  </a:lnTo>
                  <a:lnTo>
                    <a:pt x="168" y="507"/>
                  </a:lnTo>
                  <a:lnTo>
                    <a:pt x="167" y="507"/>
                  </a:lnTo>
                  <a:lnTo>
                    <a:pt x="166" y="508"/>
                  </a:lnTo>
                  <a:lnTo>
                    <a:pt x="166" y="508"/>
                  </a:lnTo>
                  <a:lnTo>
                    <a:pt x="165" y="508"/>
                  </a:lnTo>
                  <a:lnTo>
                    <a:pt x="164" y="508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59" y="509"/>
                  </a:lnTo>
                  <a:lnTo>
                    <a:pt x="158" y="510"/>
                  </a:lnTo>
                  <a:lnTo>
                    <a:pt x="157" y="510"/>
                  </a:lnTo>
                  <a:lnTo>
                    <a:pt x="155" y="511"/>
                  </a:lnTo>
                  <a:lnTo>
                    <a:pt x="155" y="512"/>
                  </a:lnTo>
                  <a:lnTo>
                    <a:pt x="154" y="512"/>
                  </a:lnTo>
                  <a:lnTo>
                    <a:pt x="153" y="513"/>
                  </a:lnTo>
                  <a:lnTo>
                    <a:pt x="152" y="513"/>
                  </a:lnTo>
                  <a:lnTo>
                    <a:pt x="151" y="513"/>
                  </a:lnTo>
                  <a:lnTo>
                    <a:pt x="150" y="513"/>
                  </a:lnTo>
                  <a:lnTo>
                    <a:pt x="149" y="513"/>
                  </a:lnTo>
                  <a:lnTo>
                    <a:pt x="148" y="512"/>
                  </a:lnTo>
                  <a:lnTo>
                    <a:pt x="147" y="512"/>
                  </a:lnTo>
                  <a:lnTo>
                    <a:pt x="147" y="512"/>
                  </a:lnTo>
                  <a:lnTo>
                    <a:pt x="145" y="511"/>
                  </a:lnTo>
                  <a:lnTo>
                    <a:pt x="144" y="511"/>
                  </a:lnTo>
                  <a:lnTo>
                    <a:pt x="144" y="510"/>
                  </a:lnTo>
                  <a:lnTo>
                    <a:pt x="143" y="510"/>
                  </a:lnTo>
                  <a:lnTo>
                    <a:pt x="143" y="509"/>
                  </a:lnTo>
                  <a:lnTo>
                    <a:pt x="142" y="509"/>
                  </a:lnTo>
                  <a:lnTo>
                    <a:pt x="142" y="509"/>
                  </a:lnTo>
                  <a:lnTo>
                    <a:pt x="140" y="508"/>
                  </a:lnTo>
                  <a:lnTo>
                    <a:pt x="140" y="507"/>
                  </a:lnTo>
                  <a:lnTo>
                    <a:pt x="137" y="506"/>
                  </a:lnTo>
                  <a:lnTo>
                    <a:pt x="137" y="505"/>
                  </a:lnTo>
                  <a:lnTo>
                    <a:pt x="136" y="505"/>
                  </a:lnTo>
                  <a:lnTo>
                    <a:pt x="136" y="505"/>
                  </a:lnTo>
                  <a:lnTo>
                    <a:pt x="135" y="505"/>
                  </a:lnTo>
                  <a:lnTo>
                    <a:pt x="134" y="505"/>
                  </a:lnTo>
                  <a:lnTo>
                    <a:pt x="133" y="505"/>
                  </a:lnTo>
                  <a:lnTo>
                    <a:pt x="132" y="505"/>
                  </a:lnTo>
                  <a:lnTo>
                    <a:pt x="130" y="507"/>
                  </a:lnTo>
                  <a:lnTo>
                    <a:pt x="129" y="507"/>
                  </a:lnTo>
                  <a:lnTo>
                    <a:pt x="128" y="507"/>
                  </a:lnTo>
                  <a:lnTo>
                    <a:pt x="128" y="508"/>
                  </a:lnTo>
                  <a:lnTo>
                    <a:pt x="127" y="508"/>
                  </a:lnTo>
                  <a:lnTo>
                    <a:pt x="127" y="508"/>
                  </a:lnTo>
                  <a:lnTo>
                    <a:pt x="126" y="507"/>
                  </a:lnTo>
                  <a:lnTo>
                    <a:pt x="125" y="507"/>
                  </a:lnTo>
                  <a:lnTo>
                    <a:pt x="125" y="507"/>
                  </a:lnTo>
                  <a:lnTo>
                    <a:pt x="124" y="507"/>
                  </a:lnTo>
                  <a:lnTo>
                    <a:pt x="122" y="505"/>
                  </a:lnTo>
                  <a:lnTo>
                    <a:pt x="122" y="504"/>
                  </a:lnTo>
                  <a:lnTo>
                    <a:pt x="121" y="504"/>
                  </a:lnTo>
                  <a:lnTo>
                    <a:pt x="121" y="504"/>
                  </a:lnTo>
                  <a:lnTo>
                    <a:pt x="120" y="504"/>
                  </a:lnTo>
                  <a:lnTo>
                    <a:pt x="120" y="504"/>
                  </a:lnTo>
                  <a:lnTo>
                    <a:pt x="119" y="504"/>
                  </a:lnTo>
                  <a:lnTo>
                    <a:pt x="119" y="504"/>
                  </a:lnTo>
                  <a:lnTo>
                    <a:pt x="117" y="505"/>
                  </a:lnTo>
                  <a:lnTo>
                    <a:pt x="115" y="506"/>
                  </a:lnTo>
                  <a:lnTo>
                    <a:pt x="112" y="507"/>
                  </a:lnTo>
                  <a:lnTo>
                    <a:pt x="109" y="508"/>
                  </a:lnTo>
                  <a:lnTo>
                    <a:pt x="108" y="508"/>
                  </a:lnTo>
                  <a:lnTo>
                    <a:pt x="106" y="508"/>
                  </a:lnTo>
                  <a:lnTo>
                    <a:pt x="105" y="508"/>
                  </a:lnTo>
                  <a:lnTo>
                    <a:pt x="105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8"/>
                  </a:lnTo>
                  <a:lnTo>
                    <a:pt x="104" y="507"/>
                  </a:lnTo>
                  <a:lnTo>
                    <a:pt x="104" y="506"/>
                  </a:lnTo>
                  <a:lnTo>
                    <a:pt x="104" y="505"/>
                  </a:lnTo>
                  <a:lnTo>
                    <a:pt x="104" y="503"/>
                  </a:lnTo>
                  <a:lnTo>
                    <a:pt x="104" y="502"/>
                  </a:lnTo>
                  <a:lnTo>
                    <a:pt x="104" y="501"/>
                  </a:lnTo>
                  <a:lnTo>
                    <a:pt x="104" y="500"/>
                  </a:lnTo>
                  <a:lnTo>
                    <a:pt x="104" y="499"/>
                  </a:lnTo>
                  <a:lnTo>
                    <a:pt x="103" y="497"/>
                  </a:lnTo>
                  <a:lnTo>
                    <a:pt x="103" y="496"/>
                  </a:lnTo>
                  <a:lnTo>
                    <a:pt x="103" y="495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1" y="493"/>
                  </a:lnTo>
                  <a:lnTo>
                    <a:pt x="100" y="492"/>
                  </a:lnTo>
                  <a:lnTo>
                    <a:pt x="99" y="492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8" y="491"/>
                  </a:lnTo>
                  <a:lnTo>
                    <a:pt x="97" y="490"/>
                  </a:lnTo>
                  <a:lnTo>
                    <a:pt x="97" y="490"/>
                  </a:lnTo>
                  <a:lnTo>
                    <a:pt x="97" y="489"/>
                  </a:lnTo>
                  <a:lnTo>
                    <a:pt x="97" y="489"/>
                  </a:lnTo>
                  <a:lnTo>
                    <a:pt x="97" y="485"/>
                  </a:lnTo>
                  <a:lnTo>
                    <a:pt x="97" y="484"/>
                  </a:lnTo>
                  <a:lnTo>
                    <a:pt x="97" y="481"/>
                  </a:lnTo>
                  <a:lnTo>
                    <a:pt x="98" y="478"/>
                  </a:lnTo>
                  <a:lnTo>
                    <a:pt x="98" y="476"/>
                  </a:lnTo>
                  <a:lnTo>
                    <a:pt x="98" y="474"/>
                  </a:lnTo>
                  <a:lnTo>
                    <a:pt x="99" y="471"/>
                  </a:lnTo>
                  <a:lnTo>
                    <a:pt x="99" y="469"/>
                  </a:lnTo>
                  <a:lnTo>
                    <a:pt x="99" y="468"/>
                  </a:lnTo>
                  <a:lnTo>
                    <a:pt x="99" y="466"/>
                  </a:lnTo>
                  <a:lnTo>
                    <a:pt x="99" y="464"/>
                  </a:lnTo>
                  <a:lnTo>
                    <a:pt x="99" y="462"/>
                  </a:lnTo>
                  <a:lnTo>
                    <a:pt x="99" y="461"/>
                  </a:lnTo>
                  <a:lnTo>
                    <a:pt x="99" y="460"/>
                  </a:lnTo>
                  <a:lnTo>
                    <a:pt x="99" y="460"/>
                  </a:lnTo>
                  <a:lnTo>
                    <a:pt x="98" y="459"/>
                  </a:lnTo>
                  <a:lnTo>
                    <a:pt x="98" y="459"/>
                  </a:lnTo>
                  <a:lnTo>
                    <a:pt x="98" y="458"/>
                  </a:lnTo>
                  <a:lnTo>
                    <a:pt x="97" y="458"/>
                  </a:lnTo>
                  <a:lnTo>
                    <a:pt x="96" y="457"/>
                  </a:lnTo>
                  <a:lnTo>
                    <a:pt x="95" y="457"/>
                  </a:lnTo>
                  <a:lnTo>
                    <a:pt x="94" y="456"/>
                  </a:lnTo>
                  <a:lnTo>
                    <a:pt x="93" y="456"/>
                  </a:lnTo>
                  <a:lnTo>
                    <a:pt x="92" y="456"/>
                  </a:lnTo>
                  <a:lnTo>
                    <a:pt x="91" y="456"/>
                  </a:lnTo>
                  <a:lnTo>
                    <a:pt x="89" y="456"/>
                  </a:lnTo>
                  <a:lnTo>
                    <a:pt x="88" y="456"/>
                  </a:lnTo>
                  <a:lnTo>
                    <a:pt x="87" y="456"/>
                  </a:lnTo>
                  <a:lnTo>
                    <a:pt x="87" y="456"/>
                  </a:lnTo>
                  <a:lnTo>
                    <a:pt x="87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5"/>
                  </a:lnTo>
                  <a:lnTo>
                    <a:pt x="86" y="454"/>
                  </a:lnTo>
                  <a:lnTo>
                    <a:pt x="86" y="453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1"/>
                  </a:lnTo>
                  <a:lnTo>
                    <a:pt x="86" y="451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49"/>
                  </a:lnTo>
                  <a:lnTo>
                    <a:pt x="82" y="449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7"/>
                  </a:lnTo>
                  <a:lnTo>
                    <a:pt x="84" y="447"/>
                  </a:lnTo>
                  <a:lnTo>
                    <a:pt x="85" y="447"/>
                  </a:lnTo>
                  <a:lnTo>
                    <a:pt x="86" y="447"/>
                  </a:lnTo>
                  <a:lnTo>
                    <a:pt x="86" y="447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7" y="446"/>
                  </a:lnTo>
                  <a:lnTo>
                    <a:pt x="88" y="445"/>
                  </a:lnTo>
                  <a:lnTo>
                    <a:pt x="88" y="445"/>
                  </a:lnTo>
                  <a:lnTo>
                    <a:pt x="88" y="444"/>
                  </a:lnTo>
                  <a:lnTo>
                    <a:pt x="87" y="443"/>
                  </a:lnTo>
                  <a:lnTo>
                    <a:pt x="87" y="443"/>
                  </a:lnTo>
                  <a:lnTo>
                    <a:pt x="86" y="442"/>
                  </a:lnTo>
                  <a:lnTo>
                    <a:pt x="86" y="441"/>
                  </a:lnTo>
                  <a:lnTo>
                    <a:pt x="84" y="440"/>
                  </a:lnTo>
                  <a:lnTo>
                    <a:pt x="84" y="439"/>
                  </a:lnTo>
                  <a:lnTo>
                    <a:pt x="84" y="439"/>
                  </a:lnTo>
                  <a:lnTo>
                    <a:pt x="84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4" y="435"/>
                  </a:lnTo>
                  <a:lnTo>
                    <a:pt x="88" y="434"/>
                  </a:lnTo>
                  <a:lnTo>
                    <a:pt x="89" y="433"/>
                  </a:lnTo>
                  <a:lnTo>
                    <a:pt x="90" y="433"/>
                  </a:lnTo>
                  <a:lnTo>
                    <a:pt x="90" y="432"/>
                  </a:lnTo>
                  <a:lnTo>
                    <a:pt x="90" y="432"/>
                  </a:lnTo>
                  <a:lnTo>
                    <a:pt x="91" y="431"/>
                  </a:lnTo>
                  <a:lnTo>
                    <a:pt x="90" y="431"/>
                  </a:lnTo>
                  <a:lnTo>
                    <a:pt x="90" y="431"/>
                  </a:lnTo>
                  <a:lnTo>
                    <a:pt x="90" y="430"/>
                  </a:lnTo>
                  <a:lnTo>
                    <a:pt x="90" y="430"/>
                  </a:lnTo>
                  <a:lnTo>
                    <a:pt x="89" y="430"/>
                  </a:lnTo>
                  <a:lnTo>
                    <a:pt x="89" y="430"/>
                  </a:lnTo>
                  <a:lnTo>
                    <a:pt x="88" y="429"/>
                  </a:lnTo>
                  <a:lnTo>
                    <a:pt x="86" y="429"/>
                  </a:lnTo>
                  <a:lnTo>
                    <a:pt x="85" y="429"/>
                  </a:lnTo>
                  <a:lnTo>
                    <a:pt x="84" y="429"/>
                  </a:lnTo>
                  <a:lnTo>
                    <a:pt x="83" y="429"/>
                  </a:lnTo>
                  <a:lnTo>
                    <a:pt x="81" y="430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28"/>
                  </a:lnTo>
                  <a:lnTo>
                    <a:pt x="78" y="428"/>
                  </a:lnTo>
                  <a:lnTo>
                    <a:pt x="78" y="427"/>
                  </a:lnTo>
                  <a:lnTo>
                    <a:pt x="78" y="427"/>
                  </a:lnTo>
                  <a:lnTo>
                    <a:pt x="78" y="426"/>
                  </a:lnTo>
                  <a:lnTo>
                    <a:pt x="78" y="425"/>
                  </a:lnTo>
                  <a:lnTo>
                    <a:pt x="78" y="424"/>
                  </a:lnTo>
                  <a:lnTo>
                    <a:pt x="79" y="423"/>
                  </a:lnTo>
                  <a:lnTo>
                    <a:pt x="79" y="422"/>
                  </a:lnTo>
                  <a:lnTo>
                    <a:pt x="79" y="421"/>
                  </a:lnTo>
                  <a:lnTo>
                    <a:pt x="80" y="420"/>
                  </a:lnTo>
                  <a:lnTo>
                    <a:pt x="83" y="417"/>
                  </a:lnTo>
                  <a:lnTo>
                    <a:pt x="84" y="415"/>
                  </a:lnTo>
                  <a:lnTo>
                    <a:pt x="84" y="414"/>
                  </a:lnTo>
                  <a:lnTo>
                    <a:pt x="85" y="414"/>
                  </a:lnTo>
                  <a:lnTo>
                    <a:pt x="86" y="413"/>
                  </a:lnTo>
                  <a:lnTo>
                    <a:pt x="87" y="412"/>
                  </a:lnTo>
                  <a:lnTo>
                    <a:pt x="88" y="411"/>
                  </a:lnTo>
                  <a:lnTo>
                    <a:pt x="89" y="411"/>
                  </a:lnTo>
                  <a:lnTo>
                    <a:pt x="90" y="410"/>
                  </a:lnTo>
                  <a:lnTo>
                    <a:pt x="92" y="409"/>
                  </a:lnTo>
                  <a:lnTo>
                    <a:pt x="93" y="409"/>
                  </a:lnTo>
                  <a:lnTo>
                    <a:pt x="94" y="408"/>
                  </a:lnTo>
                  <a:lnTo>
                    <a:pt x="95" y="408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7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98" y="408"/>
                  </a:lnTo>
                  <a:lnTo>
                    <a:pt x="101" y="410"/>
                  </a:lnTo>
                  <a:lnTo>
                    <a:pt x="102" y="410"/>
                  </a:lnTo>
                  <a:lnTo>
                    <a:pt x="103" y="411"/>
                  </a:lnTo>
                  <a:lnTo>
                    <a:pt x="103" y="411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7" y="409"/>
                  </a:lnTo>
                  <a:lnTo>
                    <a:pt x="108" y="408"/>
                  </a:lnTo>
                  <a:lnTo>
                    <a:pt x="109" y="406"/>
                  </a:lnTo>
                  <a:lnTo>
                    <a:pt x="110" y="405"/>
                  </a:lnTo>
                  <a:lnTo>
                    <a:pt x="111" y="404"/>
                  </a:lnTo>
                  <a:lnTo>
                    <a:pt x="112" y="403"/>
                  </a:lnTo>
                  <a:lnTo>
                    <a:pt x="115" y="400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17" y="398"/>
                  </a:lnTo>
                  <a:lnTo>
                    <a:pt x="117" y="398"/>
                  </a:lnTo>
                  <a:lnTo>
                    <a:pt x="118" y="397"/>
                  </a:lnTo>
                  <a:lnTo>
                    <a:pt x="118" y="397"/>
                  </a:lnTo>
                  <a:lnTo>
                    <a:pt x="118" y="396"/>
                  </a:lnTo>
                  <a:lnTo>
                    <a:pt x="118" y="395"/>
                  </a:lnTo>
                  <a:lnTo>
                    <a:pt x="117" y="395"/>
                  </a:lnTo>
                  <a:lnTo>
                    <a:pt x="117" y="394"/>
                  </a:lnTo>
                  <a:lnTo>
                    <a:pt x="116" y="394"/>
                  </a:lnTo>
                  <a:lnTo>
                    <a:pt x="116" y="393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3" y="392"/>
                  </a:lnTo>
                  <a:lnTo>
                    <a:pt x="113" y="391"/>
                  </a:lnTo>
                  <a:lnTo>
                    <a:pt x="113" y="390"/>
                  </a:lnTo>
                  <a:lnTo>
                    <a:pt x="114" y="388"/>
                  </a:lnTo>
                  <a:lnTo>
                    <a:pt x="114" y="387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5" y="384"/>
                  </a:lnTo>
                  <a:lnTo>
                    <a:pt x="115" y="383"/>
                  </a:lnTo>
                  <a:lnTo>
                    <a:pt x="115" y="380"/>
                  </a:lnTo>
                  <a:lnTo>
                    <a:pt x="115" y="379"/>
                  </a:lnTo>
                  <a:lnTo>
                    <a:pt x="115" y="378"/>
                  </a:lnTo>
                  <a:lnTo>
                    <a:pt x="115" y="377"/>
                  </a:lnTo>
                  <a:lnTo>
                    <a:pt x="115" y="376"/>
                  </a:lnTo>
                  <a:lnTo>
                    <a:pt x="115" y="376"/>
                  </a:lnTo>
                  <a:lnTo>
                    <a:pt x="116" y="373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7" y="369"/>
                  </a:lnTo>
                  <a:lnTo>
                    <a:pt x="117" y="368"/>
                  </a:lnTo>
                  <a:lnTo>
                    <a:pt x="117" y="367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7" y="361"/>
                  </a:lnTo>
                  <a:lnTo>
                    <a:pt x="118" y="356"/>
                  </a:lnTo>
                  <a:lnTo>
                    <a:pt x="118" y="355"/>
                  </a:lnTo>
                  <a:lnTo>
                    <a:pt x="118" y="354"/>
                  </a:lnTo>
                  <a:lnTo>
                    <a:pt x="119" y="351"/>
                  </a:lnTo>
                  <a:lnTo>
                    <a:pt x="120" y="349"/>
                  </a:lnTo>
                  <a:lnTo>
                    <a:pt x="120" y="348"/>
                  </a:lnTo>
                  <a:lnTo>
                    <a:pt x="121" y="347"/>
                  </a:lnTo>
                  <a:lnTo>
                    <a:pt x="121" y="346"/>
                  </a:lnTo>
                  <a:lnTo>
                    <a:pt x="122" y="346"/>
                  </a:lnTo>
                  <a:lnTo>
                    <a:pt x="122" y="345"/>
                  </a:lnTo>
                  <a:lnTo>
                    <a:pt x="124" y="344"/>
                  </a:lnTo>
                  <a:lnTo>
                    <a:pt x="124" y="343"/>
                  </a:lnTo>
                  <a:lnTo>
                    <a:pt x="125" y="343"/>
                  </a:lnTo>
                  <a:lnTo>
                    <a:pt x="125" y="342"/>
                  </a:lnTo>
                  <a:lnTo>
                    <a:pt x="125" y="341"/>
                  </a:lnTo>
                  <a:lnTo>
                    <a:pt x="125" y="341"/>
                  </a:lnTo>
                  <a:lnTo>
                    <a:pt x="125" y="340"/>
                  </a:lnTo>
                  <a:lnTo>
                    <a:pt x="125" y="339"/>
                  </a:lnTo>
                  <a:lnTo>
                    <a:pt x="125" y="335"/>
                  </a:lnTo>
                  <a:lnTo>
                    <a:pt x="125" y="333"/>
                  </a:lnTo>
                  <a:lnTo>
                    <a:pt x="125" y="329"/>
                  </a:lnTo>
                  <a:lnTo>
                    <a:pt x="124" y="326"/>
                  </a:lnTo>
                  <a:lnTo>
                    <a:pt x="124" y="324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8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7"/>
                  </a:lnTo>
                  <a:lnTo>
                    <a:pt x="122" y="317"/>
                  </a:lnTo>
                  <a:lnTo>
                    <a:pt x="116" y="313"/>
                  </a:lnTo>
                  <a:lnTo>
                    <a:pt x="113" y="312"/>
                  </a:lnTo>
                  <a:lnTo>
                    <a:pt x="112" y="311"/>
                  </a:lnTo>
                  <a:lnTo>
                    <a:pt x="110" y="311"/>
                  </a:lnTo>
                  <a:lnTo>
                    <a:pt x="107" y="310"/>
                  </a:lnTo>
                  <a:lnTo>
                    <a:pt x="104" y="309"/>
                  </a:lnTo>
                  <a:lnTo>
                    <a:pt x="104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2" y="308"/>
                  </a:lnTo>
                  <a:lnTo>
                    <a:pt x="102" y="307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1" y="303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0" y="301"/>
                  </a:lnTo>
                  <a:lnTo>
                    <a:pt x="100" y="301"/>
                  </a:lnTo>
                  <a:lnTo>
                    <a:pt x="99" y="300"/>
                  </a:lnTo>
                  <a:lnTo>
                    <a:pt x="98" y="300"/>
                  </a:lnTo>
                  <a:lnTo>
                    <a:pt x="98" y="299"/>
                  </a:lnTo>
                  <a:lnTo>
                    <a:pt x="97" y="299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2" y="298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6"/>
                  </a:lnTo>
                  <a:lnTo>
                    <a:pt x="85" y="294"/>
                  </a:lnTo>
                  <a:lnTo>
                    <a:pt x="83" y="292"/>
                  </a:lnTo>
                  <a:lnTo>
                    <a:pt x="82" y="291"/>
                  </a:lnTo>
                  <a:lnTo>
                    <a:pt x="80" y="289"/>
                  </a:lnTo>
                  <a:lnTo>
                    <a:pt x="78" y="286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0" y="283"/>
                  </a:lnTo>
                  <a:lnTo>
                    <a:pt x="69" y="283"/>
                  </a:lnTo>
                  <a:lnTo>
                    <a:pt x="68" y="283"/>
                  </a:lnTo>
                  <a:lnTo>
                    <a:pt x="65" y="284"/>
                  </a:lnTo>
                  <a:lnTo>
                    <a:pt x="64" y="284"/>
                  </a:lnTo>
                  <a:lnTo>
                    <a:pt x="63" y="285"/>
                  </a:lnTo>
                  <a:lnTo>
                    <a:pt x="61" y="285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7" y="285"/>
                  </a:lnTo>
                  <a:lnTo>
                    <a:pt x="56" y="285"/>
                  </a:lnTo>
                  <a:lnTo>
                    <a:pt x="55" y="284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1" y="284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48" y="282"/>
                  </a:lnTo>
                  <a:lnTo>
                    <a:pt x="47" y="281"/>
                  </a:lnTo>
                  <a:lnTo>
                    <a:pt x="44" y="279"/>
                  </a:lnTo>
                  <a:lnTo>
                    <a:pt x="42" y="277"/>
                  </a:lnTo>
                  <a:lnTo>
                    <a:pt x="40" y="276"/>
                  </a:lnTo>
                  <a:lnTo>
                    <a:pt x="37" y="275"/>
                  </a:lnTo>
                  <a:lnTo>
                    <a:pt x="36" y="274"/>
                  </a:lnTo>
                  <a:lnTo>
                    <a:pt x="35" y="273"/>
                  </a:lnTo>
                  <a:lnTo>
                    <a:pt x="34" y="273"/>
                  </a:lnTo>
                  <a:lnTo>
                    <a:pt x="33" y="272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2" y="271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6" y="267"/>
                  </a:lnTo>
                  <a:lnTo>
                    <a:pt x="36" y="267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5" y="265"/>
                  </a:lnTo>
                  <a:lnTo>
                    <a:pt x="34" y="264"/>
                  </a:lnTo>
                  <a:lnTo>
                    <a:pt x="33" y="264"/>
                  </a:lnTo>
                  <a:lnTo>
                    <a:pt x="32" y="264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0" y="263"/>
                  </a:lnTo>
                  <a:lnTo>
                    <a:pt x="19" y="263"/>
                  </a:lnTo>
                  <a:lnTo>
                    <a:pt x="17" y="263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4" y="264"/>
                  </a:lnTo>
                  <a:lnTo>
                    <a:pt x="12" y="264"/>
                  </a:lnTo>
                  <a:lnTo>
                    <a:pt x="10" y="265"/>
                  </a:lnTo>
                  <a:lnTo>
                    <a:pt x="9" y="266"/>
                  </a:lnTo>
                  <a:lnTo>
                    <a:pt x="8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5"/>
                  </a:lnTo>
                  <a:lnTo>
                    <a:pt x="2" y="265"/>
                  </a:lnTo>
                  <a:lnTo>
                    <a:pt x="1" y="265"/>
                  </a:lnTo>
                  <a:lnTo>
                    <a:pt x="1" y="265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1" y="260"/>
                  </a:lnTo>
                  <a:lnTo>
                    <a:pt x="1" y="259"/>
                  </a:lnTo>
                  <a:lnTo>
                    <a:pt x="2" y="257"/>
                  </a:lnTo>
                  <a:lnTo>
                    <a:pt x="3" y="255"/>
                  </a:lnTo>
                  <a:lnTo>
                    <a:pt x="4" y="254"/>
                  </a:lnTo>
                  <a:lnTo>
                    <a:pt x="5" y="252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1"/>
                  </a:lnTo>
                  <a:lnTo>
                    <a:pt x="6" y="250"/>
                  </a:lnTo>
                  <a:lnTo>
                    <a:pt x="6" y="249"/>
                  </a:lnTo>
                  <a:lnTo>
                    <a:pt x="6" y="248"/>
                  </a:lnTo>
                  <a:lnTo>
                    <a:pt x="6" y="247"/>
                  </a:lnTo>
                  <a:lnTo>
                    <a:pt x="6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4" y="243"/>
                  </a:lnTo>
                  <a:lnTo>
                    <a:pt x="3" y="242"/>
                  </a:lnTo>
                  <a:lnTo>
                    <a:pt x="2" y="241"/>
                  </a:lnTo>
                  <a:lnTo>
                    <a:pt x="2" y="240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8"/>
                  </a:lnTo>
                  <a:lnTo>
                    <a:pt x="2" y="237"/>
                  </a:lnTo>
                  <a:lnTo>
                    <a:pt x="3" y="237"/>
                  </a:lnTo>
                  <a:lnTo>
                    <a:pt x="4" y="236"/>
                  </a:lnTo>
                  <a:lnTo>
                    <a:pt x="5" y="235"/>
                  </a:lnTo>
                  <a:lnTo>
                    <a:pt x="6" y="234"/>
                  </a:lnTo>
                  <a:lnTo>
                    <a:pt x="7" y="233"/>
                  </a:lnTo>
                  <a:lnTo>
                    <a:pt x="8" y="233"/>
                  </a:lnTo>
                  <a:lnTo>
                    <a:pt x="9" y="232"/>
                  </a:lnTo>
                  <a:lnTo>
                    <a:pt x="10" y="232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3" y="231"/>
                  </a:lnTo>
                  <a:lnTo>
                    <a:pt x="14" y="231"/>
                  </a:lnTo>
                  <a:lnTo>
                    <a:pt x="15" y="231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7" y="231"/>
                  </a:lnTo>
                  <a:lnTo>
                    <a:pt x="17" y="230"/>
                  </a:lnTo>
                  <a:lnTo>
                    <a:pt x="18" y="230"/>
                  </a:lnTo>
                  <a:lnTo>
                    <a:pt x="19" y="228"/>
                  </a:lnTo>
                  <a:lnTo>
                    <a:pt x="19" y="227"/>
                  </a:lnTo>
                  <a:lnTo>
                    <a:pt x="20" y="226"/>
                  </a:lnTo>
                  <a:lnTo>
                    <a:pt x="21" y="224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2" y="223"/>
                  </a:lnTo>
                  <a:lnTo>
                    <a:pt x="22" y="222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6"/>
                  </a:lnTo>
                  <a:lnTo>
                    <a:pt x="26" y="215"/>
                  </a:lnTo>
                  <a:lnTo>
                    <a:pt x="26" y="215"/>
                  </a:lnTo>
                  <a:lnTo>
                    <a:pt x="26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6"/>
                  </a:lnTo>
                  <a:lnTo>
                    <a:pt x="29" y="206"/>
                  </a:lnTo>
                  <a:lnTo>
                    <a:pt x="29" y="205"/>
                  </a:lnTo>
                  <a:lnTo>
                    <a:pt x="31" y="203"/>
                  </a:lnTo>
                  <a:lnTo>
                    <a:pt x="33" y="202"/>
                  </a:lnTo>
                  <a:lnTo>
                    <a:pt x="34" y="201"/>
                  </a:lnTo>
                  <a:lnTo>
                    <a:pt x="36" y="200"/>
                  </a:lnTo>
                  <a:lnTo>
                    <a:pt x="36" y="199"/>
                  </a:lnTo>
                  <a:lnTo>
                    <a:pt x="38" y="198"/>
                  </a:lnTo>
                  <a:lnTo>
                    <a:pt x="40" y="197"/>
                  </a:lnTo>
                  <a:lnTo>
                    <a:pt x="41" y="196"/>
                  </a:lnTo>
                  <a:lnTo>
                    <a:pt x="42" y="195"/>
                  </a:lnTo>
                  <a:lnTo>
                    <a:pt x="43" y="195"/>
                  </a:lnTo>
                  <a:lnTo>
                    <a:pt x="44" y="194"/>
                  </a:lnTo>
                  <a:lnTo>
                    <a:pt x="45" y="194"/>
                  </a:lnTo>
                  <a:lnTo>
                    <a:pt x="47" y="194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51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4"/>
                  </a:lnTo>
                  <a:lnTo>
                    <a:pt x="57" y="193"/>
                  </a:lnTo>
                  <a:lnTo>
                    <a:pt x="59" y="193"/>
                  </a:lnTo>
                  <a:lnTo>
                    <a:pt x="60" y="192"/>
                  </a:lnTo>
                  <a:lnTo>
                    <a:pt x="61" y="192"/>
                  </a:lnTo>
                  <a:lnTo>
                    <a:pt x="62" y="191"/>
                  </a:lnTo>
                  <a:lnTo>
                    <a:pt x="63" y="190"/>
                  </a:lnTo>
                  <a:lnTo>
                    <a:pt x="64" y="190"/>
                  </a:lnTo>
                  <a:lnTo>
                    <a:pt x="65" y="188"/>
                  </a:lnTo>
                  <a:lnTo>
                    <a:pt x="66" y="18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9" y="184"/>
                  </a:lnTo>
                  <a:lnTo>
                    <a:pt x="72" y="182"/>
                  </a:lnTo>
                  <a:lnTo>
                    <a:pt x="76" y="178"/>
                  </a:lnTo>
                  <a:lnTo>
                    <a:pt x="77" y="177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2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4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7" y="178"/>
                  </a:lnTo>
                  <a:lnTo>
                    <a:pt x="99" y="178"/>
                  </a:lnTo>
                  <a:lnTo>
                    <a:pt x="100" y="178"/>
                  </a:lnTo>
                  <a:lnTo>
                    <a:pt x="101" y="178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1" y="173"/>
                  </a:lnTo>
                  <a:lnTo>
                    <a:pt x="111" y="173"/>
                  </a:lnTo>
                  <a:lnTo>
                    <a:pt x="113" y="172"/>
                  </a:lnTo>
                  <a:lnTo>
                    <a:pt x="113" y="171"/>
                  </a:lnTo>
                  <a:lnTo>
                    <a:pt x="115" y="170"/>
                  </a:lnTo>
                  <a:lnTo>
                    <a:pt x="118" y="167"/>
                  </a:lnTo>
                  <a:lnTo>
                    <a:pt x="119" y="166"/>
                  </a:lnTo>
                  <a:lnTo>
                    <a:pt x="120" y="165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3"/>
                  </a:lnTo>
                  <a:lnTo>
                    <a:pt x="123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7" y="164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5" y="169"/>
                  </a:lnTo>
                  <a:lnTo>
                    <a:pt x="136" y="169"/>
                  </a:lnTo>
                  <a:lnTo>
                    <a:pt x="136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8" y="167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2" y="162"/>
                  </a:lnTo>
                  <a:lnTo>
                    <a:pt x="143" y="161"/>
                  </a:lnTo>
                  <a:lnTo>
                    <a:pt x="144" y="161"/>
                  </a:lnTo>
                  <a:lnTo>
                    <a:pt x="145" y="160"/>
                  </a:lnTo>
                  <a:lnTo>
                    <a:pt x="146" y="159"/>
                  </a:lnTo>
                  <a:lnTo>
                    <a:pt x="147" y="159"/>
                  </a:lnTo>
                  <a:lnTo>
                    <a:pt x="147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1" y="157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6"/>
                  </a:lnTo>
                  <a:lnTo>
                    <a:pt x="157" y="155"/>
                  </a:lnTo>
                  <a:lnTo>
                    <a:pt x="158" y="154"/>
                  </a:lnTo>
                  <a:lnTo>
                    <a:pt x="160" y="153"/>
                  </a:lnTo>
                  <a:lnTo>
                    <a:pt x="160" y="153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4" y="150"/>
                  </a:lnTo>
                  <a:lnTo>
                    <a:pt x="164" y="149"/>
                  </a:lnTo>
                  <a:lnTo>
                    <a:pt x="165" y="148"/>
                  </a:lnTo>
                  <a:lnTo>
                    <a:pt x="165" y="147"/>
                  </a:lnTo>
                  <a:lnTo>
                    <a:pt x="166" y="146"/>
                  </a:lnTo>
                  <a:lnTo>
                    <a:pt x="166" y="145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68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4" y="143"/>
                  </a:lnTo>
                  <a:lnTo>
                    <a:pt x="174" y="142"/>
                  </a:lnTo>
                  <a:lnTo>
                    <a:pt x="175" y="142"/>
                  </a:lnTo>
                  <a:lnTo>
                    <a:pt x="175" y="142"/>
                  </a:lnTo>
                  <a:lnTo>
                    <a:pt x="175" y="141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39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6" y="134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1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7" y="129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9" y="127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4" y="125"/>
                  </a:lnTo>
                  <a:lnTo>
                    <a:pt x="185" y="125"/>
                  </a:lnTo>
                  <a:lnTo>
                    <a:pt x="186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4" y="126"/>
                  </a:lnTo>
                  <a:lnTo>
                    <a:pt x="198" y="127"/>
                  </a:lnTo>
                  <a:lnTo>
                    <a:pt x="202" y="128"/>
                  </a:lnTo>
                  <a:lnTo>
                    <a:pt x="205" y="129"/>
                  </a:lnTo>
                  <a:lnTo>
                    <a:pt x="207" y="129"/>
                  </a:lnTo>
                  <a:lnTo>
                    <a:pt x="209" y="129"/>
                  </a:lnTo>
                  <a:lnTo>
                    <a:pt x="215" y="130"/>
                  </a:lnTo>
                  <a:lnTo>
                    <a:pt x="217" y="130"/>
                  </a:lnTo>
                  <a:lnTo>
                    <a:pt x="219" y="130"/>
                  </a:lnTo>
                  <a:lnTo>
                    <a:pt x="222" y="130"/>
                  </a:lnTo>
                  <a:lnTo>
                    <a:pt x="224" y="130"/>
                  </a:lnTo>
                  <a:lnTo>
                    <a:pt x="226" y="130"/>
                  </a:lnTo>
                  <a:lnTo>
                    <a:pt x="228" y="129"/>
                  </a:lnTo>
                  <a:lnTo>
                    <a:pt x="230" y="129"/>
                  </a:lnTo>
                  <a:lnTo>
                    <a:pt x="232" y="129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5" y="127"/>
                  </a:lnTo>
                  <a:lnTo>
                    <a:pt x="236" y="127"/>
                  </a:lnTo>
                  <a:lnTo>
                    <a:pt x="236" y="127"/>
                  </a:lnTo>
                  <a:lnTo>
                    <a:pt x="237" y="127"/>
                  </a:lnTo>
                  <a:lnTo>
                    <a:pt x="239" y="128"/>
                  </a:lnTo>
                  <a:lnTo>
                    <a:pt x="241" y="128"/>
                  </a:lnTo>
                  <a:lnTo>
                    <a:pt x="245" y="129"/>
                  </a:lnTo>
                  <a:lnTo>
                    <a:pt x="248" y="130"/>
                  </a:lnTo>
                  <a:lnTo>
                    <a:pt x="250" y="130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6" y="128"/>
                  </a:lnTo>
                  <a:lnTo>
                    <a:pt x="257" y="127"/>
                  </a:lnTo>
                  <a:lnTo>
                    <a:pt x="259" y="125"/>
                  </a:lnTo>
                  <a:lnTo>
                    <a:pt x="260" y="124"/>
                  </a:lnTo>
                  <a:lnTo>
                    <a:pt x="260" y="124"/>
                  </a:lnTo>
                  <a:lnTo>
                    <a:pt x="261" y="124"/>
                  </a:lnTo>
                  <a:lnTo>
                    <a:pt x="262" y="123"/>
                  </a:lnTo>
                  <a:lnTo>
                    <a:pt x="263" y="123"/>
                  </a:lnTo>
                  <a:lnTo>
                    <a:pt x="264" y="123"/>
                  </a:lnTo>
                  <a:lnTo>
                    <a:pt x="270" y="122"/>
                  </a:lnTo>
                  <a:lnTo>
                    <a:pt x="272" y="121"/>
                  </a:lnTo>
                  <a:lnTo>
                    <a:pt x="276" y="121"/>
                  </a:lnTo>
                  <a:lnTo>
                    <a:pt x="277" y="121"/>
                  </a:lnTo>
                  <a:lnTo>
                    <a:pt x="279" y="121"/>
                  </a:lnTo>
                  <a:lnTo>
                    <a:pt x="280" y="121"/>
                  </a:lnTo>
                  <a:lnTo>
                    <a:pt x="282" y="122"/>
                  </a:lnTo>
                  <a:lnTo>
                    <a:pt x="284" y="122"/>
                  </a:lnTo>
                  <a:lnTo>
                    <a:pt x="284" y="122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0"/>
                  </a:lnTo>
                  <a:lnTo>
                    <a:pt x="288" y="120"/>
                  </a:lnTo>
                  <a:lnTo>
                    <a:pt x="288" y="119"/>
                  </a:lnTo>
                  <a:lnTo>
                    <a:pt x="289" y="118"/>
                  </a:lnTo>
                  <a:lnTo>
                    <a:pt x="289" y="117"/>
                  </a:lnTo>
                  <a:lnTo>
                    <a:pt x="289" y="116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91" y="109"/>
                  </a:lnTo>
                  <a:lnTo>
                    <a:pt x="291" y="108"/>
                  </a:lnTo>
                  <a:lnTo>
                    <a:pt x="291" y="106"/>
                  </a:lnTo>
                  <a:lnTo>
                    <a:pt x="291" y="105"/>
                  </a:lnTo>
                  <a:lnTo>
                    <a:pt x="291" y="104"/>
                  </a:lnTo>
                  <a:lnTo>
                    <a:pt x="291" y="103"/>
                  </a:lnTo>
                  <a:lnTo>
                    <a:pt x="290" y="102"/>
                  </a:lnTo>
                  <a:lnTo>
                    <a:pt x="290" y="99"/>
                  </a:lnTo>
                  <a:lnTo>
                    <a:pt x="289" y="98"/>
                  </a:lnTo>
                  <a:lnTo>
                    <a:pt x="289" y="97"/>
                  </a:lnTo>
                  <a:lnTo>
                    <a:pt x="289" y="96"/>
                  </a:lnTo>
                  <a:lnTo>
                    <a:pt x="289" y="95"/>
                  </a:lnTo>
                  <a:lnTo>
                    <a:pt x="289" y="94"/>
                  </a:lnTo>
                  <a:lnTo>
                    <a:pt x="289" y="93"/>
                  </a:lnTo>
                  <a:lnTo>
                    <a:pt x="289" y="91"/>
                  </a:lnTo>
                  <a:lnTo>
                    <a:pt x="289" y="89"/>
                  </a:lnTo>
                  <a:lnTo>
                    <a:pt x="289" y="88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90" y="86"/>
                  </a:lnTo>
                  <a:lnTo>
                    <a:pt x="291" y="86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7" y="88"/>
                  </a:lnTo>
                  <a:lnTo>
                    <a:pt x="298" y="88"/>
                  </a:lnTo>
                  <a:lnTo>
                    <a:pt x="299" y="88"/>
                  </a:lnTo>
                  <a:lnTo>
                    <a:pt x="300" y="88"/>
                  </a:lnTo>
                  <a:lnTo>
                    <a:pt x="301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303" y="88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3" y="86"/>
                  </a:lnTo>
                  <a:lnTo>
                    <a:pt x="303" y="85"/>
                  </a:lnTo>
                  <a:lnTo>
                    <a:pt x="305" y="83"/>
                  </a:lnTo>
                  <a:lnTo>
                    <a:pt x="306" y="80"/>
                  </a:lnTo>
                  <a:lnTo>
                    <a:pt x="306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8" y="78"/>
                  </a:lnTo>
                  <a:lnTo>
                    <a:pt x="311" y="78"/>
                  </a:lnTo>
                  <a:lnTo>
                    <a:pt x="314" y="77"/>
                  </a:lnTo>
                  <a:lnTo>
                    <a:pt x="316" y="76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7" y="75"/>
                  </a:lnTo>
                  <a:lnTo>
                    <a:pt x="318" y="75"/>
                  </a:lnTo>
                  <a:lnTo>
                    <a:pt x="318" y="75"/>
                  </a:lnTo>
                  <a:lnTo>
                    <a:pt x="318" y="74"/>
                  </a:lnTo>
                  <a:lnTo>
                    <a:pt x="319" y="74"/>
                  </a:lnTo>
                  <a:lnTo>
                    <a:pt x="319" y="73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1"/>
                  </a:lnTo>
                  <a:lnTo>
                    <a:pt x="319" y="70"/>
                  </a:lnTo>
                  <a:lnTo>
                    <a:pt x="319" y="67"/>
                  </a:lnTo>
                  <a:lnTo>
                    <a:pt x="319" y="66"/>
                  </a:lnTo>
                  <a:lnTo>
                    <a:pt x="319" y="64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8" y="58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19" y="55"/>
                  </a:lnTo>
                  <a:lnTo>
                    <a:pt x="319" y="54"/>
                  </a:lnTo>
                  <a:lnTo>
                    <a:pt x="320" y="53"/>
                  </a:lnTo>
                  <a:lnTo>
                    <a:pt x="321" y="53"/>
                  </a:lnTo>
                  <a:lnTo>
                    <a:pt x="321" y="52"/>
                  </a:lnTo>
                  <a:lnTo>
                    <a:pt x="322" y="52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5" y="53"/>
                  </a:lnTo>
                  <a:lnTo>
                    <a:pt x="325" y="53"/>
                  </a:lnTo>
                  <a:lnTo>
                    <a:pt x="326" y="53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7" y="54"/>
                  </a:lnTo>
                  <a:lnTo>
                    <a:pt x="328" y="54"/>
                  </a:lnTo>
                  <a:lnTo>
                    <a:pt x="328" y="53"/>
                  </a:lnTo>
                  <a:lnTo>
                    <a:pt x="329" y="53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32" y="51"/>
                  </a:lnTo>
                  <a:lnTo>
                    <a:pt x="333" y="51"/>
                  </a:lnTo>
                  <a:lnTo>
                    <a:pt x="334" y="51"/>
                  </a:lnTo>
                  <a:lnTo>
                    <a:pt x="335" y="51"/>
                  </a:lnTo>
                  <a:lnTo>
                    <a:pt x="335" y="52"/>
                  </a:lnTo>
                  <a:lnTo>
                    <a:pt x="338" y="53"/>
                  </a:lnTo>
                  <a:lnTo>
                    <a:pt x="339" y="53"/>
                  </a:lnTo>
                  <a:lnTo>
                    <a:pt x="340" y="53"/>
                  </a:lnTo>
                  <a:lnTo>
                    <a:pt x="340" y="53"/>
                  </a:lnTo>
                  <a:lnTo>
                    <a:pt x="341" y="53"/>
                  </a:lnTo>
                  <a:lnTo>
                    <a:pt x="341" y="53"/>
                  </a:lnTo>
                  <a:lnTo>
                    <a:pt x="342" y="53"/>
                  </a:lnTo>
                  <a:lnTo>
                    <a:pt x="343" y="53"/>
                  </a:lnTo>
                  <a:lnTo>
                    <a:pt x="344" y="52"/>
                  </a:lnTo>
                  <a:lnTo>
                    <a:pt x="345" y="52"/>
                  </a:lnTo>
                  <a:lnTo>
                    <a:pt x="346" y="52"/>
                  </a:lnTo>
                  <a:lnTo>
                    <a:pt x="347" y="51"/>
                  </a:lnTo>
                  <a:lnTo>
                    <a:pt x="348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49" y="51"/>
                  </a:lnTo>
                  <a:lnTo>
                    <a:pt x="350" y="51"/>
                  </a:lnTo>
                  <a:lnTo>
                    <a:pt x="350" y="52"/>
                  </a:lnTo>
                  <a:lnTo>
                    <a:pt x="350" y="52"/>
                  </a:lnTo>
                  <a:lnTo>
                    <a:pt x="350" y="53"/>
                  </a:lnTo>
                  <a:lnTo>
                    <a:pt x="351" y="54"/>
                  </a:lnTo>
                  <a:lnTo>
                    <a:pt x="351" y="55"/>
                  </a:lnTo>
                  <a:lnTo>
                    <a:pt x="352" y="57"/>
                  </a:lnTo>
                  <a:lnTo>
                    <a:pt x="352" y="59"/>
                  </a:lnTo>
                  <a:lnTo>
                    <a:pt x="352" y="60"/>
                  </a:lnTo>
                  <a:lnTo>
                    <a:pt x="353" y="61"/>
                  </a:lnTo>
                  <a:lnTo>
                    <a:pt x="353" y="62"/>
                  </a:lnTo>
                  <a:lnTo>
                    <a:pt x="353" y="62"/>
                  </a:lnTo>
                  <a:lnTo>
                    <a:pt x="354" y="63"/>
                  </a:lnTo>
                  <a:lnTo>
                    <a:pt x="354" y="63"/>
                  </a:lnTo>
                  <a:lnTo>
                    <a:pt x="355" y="64"/>
                  </a:lnTo>
                  <a:lnTo>
                    <a:pt x="355" y="64"/>
                  </a:lnTo>
                  <a:lnTo>
                    <a:pt x="356" y="64"/>
                  </a:lnTo>
                  <a:lnTo>
                    <a:pt x="356" y="65"/>
                  </a:lnTo>
                  <a:lnTo>
                    <a:pt x="357" y="65"/>
                  </a:lnTo>
                  <a:lnTo>
                    <a:pt x="358" y="65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7" y="63"/>
                  </a:lnTo>
                  <a:lnTo>
                    <a:pt x="368" y="62"/>
                  </a:lnTo>
                  <a:lnTo>
                    <a:pt x="369" y="62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81" y="61"/>
                  </a:lnTo>
                  <a:lnTo>
                    <a:pt x="382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6" y="58"/>
                  </a:lnTo>
                  <a:lnTo>
                    <a:pt x="389" y="56"/>
                  </a:lnTo>
                  <a:lnTo>
                    <a:pt x="391" y="55"/>
                  </a:lnTo>
                  <a:lnTo>
                    <a:pt x="391" y="54"/>
                  </a:lnTo>
                  <a:lnTo>
                    <a:pt x="392" y="53"/>
                  </a:lnTo>
                  <a:lnTo>
                    <a:pt x="393" y="52"/>
                  </a:lnTo>
                  <a:lnTo>
                    <a:pt x="395" y="49"/>
                  </a:lnTo>
                  <a:lnTo>
                    <a:pt x="395" y="49"/>
                  </a:lnTo>
                  <a:lnTo>
                    <a:pt x="396" y="48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9" y="46"/>
                  </a:lnTo>
                  <a:lnTo>
                    <a:pt x="400" y="45"/>
                  </a:lnTo>
                  <a:lnTo>
                    <a:pt x="400" y="44"/>
                  </a:lnTo>
                  <a:lnTo>
                    <a:pt x="401" y="44"/>
                  </a:lnTo>
                  <a:lnTo>
                    <a:pt x="401" y="43"/>
                  </a:lnTo>
                  <a:lnTo>
                    <a:pt x="402" y="42"/>
                  </a:lnTo>
                  <a:lnTo>
                    <a:pt x="402" y="41"/>
                  </a:lnTo>
                  <a:lnTo>
                    <a:pt x="402" y="40"/>
                  </a:lnTo>
                  <a:lnTo>
                    <a:pt x="403" y="39"/>
                  </a:lnTo>
                  <a:lnTo>
                    <a:pt x="403" y="35"/>
                  </a:lnTo>
                  <a:lnTo>
                    <a:pt x="403" y="34"/>
                  </a:lnTo>
                  <a:lnTo>
                    <a:pt x="403" y="33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1"/>
                  </a:lnTo>
                  <a:lnTo>
                    <a:pt x="406" y="31"/>
                  </a:lnTo>
                  <a:lnTo>
                    <a:pt x="407" y="30"/>
                  </a:lnTo>
                  <a:lnTo>
                    <a:pt x="407" y="30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1" y="30"/>
                  </a:lnTo>
                  <a:lnTo>
                    <a:pt x="413" y="31"/>
                  </a:lnTo>
                  <a:lnTo>
                    <a:pt x="415" y="31"/>
                  </a:lnTo>
                  <a:lnTo>
                    <a:pt x="417" y="32"/>
                  </a:lnTo>
                  <a:lnTo>
                    <a:pt x="420" y="33"/>
                  </a:lnTo>
                  <a:lnTo>
                    <a:pt x="422" y="33"/>
                  </a:lnTo>
                  <a:lnTo>
                    <a:pt x="423" y="33"/>
                  </a:lnTo>
                  <a:lnTo>
                    <a:pt x="423" y="33"/>
                  </a:lnTo>
                  <a:lnTo>
                    <a:pt x="424" y="33"/>
                  </a:lnTo>
                  <a:lnTo>
                    <a:pt x="425" y="33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8" y="32"/>
                  </a:lnTo>
                  <a:lnTo>
                    <a:pt x="429" y="31"/>
                  </a:lnTo>
                  <a:lnTo>
                    <a:pt x="430" y="31"/>
                  </a:lnTo>
                  <a:lnTo>
                    <a:pt x="430" y="30"/>
                  </a:lnTo>
                  <a:lnTo>
                    <a:pt x="431" y="29"/>
                  </a:lnTo>
                  <a:lnTo>
                    <a:pt x="431" y="29"/>
                  </a:lnTo>
                  <a:lnTo>
                    <a:pt x="432" y="28"/>
                  </a:lnTo>
                  <a:lnTo>
                    <a:pt x="432" y="28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3" y="24"/>
                  </a:lnTo>
                  <a:lnTo>
                    <a:pt x="433" y="23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4" y="22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7" y="20"/>
                  </a:lnTo>
                  <a:lnTo>
                    <a:pt x="437" y="19"/>
                  </a:lnTo>
                  <a:lnTo>
                    <a:pt x="439" y="18"/>
                  </a:lnTo>
                  <a:lnTo>
                    <a:pt x="443" y="16"/>
                  </a:lnTo>
                  <a:lnTo>
                    <a:pt x="444" y="16"/>
                  </a:lnTo>
                  <a:lnTo>
                    <a:pt x="445" y="15"/>
                  </a:lnTo>
                  <a:lnTo>
                    <a:pt x="445" y="15"/>
                  </a:lnTo>
                  <a:lnTo>
                    <a:pt x="446" y="14"/>
                  </a:lnTo>
                  <a:lnTo>
                    <a:pt x="446" y="14"/>
                  </a:lnTo>
                  <a:lnTo>
                    <a:pt x="447" y="13"/>
                  </a:lnTo>
                  <a:lnTo>
                    <a:pt x="447" y="12"/>
                  </a:lnTo>
                  <a:lnTo>
                    <a:pt x="447" y="11"/>
                  </a:lnTo>
                  <a:lnTo>
                    <a:pt x="447" y="9"/>
                  </a:lnTo>
                  <a:lnTo>
                    <a:pt x="447" y="8"/>
                  </a:lnTo>
                  <a:lnTo>
                    <a:pt x="448" y="6"/>
                  </a:lnTo>
                  <a:lnTo>
                    <a:pt x="449" y="4"/>
                  </a:lnTo>
                  <a:lnTo>
                    <a:pt x="450" y="3"/>
                  </a:lnTo>
                  <a:lnTo>
                    <a:pt x="45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1" y="0"/>
                  </a:lnTo>
                  <a:lnTo>
                    <a:pt x="451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EDBD2ECE-D590-3256-1C9A-7CBB194C8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" y="3272"/>
              <a:ext cx="138" cy="106"/>
            </a:xfrm>
            <a:custGeom>
              <a:avLst/>
              <a:gdLst>
                <a:gd name="T0" fmla="*/ 77 w 138"/>
                <a:gd name="T1" fmla="*/ 3 h 106"/>
                <a:gd name="T2" fmla="*/ 66 w 138"/>
                <a:gd name="T3" fmla="*/ 8 h 106"/>
                <a:gd name="T4" fmla="*/ 53 w 138"/>
                <a:gd name="T5" fmla="*/ 13 h 106"/>
                <a:gd name="T6" fmla="*/ 43 w 138"/>
                <a:gd name="T7" fmla="*/ 15 h 106"/>
                <a:gd name="T8" fmla="*/ 38 w 138"/>
                <a:gd name="T9" fmla="*/ 17 h 106"/>
                <a:gd name="T10" fmla="*/ 36 w 138"/>
                <a:gd name="T11" fmla="*/ 24 h 106"/>
                <a:gd name="T12" fmla="*/ 33 w 138"/>
                <a:gd name="T13" fmla="*/ 27 h 106"/>
                <a:gd name="T14" fmla="*/ 26 w 138"/>
                <a:gd name="T15" fmla="*/ 26 h 106"/>
                <a:gd name="T16" fmla="*/ 21 w 138"/>
                <a:gd name="T17" fmla="*/ 24 h 106"/>
                <a:gd name="T18" fmla="*/ 14 w 138"/>
                <a:gd name="T19" fmla="*/ 27 h 106"/>
                <a:gd name="T20" fmla="*/ 2 w 138"/>
                <a:gd name="T21" fmla="*/ 31 h 106"/>
                <a:gd name="T22" fmla="*/ 0 w 138"/>
                <a:gd name="T23" fmla="*/ 33 h 106"/>
                <a:gd name="T24" fmla="*/ 5 w 138"/>
                <a:gd name="T25" fmla="*/ 36 h 106"/>
                <a:gd name="T26" fmla="*/ 13 w 138"/>
                <a:gd name="T27" fmla="*/ 44 h 106"/>
                <a:gd name="T28" fmla="*/ 12 w 138"/>
                <a:gd name="T29" fmla="*/ 48 h 106"/>
                <a:gd name="T30" fmla="*/ 7 w 138"/>
                <a:gd name="T31" fmla="*/ 52 h 106"/>
                <a:gd name="T32" fmla="*/ 7 w 138"/>
                <a:gd name="T33" fmla="*/ 55 h 106"/>
                <a:gd name="T34" fmla="*/ 11 w 138"/>
                <a:gd name="T35" fmla="*/ 62 h 106"/>
                <a:gd name="T36" fmla="*/ 20 w 138"/>
                <a:gd name="T37" fmla="*/ 71 h 106"/>
                <a:gd name="T38" fmla="*/ 21 w 138"/>
                <a:gd name="T39" fmla="*/ 75 h 106"/>
                <a:gd name="T40" fmla="*/ 20 w 138"/>
                <a:gd name="T41" fmla="*/ 80 h 106"/>
                <a:gd name="T42" fmla="*/ 22 w 138"/>
                <a:gd name="T43" fmla="*/ 83 h 106"/>
                <a:gd name="T44" fmla="*/ 28 w 138"/>
                <a:gd name="T45" fmla="*/ 86 h 106"/>
                <a:gd name="T46" fmla="*/ 29 w 138"/>
                <a:gd name="T47" fmla="*/ 89 h 106"/>
                <a:gd name="T48" fmla="*/ 29 w 138"/>
                <a:gd name="T49" fmla="*/ 94 h 106"/>
                <a:gd name="T50" fmla="*/ 30 w 138"/>
                <a:gd name="T51" fmla="*/ 97 h 106"/>
                <a:gd name="T52" fmla="*/ 29 w 138"/>
                <a:gd name="T53" fmla="*/ 102 h 106"/>
                <a:gd name="T54" fmla="*/ 32 w 138"/>
                <a:gd name="T55" fmla="*/ 105 h 106"/>
                <a:gd name="T56" fmla="*/ 40 w 138"/>
                <a:gd name="T57" fmla="*/ 106 h 106"/>
                <a:gd name="T58" fmla="*/ 46 w 138"/>
                <a:gd name="T59" fmla="*/ 106 h 106"/>
                <a:gd name="T60" fmla="*/ 49 w 138"/>
                <a:gd name="T61" fmla="*/ 100 h 106"/>
                <a:gd name="T62" fmla="*/ 55 w 138"/>
                <a:gd name="T63" fmla="*/ 98 h 106"/>
                <a:gd name="T64" fmla="*/ 65 w 138"/>
                <a:gd name="T65" fmla="*/ 94 h 106"/>
                <a:gd name="T66" fmla="*/ 76 w 138"/>
                <a:gd name="T67" fmla="*/ 86 h 106"/>
                <a:gd name="T68" fmla="*/ 83 w 138"/>
                <a:gd name="T69" fmla="*/ 83 h 106"/>
                <a:gd name="T70" fmla="*/ 88 w 138"/>
                <a:gd name="T71" fmla="*/ 79 h 106"/>
                <a:gd name="T72" fmla="*/ 94 w 138"/>
                <a:gd name="T73" fmla="*/ 78 h 106"/>
                <a:gd name="T74" fmla="*/ 102 w 138"/>
                <a:gd name="T75" fmla="*/ 77 h 106"/>
                <a:gd name="T76" fmla="*/ 110 w 138"/>
                <a:gd name="T77" fmla="*/ 81 h 106"/>
                <a:gd name="T78" fmla="*/ 117 w 138"/>
                <a:gd name="T79" fmla="*/ 83 h 106"/>
                <a:gd name="T80" fmla="*/ 121 w 138"/>
                <a:gd name="T81" fmla="*/ 82 h 106"/>
                <a:gd name="T82" fmla="*/ 127 w 138"/>
                <a:gd name="T83" fmla="*/ 76 h 106"/>
                <a:gd name="T84" fmla="*/ 126 w 138"/>
                <a:gd name="T85" fmla="*/ 66 h 106"/>
                <a:gd name="T86" fmla="*/ 124 w 138"/>
                <a:gd name="T87" fmla="*/ 62 h 106"/>
                <a:gd name="T88" fmla="*/ 122 w 138"/>
                <a:gd name="T89" fmla="*/ 58 h 106"/>
                <a:gd name="T90" fmla="*/ 125 w 138"/>
                <a:gd name="T91" fmla="*/ 55 h 106"/>
                <a:gd name="T92" fmla="*/ 135 w 138"/>
                <a:gd name="T93" fmla="*/ 49 h 106"/>
                <a:gd name="T94" fmla="*/ 138 w 138"/>
                <a:gd name="T95" fmla="*/ 44 h 106"/>
                <a:gd name="T96" fmla="*/ 137 w 138"/>
                <a:gd name="T97" fmla="*/ 40 h 106"/>
                <a:gd name="T98" fmla="*/ 130 w 138"/>
                <a:gd name="T99" fmla="*/ 34 h 106"/>
                <a:gd name="T100" fmla="*/ 125 w 138"/>
                <a:gd name="T101" fmla="*/ 28 h 106"/>
                <a:gd name="T102" fmla="*/ 117 w 138"/>
                <a:gd name="T103" fmla="*/ 23 h 106"/>
                <a:gd name="T104" fmla="*/ 109 w 138"/>
                <a:gd name="T105" fmla="*/ 20 h 106"/>
                <a:gd name="T106" fmla="*/ 106 w 138"/>
                <a:gd name="T107" fmla="*/ 14 h 106"/>
                <a:gd name="T108" fmla="*/ 101 w 138"/>
                <a:gd name="T109" fmla="*/ 12 h 106"/>
                <a:gd name="T110" fmla="*/ 91 w 138"/>
                <a:gd name="T111" fmla="*/ 5 h 106"/>
                <a:gd name="T112" fmla="*/ 88 w 138"/>
                <a:gd name="T113" fmla="*/ 2 h 106"/>
                <a:gd name="T114" fmla="*/ 88 w 138"/>
                <a:gd name="T1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06">
                  <a:moveTo>
                    <a:pt x="87" y="0"/>
                  </a:moveTo>
                  <a:lnTo>
                    <a:pt x="87" y="1"/>
                  </a:lnTo>
                  <a:lnTo>
                    <a:pt x="86" y="1"/>
                  </a:lnTo>
                  <a:lnTo>
                    <a:pt x="84" y="1"/>
                  </a:lnTo>
                  <a:lnTo>
                    <a:pt x="79" y="2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7" y="7"/>
                  </a:lnTo>
                  <a:lnTo>
                    <a:pt x="66" y="8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11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0" y="49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3" y="65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17" y="69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7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7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6" y="106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7" y="104"/>
                  </a:lnTo>
                  <a:lnTo>
                    <a:pt x="48" y="102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2" y="98"/>
                  </a:lnTo>
                  <a:lnTo>
                    <a:pt x="55" y="98"/>
                  </a:lnTo>
                  <a:lnTo>
                    <a:pt x="56" y="97"/>
                  </a:lnTo>
                  <a:lnTo>
                    <a:pt x="58" y="97"/>
                  </a:lnTo>
                  <a:lnTo>
                    <a:pt x="59" y="96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5" y="94"/>
                  </a:lnTo>
                  <a:lnTo>
                    <a:pt x="66" y="94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73" y="89"/>
                  </a:lnTo>
                  <a:lnTo>
                    <a:pt x="75" y="87"/>
                  </a:lnTo>
                  <a:lnTo>
                    <a:pt x="76" y="86"/>
                  </a:lnTo>
                  <a:lnTo>
                    <a:pt x="77" y="86"/>
                  </a:lnTo>
                  <a:lnTo>
                    <a:pt x="78" y="86"/>
                  </a:lnTo>
                  <a:lnTo>
                    <a:pt x="79" y="85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5" y="82"/>
                  </a:lnTo>
                  <a:lnTo>
                    <a:pt x="86" y="82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9" y="79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5" y="77"/>
                  </a:lnTo>
                  <a:lnTo>
                    <a:pt x="97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7" y="79"/>
                  </a:lnTo>
                  <a:lnTo>
                    <a:pt x="108" y="80"/>
                  </a:lnTo>
                  <a:lnTo>
                    <a:pt x="110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4" y="83"/>
                  </a:lnTo>
                  <a:lnTo>
                    <a:pt x="115" y="83"/>
                  </a:lnTo>
                  <a:lnTo>
                    <a:pt x="117" y="83"/>
                  </a:lnTo>
                  <a:lnTo>
                    <a:pt x="118" y="83"/>
                  </a:lnTo>
                  <a:lnTo>
                    <a:pt x="118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4" y="79"/>
                  </a:lnTo>
                  <a:lnTo>
                    <a:pt x="125" y="79"/>
                  </a:lnTo>
                  <a:lnTo>
                    <a:pt x="126" y="78"/>
                  </a:lnTo>
                  <a:lnTo>
                    <a:pt x="126" y="77"/>
                  </a:lnTo>
                  <a:lnTo>
                    <a:pt x="127" y="76"/>
                  </a:lnTo>
                  <a:lnTo>
                    <a:pt x="127" y="75"/>
                  </a:lnTo>
                  <a:lnTo>
                    <a:pt x="127" y="74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6" y="64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4" y="62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0"/>
                  </a:lnTo>
                  <a:lnTo>
                    <a:pt x="122" y="60"/>
                  </a:lnTo>
                  <a:lnTo>
                    <a:pt x="122" y="59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4" y="56"/>
                  </a:lnTo>
                  <a:lnTo>
                    <a:pt x="125" y="55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31" y="51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7" y="47"/>
                  </a:lnTo>
                  <a:lnTo>
                    <a:pt x="137" y="46"/>
                  </a:lnTo>
                  <a:lnTo>
                    <a:pt x="138" y="45"/>
                  </a:lnTo>
                  <a:lnTo>
                    <a:pt x="138" y="44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7" y="41"/>
                  </a:lnTo>
                  <a:lnTo>
                    <a:pt x="137" y="40"/>
                  </a:lnTo>
                  <a:lnTo>
                    <a:pt x="136" y="39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0" y="34"/>
                  </a:lnTo>
                  <a:lnTo>
                    <a:pt x="129" y="3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7" y="31"/>
                  </a:lnTo>
                  <a:lnTo>
                    <a:pt x="126" y="29"/>
                  </a:lnTo>
                  <a:lnTo>
                    <a:pt x="125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2" y="26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4" y="23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09" y="20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4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1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5" y="8"/>
                  </a:lnTo>
                  <a:lnTo>
                    <a:pt x="94" y="7"/>
                  </a:lnTo>
                  <a:lnTo>
                    <a:pt x="91" y="5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:a16="http://schemas.microsoft.com/office/drawing/2014/main" id="{DAAD85D5-8A92-16E5-E71A-A034DB26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33"/>
              <a:ext cx="624" cy="488"/>
            </a:xfrm>
            <a:custGeom>
              <a:avLst/>
              <a:gdLst>
                <a:gd name="T0" fmla="*/ 178 w 624"/>
                <a:gd name="T1" fmla="*/ 37 h 488"/>
                <a:gd name="T2" fmla="*/ 217 w 624"/>
                <a:gd name="T3" fmla="*/ 23 h 488"/>
                <a:gd name="T4" fmla="*/ 241 w 624"/>
                <a:gd name="T5" fmla="*/ 35 h 488"/>
                <a:gd name="T6" fmla="*/ 265 w 624"/>
                <a:gd name="T7" fmla="*/ 33 h 488"/>
                <a:gd name="T8" fmla="*/ 286 w 624"/>
                <a:gd name="T9" fmla="*/ 34 h 488"/>
                <a:gd name="T10" fmla="*/ 319 w 624"/>
                <a:gd name="T11" fmla="*/ 35 h 488"/>
                <a:gd name="T12" fmla="*/ 337 w 624"/>
                <a:gd name="T13" fmla="*/ 48 h 488"/>
                <a:gd name="T14" fmla="*/ 363 w 624"/>
                <a:gd name="T15" fmla="*/ 27 h 488"/>
                <a:gd name="T16" fmla="*/ 373 w 624"/>
                <a:gd name="T17" fmla="*/ 0 h 488"/>
                <a:gd name="T18" fmla="*/ 403 w 624"/>
                <a:gd name="T19" fmla="*/ 13 h 488"/>
                <a:gd name="T20" fmla="*/ 422 w 624"/>
                <a:gd name="T21" fmla="*/ 31 h 488"/>
                <a:gd name="T22" fmla="*/ 417 w 624"/>
                <a:gd name="T23" fmla="*/ 47 h 488"/>
                <a:gd name="T24" fmla="*/ 415 w 624"/>
                <a:gd name="T25" fmla="*/ 88 h 488"/>
                <a:gd name="T26" fmla="*/ 421 w 624"/>
                <a:gd name="T27" fmla="*/ 120 h 488"/>
                <a:gd name="T28" fmla="*/ 435 w 624"/>
                <a:gd name="T29" fmla="*/ 153 h 488"/>
                <a:gd name="T30" fmla="*/ 468 w 624"/>
                <a:gd name="T31" fmla="*/ 159 h 488"/>
                <a:gd name="T32" fmla="*/ 473 w 624"/>
                <a:gd name="T33" fmla="*/ 171 h 488"/>
                <a:gd name="T34" fmla="*/ 502 w 624"/>
                <a:gd name="T35" fmla="*/ 178 h 488"/>
                <a:gd name="T36" fmla="*/ 542 w 624"/>
                <a:gd name="T37" fmla="*/ 184 h 488"/>
                <a:gd name="T38" fmla="*/ 551 w 624"/>
                <a:gd name="T39" fmla="*/ 212 h 488"/>
                <a:gd name="T40" fmla="*/ 591 w 624"/>
                <a:gd name="T41" fmla="*/ 227 h 488"/>
                <a:gd name="T42" fmla="*/ 614 w 624"/>
                <a:gd name="T43" fmla="*/ 228 h 488"/>
                <a:gd name="T44" fmla="*/ 621 w 624"/>
                <a:gd name="T45" fmla="*/ 249 h 488"/>
                <a:gd name="T46" fmla="*/ 600 w 624"/>
                <a:gd name="T47" fmla="*/ 276 h 488"/>
                <a:gd name="T48" fmla="*/ 605 w 624"/>
                <a:gd name="T49" fmla="*/ 293 h 488"/>
                <a:gd name="T50" fmla="*/ 617 w 624"/>
                <a:gd name="T51" fmla="*/ 312 h 488"/>
                <a:gd name="T52" fmla="*/ 606 w 624"/>
                <a:gd name="T53" fmla="*/ 325 h 488"/>
                <a:gd name="T54" fmla="*/ 560 w 624"/>
                <a:gd name="T55" fmla="*/ 297 h 488"/>
                <a:gd name="T56" fmla="*/ 529 w 624"/>
                <a:gd name="T57" fmla="*/ 291 h 488"/>
                <a:gd name="T58" fmla="*/ 496 w 624"/>
                <a:gd name="T59" fmla="*/ 309 h 488"/>
                <a:gd name="T60" fmla="*/ 484 w 624"/>
                <a:gd name="T61" fmla="*/ 286 h 488"/>
                <a:gd name="T62" fmla="*/ 448 w 624"/>
                <a:gd name="T63" fmla="*/ 277 h 488"/>
                <a:gd name="T64" fmla="*/ 438 w 624"/>
                <a:gd name="T65" fmla="*/ 313 h 488"/>
                <a:gd name="T66" fmla="*/ 432 w 624"/>
                <a:gd name="T67" fmla="*/ 370 h 488"/>
                <a:gd name="T68" fmla="*/ 425 w 624"/>
                <a:gd name="T69" fmla="*/ 394 h 488"/>
                <a:gd name="T70" fmla="*/ 386 w 624"/>
                <a:gd name="T71" fmla="*/ 391 h 488"/>
                <a:gd name="T72" fmla="*/ 358 w 624"/>
                <a:gd name="T73" fmla="*/ 437 h 488"/>
                <a:gd name="T74" fmla="*/ 350 w 624"/>
                <a:gd name="T75" fmla="*/ 476 h 488"/>
                <a:gd name="T76" fmla="*/ 326 w 624"/>
                <a:gd name="T77" fmla="*/ 461 h 488"/>
                <a:gd name="T78" fmla="*/ 291 w 624"/>
                <a:gd name="T79" fmla="*/ 458 h 488"/>
                <a:gd name="T80" fmla="*/ 273 w 624"/>
                <a:gd name="T81" fmla="*/ 465 h 488"/>
                <a:gd name="T82" fmla="*/ 253 w 624"/>
                <a:gd name="T83" fmla="*/ 481 h 488"/>
                <a:gd name="T84" fmla="*/ 211 w 624"/>
                <a:gd name="T85" fmla="*/ 477 h 488"/>
                <a:gd name="T86" fmla="*/ 158 w 624"/>
                <a:gd name="T87" fmla="*/ 467 h 488"/>
                <a:gd name="T88" fmla="*/ 145 w 624"/>
                <a:gd name="T89" fmla="*/ 446 h 488"/>
                <a:gd name="T90" fmla="*/ 142 w 624"/>
                <a:gd name="T91" fmla="*/ 422 h 488"/>
                <a:gd name="T92" fmla="*/ 101 w 624"/>
                <a:gd name="T93" fmla="*/ 392 h 488"/>
                <a:gd name="T94" fmla="*/ 73 w 624"/>
                <a:gd name="T95" fmla="*/ 361 h 488"/>
                <a:gd name="T96" fmla="*/ 46 w 624"/>
                <a:gd name="T97" fmla="*/ 336 h 488"/>
                <a:gd name="T98" fmla="*/ 20 w 624"/>
                <a:gd name="T99" fmla="*/ 306 h 488"/>
                <a:gd name="T100" fmla="*/ 0 w 624"/>
                <a:gd name="T101" fmla="*/ 286 h 488"/>
                <a:gd name="T102" fmla="*/ 17 w 624"/>
                <a:gd name="T103" fmla="*/ 255 h 488"/>
                <a:gd name="T104" fmla="*/ 18 w 624"/>
                <a:gd name="T105" fmla="*/ 214 h 488"/>
                <a:gd name="T106" fmla="*/ 47 w 624"/>
                <a:gd name="T107" fmla="*/ 201 h 488"/>
                <a:gd name="T108" fmla="*/ 49 w 624"/>
                <a:gd name="T109" fmla="*/ 174 h 488"/>
                <a:gd name="T110" fmla="*/ 52 w 624"/>
                <a:gd name="T111" fmla="*/ 157 h 488"/>
                <a:gd name="T112" fmla="*/ 59 w 624"/>
                <a:gd name="T113" fmla="*/ 140 h 488"/>
                <a:gd name="T114" fmla="*/ 74 w 624"/>
                <a:gd name="T115" fmla="*/ 107 h 488"/>
                <a:gd name="T116" fmla="*/ 71 w 624"/>
                <a:gd name="T117" fmla="*/ 67 h 488"/>
                <a:gd name="T118" fmla="*/ 73 w 624"/>
                <a:gd name="T119" fmla="*/ 44 h 488"/>
                <a:gd name="T120" fmla="*/ 102 w 624"/>
                <a:gd name="T121" fmla="*/ 41 h 488"/>
                <a:gd name="T122" fmla="*/ 127 w 624"/>
                <a:gd name="T123" fmla="*/ 45 h 488"/>
                <a:gd name="T124" fmla="*/ 150 w 624"/>
                <a:gd name="T125" fmla="*/ 2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488">
                  <a:moveTo>
                    <a:pt x="162" y="23"/>
                  </a:moveTo>
                  <a:lnTo>
                    <a:pt x="162" y="23"/>
                  </a:lnTo>
                  <a:lnTo>
                    <a:pt x="162" y="23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3" y="25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5" y="36"/>
                  </a:lnTo>
                  <a:lnTo>
                    <a:pt x="165" y="36"/>
                  </a:lnTo>
                  <a:lnTo>
                    <a:pt x="166" y="37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70" y="38"/>
                  </a:lnTo>
                  <a:lnTo>
                    <a:pt x="171" y="37"/>
                  </a:lnTo>
                  <a:lnTo>
                    <a:pt x="172" y="37"/>
                  </a:lnTo>
                  <a:lnTo>
                    <a:pt x="173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8" y="37"/>
                  </a:lnTo>
                  <a:lnTo>
                    <a:pt x="179" y="37"/>
                  </a:lnTo>
                  <a:lnTo>
                    <a:pt x="181" y="36"/>
                  </a:lnTo>
                  <a:lnTo>
                    <a:pt x="182" y="36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8" y="36"/>
                  </a:lnTo>
                  <a:lnTo>
                    <a:pt x="196" y="36"/>
                  </a:lnTo>
                  <a:lnTo>
                    <a:pt x="199" y="35"/>
                  </a:lnTo>
                  <a:lnTo>
                    <a:pt x="201" y="35"/>
                  </a:lnTo>
                  <a:lnTo>
                    <a:pt x="202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5"/>
                  </a:lnTo>
                  <a:lnTo>
                    <a:pt x="207" y="34"/>
                  </a:lnTo>
                  <a:lnTo>
                    <a:pt x="207" y="32"/>
                  </a:lnTo>
                  <a:lnTo>
                    <a:pt x="208" y="31"/>
                  </a:lnTo>
                  <a:lnTo>
                    <a:pt x="209" y="30"/>
                  </a:lnTo>
                  <a:lnTo>
                    <a:pt x="210" y="28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12" y="25"/>
                  </a:lnTo>
                  <a:lnTo>
                    <a:pt x="212" y="24"/>
                  </a:lnTo>
                  <a:lnTo>
                    <a:pt x="213" y="24"/>
                  </a:lnTo>
                  <a:lnTo>
                    <a:pt x="214" y="24"/>
                  </a:lnTo>
                  <a:lnTo>
                    <a:pt x="217" y="23"/>
                  </a:lnTo>
                  <a:lnTo>
                    <a:pt x="219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7" y="24"/>
                  </a:lnTo>
                  <a:lnTo>
                    <a:pt x="228" y="25"/>
                  </a:lnTo>
                  <a:lnTo>
                    <a:pt x="229" y="25"/>
                  </a:lnTo>
                  <a:lnTo>
                    <a:pt x="230" y="26"/>
                  </a:lnTo>
                  <a:lnTo>
                    <a:pt x="231" y="28"/>
                  </a:lnTo>
                  <a:lnTo>
                    <a:pt x="231" y="28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5" y="30"/>
                  </a:lnTo>
                  <a:lnTo>
                    <a:pt x="236" y="31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1" y="34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1" y="35"/>
                  </a:lnTo>
                  <a:lnTo>
                    <a:pt x="242" y="37"/>
                  </a:lnTo>
                  <a:lnTo>
                    <a:pt x="242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4" y="39"/>
                  </a:lnTo>
                  <a:lnTo>
                    <a:pt x="245" y="39"/>
                  </a:lnTo>
                  <a:lnTo>
                    <a:pt x="247" y="39"/>
                  </a:lnTo>
                  <a:lnTo>
                    <a:pt x="248" y="39"/>
                  </a:lnTo>
                  <a:lnTo>
                    <a:pt x="249" y="39"/>
                  </a:lnTo>
                  <a:lnTo>
                    <a:pt x="250" y="39"/>
                  </a:lnTo>
                  <a:lnTo>
                    <a:pt x="252" y="39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8" y="35"/>
                  </a:lnTo>
                  <a:lnTo>
                    <a:pt x="259" y="34"/>
                  </a:lnTo>
                  <a:lnTo>
                    <a:pt x="260" y="34"/>
                  </a:lnTo>
                  <a:lnTo>
                    <a:pt x="261" y="34"/>
                  </a:lnTo>
                  <a:lnTo>
                    <a:pt x="262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3"/>
                  </a:lnTo>
                  <a:lnTo>
                    <a:pt x="265" y="33"/>
                  </a:lnTo>
                  <a:lnTo>
                    <a:pt x="265" y="32"/>
                  </a:lnTo>
                  <a:lnTo>
                    <a:pt x="265" y="30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7" y="28"/>
                  </a:lnTo>
                  <a:lnTo>
                    <a:pt x="268" y="28"/>
                  </a:lnTo>
                  <a:lnTo>
                    <a:pt x="270" y="30"/>
                  </a:lnTo>
                  <a:lnTo>
                    <a:pt x="271" y="30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5" y="32"/>
                  </a:lnTo>
                  <a:lnTo>
                    <a:pt x="276" y="32"/>
                  </a:lnTo>
                  <a:lnTo>
                    <a:pt x="279" y="35"/>
                  </a:lnTo>
                  <a:lnTo>
                    <a:pt x="280" y="35"/>
                  </a:lnTo>
                  <a:lnTo>
                    <a:pt x="281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4" y="36"/>
                  </a:lnTo>
                  <a:lnTo>
                    <a:pt x="285" y="35"/>
                  </a:lnTo>
                  <a:lnTo>
                    <a:pt x="286" y="34"/>
                  </a:lnTo>
                  <a:lnTo>
                    <a:pt x="287" y="34"/>
                  </a:lnTo>
                  <a:lnTo>
                    <a:pt x="288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0" y="33"/>
                  </a:lnTo>
                  <a:lnTo>
                    <a:pt x="292" y="33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5" y="34"/>
                  </a:lnTo>
                  <a:lnTo>
                    <a:pt x="295" y="34"/>
                  </a:lnTo>
                  <a:lnTo>
                    <a:pt x="297" y="35"/>
                  </a:lnTo>
                  <a:lnTo>
                    <a:pt x="298" y="35"/>
                  </a:lnTo>
                  <a:lnTo>
                    <a:pt x="299" y="36"/>
                  </a:lnTo>
                  <a:lnTo>
                    <a:pt x="300" y="36"/>
                  </a:lnTo>
                  <a:lnTo>
                    <a:pt x="302" y="36"/>
                  </a:lnTo>
                  <a:lnTo>
                    <a:pt x="306" y="37"/>
                  </a:lnTo>
                  <a:lnTo>
                    <a:pt x="307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11" y="37"/>
                  </a:lnTo>
                  <a:lnTo>
                    <a:pt x="313" y="36"/>
                  </a:lnTo>
                  <a:lnTo>
                    <a:pt x="314" y="36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9" y="35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8" y="41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0" y="42"/>
                  </a:lnTo>
                  <a:lnTo>
                    <a:pt x="320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5" y="44"/>
                  </a:lnTo>
                  <a:lnTo>
                    <a:pt x="326" y="44"/>
                  </a:lnTo>
                  <a:lnTo>
                    <a:pt x="328" y="44"/>
                  </a:lnTo>
                  <a:lnTo>
                    <a:pt x="329" y="45"/>
                  </a:lnTo>
                  <a:lnTo>
                    <a:pt x="331" y="45"/>
                  </a:lnTo>
                  <a:lnTo>
                    <a:pt x="332" y="46"/>
                  </a:lnTo>
                  <a:lnTo>
                    <a:pt x="333" y="46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8" y="48"/>
                  </a:lnTo>
                  <a:lnTo>
                    <a:pt x="338" y="47"/>
                  </a:lnTo>
                  <a:lnTo>
                    <a:pt x="339" y="47"/>
                  </a:lnTo>
                  <a:lnTo>
                    <a:pt x="340" y="45"/>
                  </a:lnTo>
                  <a:lnTo>
                    <a:pt x="341" y="44"/>
                  </a:lnTo>
                  <a:lnTo>
                    <a:pt x="342" y="43"/>
                  </a:lnTo>
                  <a:lnTo>
                    <a:pt x="343" y="41"/>
                  </a:lnTo>
                  <a:lnTo>
                    <a:pt x="344" y="40"/>
                  </a:lnTo>
                  <a:lnTo>
                    <a:pt x="347" y="38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2" y="34"/>
                  </a:lnTo>
                  <a:lnTo>
                    <a:pt x="353" y="34"/>
                  </a:lnTo>
                  <a:lnTo>
                    <a:pt x="354" y="34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59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3" y="2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3" y="27"/>
                  </a:lnTo>
                  <a:lnTo>
                    <a:pt x="362" y="25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20"/>
                  </a:lnTo>
                  <a:lnTo>
                    <a:pt x="361" y="20"/>
                  </a:lnTo>
                  <a:lnTo>
                    <a:pt x="361" y="18"/>
                  </a:lnTo>
                  <a:lnTo>
                    <a:pt x="361" y="17"/>
                  </a:lnTo>
                  <a:lnTo>
                    <a:pt x="362" y="15"/>
                  </a:lnTo>
                  <a:lnTo>
                    <a:pt x="362" y="14"/>
                  </a:lnTo>
                  <a:lnTo>
                    <a:pt x="362" y="13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6" y="7"/>
                  </a:lnTo>
                  <a:lnTo>
                    <a:pt x="366" y="5"/>
                  </a:lnTo>
                  <a:lnTo>
                    <a:pt x="367" y="5"/>
                  </a:lnTo>
                  <a:lnTo>
                    <a:pt x="367" y="4"/>
                  </a:lnTo>
                  <a:lnTo>
                    <a:pt x="368" y="3"/>
                  </a:lnTo>
                  <a:lnTo>
                    <a:pt x="370" y="2"/>
                  </a:lnTo>
                  <a:lnTo>
                    <a:pt x="372" y="1"/>
                  </a:lnTo>
                  <a:lnTo>
                    <a:pt x="372" y="1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3" y="0"/>
                  </a:lnTo>
                  <a:lnTo>
                    <a:pt x="374" y="0"/>
                  </a:lnTo>
                  <a:lnTo>
                    <a:pt x="375" y="1"/>
                  </a:lnTo>
                  <a:lnTo>
                    <a:pt x="376" y="1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80" y="4"/>
                  </a:lnTo>
                  <a:lnTo>
                    <a:pt x="384" y="6"/>
                  </a:lnTo>
                  <a:lnTo>
                    <a:pt x="385" y="7"/>
                  </a:lnTo>
                  <a:lnTo>
                    <a:pt x="386" y="7"/>
                  </a:lnTo>
                  <a:lnTo>
                    <a:pt x="387" y="8"/>
                  </a:lnTo>
                  <a:lnTo>
                    <a:pt x="388" y="9"/>
                  </a:lnTo>
                  <a:lnTo>
                    <a:pt x="391" y="11"/>
                  </a:lnTo>
                  <a:lnTo>
                    <a:pt x="393" y="13"/>
                  </a:lnTo>
                  <a:lnTo>
                    <a:pt x="394" y="13"/>
                  </a:lnTo>
                  <a:lnTo>
                    <a:pt x="395" y="14"/>
                  </a:lnTo>
                  <a:lnTo>
                    <a:pt x="396" y="15"/>
                  </a:lnTo>
                  <a:lnTo>
                    <a:pt x="396" y="15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8" y="15"/>
                  </a:lnTo>
                  <a:lnTo>
                    <a:pt x="398" y="15"/>
                  </a:lnTo>
                  <a:lnTo>
                    <a:pt x="399" y="15"/>
                  </a:lnTo>
                  <a:lnTo>
                    <a:pt x="400" y="14"/>
                  </a:lnTo>
                  <a:lnTo>
                    <a:pt x="401" y="14"/>
                  </a:lnTo>
                  <a:lnTo>
                    <a:pt x="402" y="13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4" y="13"/>
                  </a:lnTo>
                  <a:lnTo>
                    <a:pt x="404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6" y="15"/>
                  </a:lnTo>
                  <a:lnTo>
                    <a:pt x="406" y="17"/>
                  </a:lnTo>
                  <a:lnTo>
                    <a:pt x="407" y="18"/>
                  </a:lnTo>
                  <a:lnTo>
                    <a:pt x="408" y="20"/>
                  </a:lnTo>
                  <a:lnTo>
                    <a:pt x="409" y="23"/>
                  </a:lnTo>
                  <a:lnTo>
                    <a:pt x="410" y="25"/>
                  </a:lnTo>
                  <a:lnTo>
                    <a:pt x="411" y="27"/>
                  </a:lnTo>
                  <a:lnTo>
                    <a:pt x="412" y="28"/>
                  </a:lnTo>
                  <a:lnTo>
                    <a:pt x="413" y="28"/>
                  </a:lnTo>
                  <a:lnTo>
                    <a:pt x="413" y="29"/>
                  </a:lnTo>
                  <a:lnTo>
                    <a:pt x="414" y="30"/>
                  </a:lnTo>
                  <a:lnTo>
                    <a:pt x="415" y="30"/>
                  </a:lnTo>
                  <a:lnTo>
                    <a:pt x="415" y="30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8" y="31"/>
                  </a:lnTo>
                  <a:lnTo>
                    <a:pt x="419" y="31"/>
                  </a:lnTo>
                  <a:lnTo>
                    <a:pt x="419" y="31"/>
                  </a:lnTo>
                  <a:lnTo>
                    <a:pt x="420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22" y="31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0"/>
                  </a:lnTo>
                  <a:lnTo>
                    <a:pt x="423" y="31"/>
                  </a:lnTo>
                  <a:lnTo>
                    <a:pt x="424" y="35"/>
                  </a:lnTo>
                  <a:lnTo>
                    <a:pt x="424" y="36"/>
                  </a:lnTo>
                  <a:lnTo>
                    <a:pt x="424" y="37"/>
                  </a:lnTo>
                  <a:lnTo>
                    <a:pt x="424" y="38"/>
                  </a:lnTo>
                  <a:lnTo>
                    <a:pt x="424" y="39"/>
                  </a:lnTo>
                  <a:lnTo>
                    <a:pt x="424" y="39"/>
                  </a:lnTo>
                  <a:lnTo>
                    <a:pt x="424" y="40"/>
                  </a:lnTo>
                  <a:lnTo>
                    <a:pt x="423" y="40"/>
                  </a:lnTo>
                  <a:lnTo>
                    <a:pt x="423" y="41"/>
                  </a:lnTo>
                  <a:lnTo>
                    <a:pt x="422" y="41"/>
                  </a:lnTo>
                  <a:lnTo>
                    <a:pt x="422" y="42"/>
                  </a:lnTo>
                  <a:lnTo>
                    <a:pt x="421" y="42"/>
                  </a:lnTo>
                  <a:lnTo>
                    <a:pt x="420" y="43"/>
                  </a:lnTo>
                  <a:lnTo>
                    <a:pt x="419" y="43"/>
                  </a:lnTo>
                  <a:lnTo>
                    <a:pt x="418" y="43"/>
                  </a:lnTo>
                  <a:lnTo>
                    <a:pt x="418" y="44"/>
                  </a:lnTo>
                  <a:lnTo>
                    <a:pt x="417" y="44"/>
                  </a:lnTo>
                  <a:lnTo>
                    <a:pt x="417" y="44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7" y="46"/>
                  </a:lnTo>
                  <a:lnTo>
                    <a:pt x="417" y="47"/>
                  </a:lnTo>
                  <a:lnTo>
                    <a:pt x="417" y="47"/>
                  </a:lnTo>
                  <a:lnTo>
                    <a:pt x="417" y="48"/>
                  </a:lnTo>
                  <a:lnTo>
                    <a:pt x="419" y="51"/>
                  </a:lnTo>
                  <a:lnTo>
                    <a:pt x="420" y="52"/>
                  </a:lnTo>
                  <a:lnTo>
                    <a:pt x="420" y="53"/>
                  </a:lnTo>
                  <a:lnTo>
                    <a:pt x="420" y="54"/>
                  </a:lnTo>
                  <a:lnTo>
                    <a:pt x="421" y="55"/>
                  </a:lnTo>
                  <a:lnTo>
                    <a:pt x="421" y="56"/>
                  </a:lnTo>
                  <a:lnTo>
                    <a:pt x="421" y="57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1" y="64"/>
                  </a:lnTo>
                  <a:lnTo>
                    <a:pt x="421" y="65"/>
                  </a:lnTo>
                  <a:lnTo>
                    <a:pt x="421" y="66"/>
                  </a:lnTo>
                  <a:lnTo>
                    <a:pt x="421" y="68"/>
                  </a:lnTo>
                  <a:lnTo>
                    <a:pt x="421" y="69"/>
                  </a:lnTo>
                  <a:lnTo>
                    <a:pt x="421" y="71"/>
                  </a:lnTo>
                  <a:lnTo>
                    <a:pt x="420" y="72"/>
                  </a:lnTo>
                  <a:lnTo>
                    <a:pt x="420" y="73"/>
                  </a:lnTo>
                  <a:lnTo>
                    <a:pt x="420" y="75"/>
                  </a:lnTo>
                  <a:lnTo>
                    <a:pt x="419" y="77"/>
                  </a:lnTo>
                  <a:lnTo>
                    <a:pt x="418" y="80"/>
                  </a:lnTo>
                  <a:lnTo>
                    <a:pt x="417" y="83"/>
                  </a:lnTo>
                  <a:lnTo>
                    <a:pt x="416" y="85"/>
                  </a:lnTo>
                  <a:lnTo>
                    <a:pt x="415" y="86"/>
                  </a:lnTo>
                  <a:lnTo>
                    <a:pt x="415" y="87"/>
                  </a:lnTo>
                  <a:lnTo>
                    <a:pt x="415" y="88"/>
                  </a:lnTo>
                  <a:lnTo>
                    <a:pt x="415" y="88"/>
                  </a:lnTo>
                  <a:lnTo>
                    <a:pt x="416" y="89"/>
                  </a:lnTo>
                  <a:lnTo>
                    <a:pt x="416" y="89"/>
                  </a:lnTo>
                  <a:lnTo>
                    <a:pt x="416" y="90"/>
                  </a:lnTo>
                  <a:lnTo>
                    <a:pt x="416" y="90"/>
                  </a:lnTo>
                  <a:lnTo>
                    <a:pt x="415" y="94"/>
                  </a:lnTo>
                  <a:lnTo>
                    <a:pt x="414" y="97"/>
                  </a:lnTo>
                  <a:lnTo>
                    <a:pt x="414" y="98"/>
                  </a:lnTo>
                  <a:lnTo>
                    <a:pt x="413" y="100"/>
                  </a:lnTo>
                  <a:lnTo>
                    <a:pt x="412" y="102"/>
                  </a:lnTo>
                  <a:lnTo>
                    <a:pt x="412" y="103"/>
                  </a:lnTo>
                  <a:lnTo>
                    <a:pt x="412" y="105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2" y="107"/>
                  </a:lnTo>
                  <a:lnTo>
                    <a:pt x="412" y="108"/>
                  </a:lnTo>
                  <a:lnTo>
                    <a:pt x="412" y="109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4" y="112"/>
                  </a:lnTo>
                  <a:lnTo>
                    <a:pt x="415" y="113"/>
                  </a:lnTo>
                  <a:lnTo>
                    <a:pt x="416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19" y="117"/>
                  </a:lnTo>
                  <a:lnTo>
                    <a:pt x="420" y="117"/>
                  </a:lnTo>
                  <a:lnTo>
                    <a:pt x="420" y="118"/>
                  </a:lnTo>
                  <a:lnTo>
                    <a:pt x="421" y="11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1"/>
                  </a:lnTo>
                  <a:lnTo>
                    <a:pt x="421" y="121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4"/>
                  </a:lnTo>
                  <a:lnTo>
                    <a:pt x="419" y="125"/>
                  </a:lnTo>
                  <a:lnTo>
                    <a:pt x="418" y="126"/>
                  </a:lnTo>
                  <a:lnTo>
                    <a:pt x="417" y="127"/>
                  </a:lnTo>
                  <a:lnTo>
                    <a:pt x="417" y="128"/>
                  </a:lnTo>
                  <a:lnTo>
                    <a:pt x="417" y="129"/>
                  </a:lnTo>
                  <a:lnTo>
                    <a:pt x="417" y="129"/>
                  </a:lnTo>
                  <a:lnTo>
                    <a:pt x="417" y="130"/>
                  </a:lnTo>
                  <a:lnTo>
                    <a:pt x="417" y="131"/>
                  </a:lnTo>
                  <a:lnTo>
                    <a:pt x="417" y="131"/>
                  </a:lnTo>
                  <a:lnTo>
                    <a:pt x="417" y="132"/>
                  </a:lnTo>
                  <a:lnTo>
                    <a:pt x="417" y="133"/>
                  </a:lnTo>
                  <a:lnTo>
                    <a:pt x="418" y="134"/>
                  </a:lnTo>
                  <a:lnTo>
                    <a:pt x="420" y="137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7" y="144"/>
                  </a:lnTo>
                  <a:lnTo>
                    <a:pt x="427" y="145"/>
                  </a:lnTo>
                  <a:lnTo>
                    <a:pt x="429" y="147"/>
                  </a:lnTo>
                  <a:lnTo>
                    <a:pt x="430" y="149"/>
                  </a:lnTo>
                  <a:lnTo>
                    <a:pt x="433" y="151"/>
                  </a:lnTo>
                  <a:lnTo>
                    <a:pt x="435" y="153"/>
                  </a:lnTo>
                  <a:lnTo>
                    <a:pt x="436" y="154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8" y="154"/>
                  </a:lnTo>
                  <a:lnTo>
                    <a:pt x="439" y="155"/>
                  </a:lnTo>
                  <a:lnTo>
                    <a:pt x="440" y="155"/>
                  </a:lnTo>
                  <a:lnTo>
                    <a:pt x="441" y="154"/>
                  </a:lnTo>
                  <a:lnTo>
                    <a:pt x="442" y="154"/>
                  </a:lnTo>
                  <a:lnTo>
                    <a:pt x="443" y="154"/>
                  </a:lnTo>
                  <a:lnTo>
                    <a:pt x="447" y="152"/>
                  </a:lnTo>
                  <a:lnTo>
                    <a:pt x="448" y="151"/>
                  </a:lnTo>
                  <a:lnTo>
                    <a:pt x="449" y="151"/>
                  </a:lnTo>
                  <a:lnTo>
                    <a:pt x="450" y="150"/>
                  </a:lnTo>
                  <a:lnTo>
                    <a:pt x="451" y="150"/>
                  </a:lnTo>
                  <a:lnTo>
                    <a:pt x="452" y="150"/>
                  </a:lnTo>
                  <a:lnTo>
                    <a:pt x="453" y="150"/>
                  </a:lnTo>
                  <a:lnTo>
                    <a:pt x="453" y="150"/>
                  </a:lnTo>
                  <a:lnTo>
                    <a:pt x="454" y="151"/>
                  </a:lnTo>
                  <a:lnTo>
                    <a:pt x="455" y="151"/>
                  </a:lnTo>
                  <a:lnTo>
                    <a:pt x="456" y="151"/>
                  </a:lnTo>
                  <a:lnTo>
                    <a:pt x="456" y="152"/>
                  </a:lnTo>
                  <a:lnTo>
                    <a:pt x="458" y="154"/>
                  </a:lnTo>
                  <a:lnTo>
                    <a:pt x="460" y="155"/>
                  </a:lnTo>
                  <a:lnTo>
                    <a:pt x="461" y="156"/>
                  </a:lnTo>
                  <a:lnTo>
                    <a:pt x="463" y="156"/>
                  </a:lnTo>
                  <a:lnTo>
                    <a:pt x="463" y="157"/>
                  </a:lnTo>
                  <a:lnTo>
                    <a:pt x="464" y="157"/>
                  </a:lnTo>
                  <a:lnTo>
                    <a:pt x="468" y="159"/>
                  </a:lnTo>
                  <a:lnTo>
                    <a:pt x="469" y="159"/>
                  </a:lnTo>
                  <a:lnTo>
                    <a:pt x="471" y="160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3" y="161"/>
                  </a:lnTo>
                  <a:lnTo>
                    <a:pt x="473" y="161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63"/>
                  </a:lnTo>
                  <a:lnTo>
                    <a:pt x="473" y="163"/>
                  </a:lnTo>
                  <a:lnTo>
                    <a:pt x="473" y="164"/>
                  </a:lnTo>
                  <a:lnTo>
                    <a:pt x="473" y="165"/>
                  </a:lnTo>
                  <a:lnTo>
                    <a:pt x="473" y="166"/>
                  </a:lnTo>
                  <a:lnTo>
                    <a:pt x="473" y="166"/>
                  </a:lnTo>
                  <a:lnTo>
                    <a:pt x="473" y="167"/>
                  </a:lnTo>
                  <a:lnTo>
                    <a:pt x="472" y="167"/>
                  </a:lnTo>
                  <a:lnTo>
                    <a:pt x="472" y="167"/>
                  </a:lnTo>
                  <a:lnTo>
                    <a:pt x="471" y="168"/>
                  </a:lnTo>
                  <a:lnTo>
                    <a:pt x="470" y="168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69"/>
                  </a:lnTo>
                  <a:lnTo>
                    <a:pt x="470" y="170"/>
                  </a:lnTo>
                  <a:lnTo>
                    <a:pt x="471" y="170"/>
                  </a:lnTo>
                  <a:lnTo>
                    <a:pt x="472" y="170"/>
                  </a:lnTo>
                  <a:lnTo>
                    <a:pt x="473" y="171"/>
                  </a:lnTo>
                  <a:lnTo>
                    <a:pt x="473" y="171"/>
                  </a:lnTo>
                  <a:lnTo>
                    <a:pt x="474" y="171"/>
                  </a:lnTo>
                  <a:lnTo>
                    <a:pt x="477" y="171"/>
                  </a:lnTo>
                  <a:lnTo>
                    <a:pt x="478" y="171"/>
                  </a:lnTo>
                  <a:lnTo>
                    <a:pt x="478" y="172"/>
                  </a:lnTo>
                  <a:lnTo>
                    <a:pt x="479" y="172"/>
                  </a:lnTo>
                  <a:lnTo>
                    <a:pt x="480" y="172"/>
                  </a:lnTo>
                  <a:lnTo>
                    <a:pt x="480" y="172"/>
                  </a:lnTo>
                  <a:lnTo>
                    <a:pt x="481" y="173"/>
                  </a:lnTo>
                  <a:lnTo>
                    <a:pt x="482" y="173"/>
                  </a:lnTo>
                  <a:lnTo>
                    <a:pt x="483" y="175"/>
                  </a:lnTo>
                  <a:lnTo>
                    <a:pt x="484" y="176"/>
                  </a:lnTo>
                  <a:lnTo>
                    <a:pt x="486" y="178"/>
                  </a:lnTo>
                  <a:lnTo>
                    <a:pt x="487" y="179"/>
                  </a:lnTo>
                  <a:lnTo>
                    <a:pt x="487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9" y="181"/>
                  </a:lnTo>
                  <a:lnTo>
                    <a:pt x="490" y="181"/>
                  </a:lnTo>
                  <a:lnTo>
                    <a:pt x="491" y="181"/>
                  </a:lnTo>
                  <a:lnTo>
                    <a:pt x="492" y="182"/>
                  </a:lnTo>
                  <a:lnTo>
                    <a:pt x="493" y="182"/>
                  </a:lnTo>
                  <a:lnTo>
                    <a:pt x="494" y="181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7" y="180"/>
                  </a:lnTo>
                  <a:lnTo>
                    <a:pt x="500" y="179"/>
                  </a:lnTo>
                  <a:lnTo>
                    <a:pt x="501" y="179"/>
                  </a:lnTo>
                  <a:lnTo>
                    <a:pt x="502" y="178"/>
                  </a:lnTo>
                  <a:lnTo>
                    <a:pt x="502" y="178"/>
                  </a:lnTo>
                  <a:lnTo>
                    <a:pt x="503" y="178"/>
                  </a:lnTo>
                  <a:lnTo>
                    <a:pt x="503" y="178"/>
                  </a:lnTo>
                  <a:lnTo>
                    <a:pt x="504" y="178"/>
                  </a:lnTo>
                  <a:lnTo>
                    <a:pt x="505" y="178"/>
                  </a:lnTo>
                  <a:lnTo>
                    <a:pt x="510" y="180"/>
                  </a:lnTo>
                  <a:lnTo>
                    <a:pt x="513" y="181"/>
                  </a:lnTo>
                  <a:lnTo>
                    <a:pt x="516" y="182"/>
                  </a:lnTo>
                  <a:lnTo>
                    <a:pt x="517" y="182"/>
                  </a:lnTo>
                  <a:lnTo>
                    <a:pt x="518" y="183"/>
                  </a:lnTo>
                  <a:lnTo>
                    <a:pt x="519" y="184"/>
                  </a:lnTo>
                  <a:lnTo>
                    <a:pt x="519" y="184"/>
                  </a:lnTo>
                  <a:lnTo>
                    <a:pt x="521" y="185"/>
                  </a:lnTo>
                  <a:lnTo>
                    <a:pt x="521" y="186"/>
                  </a:lnTo>
                  <a:lnTo>
                    <a:pt x="521" y="186"/>
                  </a:lnTo>
                  <a:lnTo>
                    <a:pt x="522" y="186"/>
                  </a:lnTo>
                  <a:lnTo>
                    <a:pt x="523" y="186"/>
                  </a:lnTo>
                  <a:lnTo>
                    <a:pt x="523" y="186"/>
                  </a:lnTo>
                  <a:lnTo>
                    <a:pt x="527" y="186"/>
                  </a:lnTo>
                  <a:lnTo>
                    <a:pt x="528" y="185"/>
                  </a:lnTo>
                  <a:lnTo>
                    <a:pt x="531" y="185"/>
                  </a:lnTo>
                  <a:lnTo>
                    <a:pt x="532" y="185"/>
                  </a:lnTo>
                  <a:lnTo>
                    <a:pt x="533" y="185"/>
                  </a:lnTo>
                  <a:lnTo>
                    <a:pt x="536" y="184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1" y="184"/>
                  </a:lnTo>
                  <a:lnTo>
                    <a:pt x="542" y="184"/>
                  </a:lnTo>
                  <a:lnTo>
                    <a:pt x="543" y="184"/>
                  </a:lnTo>
                  <a:lnTo>
                    <a:pt x="544" y="184"/>
                  </a:lnTo>
                  <a:lnTo>
                    <a:pt x="544" y="185"/>
                  </a:lnTo>
                  <a:lnTo>
                    <a:pt x="545" y="185"/>
                  </a:lnTo>
                  <a:lnTo>
                    <a:pt x="545" y="185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7"/>
                  </a:lnTo>
                  <a:lnTo>
                    <a:pt x="547" y="188"/>
                  </a:lnTo>
                  <a:lnTo>
                    <a:pt x="548" y="189"/>
                  </a:lnTo>
                  <a:lnTo>
                    <a:pt x="548" y="190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4"/>
                  </a:lnTo>
                  <a:lnTo>
                    <a:pt x="549" y="195"/>
                  </a:lnTo>
                  <a:lnTo>
                    <a:pt x="549" y="196"/>
                  </a:lnTo>
                  <a:lnTo>
                    <a:pt x="548" y="198"/>
                  </a:lnTo>
                  <a:lnTo>
                    <a:pt x="548" y="201"/>
                  </a:lnTo>
                  <a:lnTo>
                    <a:pt x="548" y="202"/>
                  </a:lnTo>
                  <a:lnTo>
                    <a:pt x="548" y="204"/>
                  </a:lnTo>
                  <a:lnTo>
                    <a:pt x="548" y="205"/>
                  </a:lnTo>
                  <a:lnTo>
                    <a:pt x="548" y="206"/>
                  </a:lnTo>
                  <a:lnTo>
                    <a:pt x="548" y="208"/>
                  </a:lnTo>
                  <a:lnTo>
                    <a:pt x="549" y="209"/>
                  </a:lnTo>
                  <a:lnTo>
                    <a:pt x="550" y="210"/>
                  </a:lnTo>
                  <a:lnTo>
                    <a:pt x="550" y="211"/>
                  </a:lnTo>
                  <a:lnTo>
                    <a:pt x="551" y="212"/>
                  </a:lnTo>
                  <a:lnTo>
                    <a:pt x="551" y="212"/>
                  </a:lnTo>
                  <a:lnTo>
                    <a:pt x="553" y="214"/>
                  </a:lnTo>
                  <a:lnTo>
                    <a:pt x="554" y="215"/>
                  </a:lnTo>
                  <a:lnTo>
                    <a:pt x="557" y="217"/>
                  </a:lnTo>
                  <a:lnTo>
                    <a:pt x="560" y="219"/>
                  </a:lnTo>
                  <a:lnTo>
                    <a:pt x="560" y="220"/>
                  </a:lnTo>
                  <a:lnTo>
                    <a:pt x="562" y="221"/>
                  </a:lnTo>
                  <a:lnTo>
                    <a:pt x="564" y="222"/>
                  </a:lnTo>
                  <a:lnTo>
                    <a:pt x="568" y="225"/>
                  </a:lnTo>
                  <a:lnTo>
                    <a:pt x="571" y="226"/>
                  </a:lnTo>
                  <a:lnTo>
                    <a:pt x="571" y="227"/>
                  </a:lnTo>
                  <a:lnTo>
                    <a:pt x="572" y="227"/>
                  </a:lnTo>
                  <a:lnTo>
                    <a:pt x="572" y="227"/>
                  </a:lnTo>
                  <a:lnTo>
                    <a:pt x="573" y="227"/>
                  </a:lnTo>
                  <a:lnTo>
                    <a:pt x="573" y="227"/>
                  </a:lnTo>
                  <a:lnTo>
                    <a:pt x="573" y="226"/>
                  </a:lnTo>
                  <a:lnTo>
                    <a:pt x="575" y="226"/>
                  </a:lnTo>
                  <a:lnTo>
                    <a:pt x="576" y="226"/>
                  </a:lnTo>
                  <a:lnTo>
                    <a:pt x="577" y="225"/>
                  </a:lnTo>
                  <a:lnTo>
                    <a:pt x="578" y="225"/>
                  </a:lnTo>
                  <a:lnTo>
                    <a:pt x="578" y="225"/>
                  </a:lnTo>
                  <a:lnTo>
                    <a:pt x="579" y="226"/>
                  </a:lnTo>
                  <a:lnTo>
                    <a:pt x="580" y="226"/>
                  </a:lnTo>
                  <a:lnTo>
                    <a:pt x="583" y="227"/>
                  </a:lnTo>
                  <a:lnTo>
                    <a:pt x="584" y="227"/>
                  </a:lnTo>
                  <a:lnTo>
                    <a:pt x="585" y="227"/>
                  </a:lnTo>
                  <a:lnTo>
                    <a:pt x="587" y="227"/>
                  </a:lnTo>
                  <a:lnTo>
                    <a:pt x="589" y="227"/>
                  </a:lnTo>
                  <a:lnTo>
                    <a:pt x="591" y="227"/>
                  </a:lnTo>
                  <a:lnTo>
                    <a:pt x="593" y="227"/>
                  </a:lnTo>
                  <a:lnTo>
                    <a:pt x="594" y="227"/>
                  </a:lnTo>
                  <a:lnTo>
                    <a:pt x="595" y="227"/>
                  </a:lnTo>
                  <a:lnTo>
                    <a:pt x="596" y="226"/>
                  </a:lnTo>
                  <a:lnTo>
                    <a:pt x="599" y="225"/>
                  </a:lnTo>
                  <a:lnTo>
                    <a:pt x="600" y="225"/>
                  </a:lnTo>
                  <a:lnTo>
                    <a:pt x="602" y="225"/>
                  </a:lnTo>
                  <a:lnTo>
                    <a:pt x="604" y="224"/>
                  </a:lnTo>
                  <a:lnTo>
                    <a:pt x="605" y="224"/>
                  </a:lnTo>
                  <a:lnTo>
                    <a:pt x="605" y="224"/>
                  </a:lnTo>
                  <a:lnTo>
                    <a:pt x="607" y="223"/>
                  </a:lnTo>
                  <a:lnTo>
                    <a:pt x="607" y="223"/>
                  </a:lnTo>
                  <a:lnTo>
                    <a:pt x="608" y="223"/>
                  </a:lnTo>
                  <a:lnTo>
                    <a:pt x="608" y="223"/>
                  </a:lnTo>
                  <a:lnTo>
                    <a:pt x="609" y="223"/>
                  </a:lnTo>
                  <a:lnTo>
                    <a:pt x="609" y="223"/>
                  </a:lnTo>
                  <a:lnTo>
                    <a:pt x="610" y="223"/>
                  </a:lnTo>
                  <a:lnTo>
                    <a:pt x="610" y="223"/>
                  </a:lnTo>
                  <a:lnTo>
                    <a:pt x="611" y="224"/>
                  </a:lnTo>
                  <a:lnTo>
                    <a:pt x="612" y="224"/>
                  </a:lnTo>
                  <a:lnTo>
                    <a:pt x="613" y="225"/>
                  </a:lnTo>
                  <a:lnTo>
                    <a:pt x="613" y="225"/>
                  </a:lnTo>
                  <a:lnTo>
                    <a:pt x="614" y="225"/>
                  </a:lnTo>
                  <a:lnTo>
                    <a:pt x="614" y="226"/>
                  </a:lnTo>
                  <a:lnTo>
                    <a:pt x="614" y="227"/>
                  </a:lnTo>
                  <a:lnTo>
                    <a:pt x="614" y="227"/>
                  </a:lnTo>
                  <a:lnTo>
                    <a:pt x="615" y="228"/>
                  </a:lnTo>
                  <a:lnTo>
                    <a:pt x="614" y="228"/>
                  </a:lnTo>
                  <a:lnTo>
                    <a:pt x="614" y="229"/>
                  </a:lnTo>
                  <a:lnTo>
                    <a:pt x="614" y="230"/>
                  </a:lnTo>
                  <a:lnTo>
                    <a:pt x="614" y="230"/>
                  </a:lnTo>
                  <a:lnTo>
                    <a:pt x="614" y="231"/>
                  </a:lnTo>
                  <a:lnTo>
                    <a:pt x="614" y="231"/>
                  </a:lnTo>
                  <a:lnTo>
                    <a:pt x="615" y="232"/>
                  </a:lnTo>
                  <a:lnTo>
                    <a:pt x="615" y="232"/>
                  </a:lnTo>
                  <a:lnTo>
                    <a:pt x="616" y="233"/>
                  </a:lnTo>
                  <a:lnTo>
                    <a:pt x="616" y="234"/>
                  </a:lnTo>
                  <a:lnTo>
                    <a:pt x="618" y="234"/>
                  </a:lnTo>
                  <a:lnTo>
                    <a:pt x="619" y="236"/>
                  </a:lnTo>
                  <a:lnTo>
                    <a:pt x="620" y="236"/>
                  </a:lnTo>
                  <a:lnTo>
                    <a:pt x="621" y="237"/>
                  </a:lnTo>
                  <a:lnTo>
                    <a:pt x="621" y="237"/>
                  </a:lnTo>
                  <a:lnTo>
                    <a:pt x="623" y="240"/>
                  </a:lnTo>
                  <a:lnTo>
                    <a:pt x="624" y="241"/>
                  </a:lnTo>
                  <a:lnTo>
                    <a:pt x="624" y="242"/>
                  </a:lnTo>
                  <a:lnTo>
                    <a:pt x="624" y="243"/>
                  </a:lnTo>
                  <a:lnTo>
                    <a:pt x="624" y="243"/>
                  </a:lnTo>
                  <a:lnTo>
                    <a:pt x="624" y="244"/>
                  </a:lnTo>
                  <a:lnTo>
                    <a:pt x="624" y="245"/>
                  </a:lnTo>
                  <a:lnTo>
                    <a:pt x="624" y="246"/>
                  </a:lnTo>
                  <a:lnTo>
                    <a:pt x="623" y="247"/>
                  </a:lnTo>
                  <a:lnTo>
                    <a:pt x="623" y="247"/>
                  </a:lnTo>
                  <a:lnTo>
                    <a:pt x="623" y="248"/>
                  </a:lnTo>
                  <a:lnTo>
                    <a:pt x="622" y="248"/>
                  </a:lnTo>
                  <a:lnTo>
                    <a:pt x="622" y="248"/>
                  </a:lnTo>
                  <a:lnTo>
                    <a:pt x="621" y="249"/>
                  </a:lnTo>
                  <a:lnTo>
                    <a:pt x="620" y="249"/>
                  </a:lnTo>
                  <a:lnTo>
                    <a:pt x="618" y="250"/>
                  </a:lnTo>
                  <a:lnTo>
                    <a:pt x="615" y="250"/>
                  </a:lnTo>
                  <a:lnTo>
                    <a:pt x="614" y="250"/>
                  </a:lnTo>
                  <a:lnTo>
                    <a:pt x="614" y="251"/>
                  </a:lnTo>
                  <a:lnTo>
                    <a:pt x="614" y="251"/>
                  </a:lnTo>
                  <a:lnTo>
                    <a:pt x="613" y="251"/>
                  </a:lnTo>
                  <a:lnTo>
                    <a:pt x="613" y="252"/>
                  </a:lnTo>
                  <a:lnTo>
                    <a:pt x="612" y="253"/>
                  </a:lnTo>
                  <a:lnTo>
                    <a:pt x="611" y="254"/>
                  </a:lnTo>
                  <a:lnTo>
                    <a:pt x="610" y="256"/>
                  </a:lnTo>
                  <a:lnTo>
                    <a:pt x="610" y="257"/>
                  </a:lnTo>
                  <a:lnTo>
                    <a:pt x="609" y="258"/>
                  </a:lnTo>
                  <a:lnTo>
                    <a:pt x="609" y="259"/>
                  </a:lnTo>
                  <a:lnTo>
                    <a:pt x="609" y="261"/>
                  </a:lnTo>
                  <a:lnTo>
                    <a:pt x="608" y="262"/>
                  </a:lnTo>
                  <a:lnTo>
                    <a:pt x="608" y="262"/>
                  </a:lnTo>
                  <a:lnTo>
                    <a:pt x="608" y="263"/>
                  </a:lnTo>
                  <a:lnTo>
                    <a:pt x="608" y="264"/>
                  </a:lnTo>
                  <a:lnTo>
                    <a:pt x="606" y="266"/>
                  </a:lnTo>
                  <a:lnTo>
                    <a:pt x="605" y="267"/>
                  </a:lnTo>
                  <a:lnTo>
                    <a:pt x="605" y="268"/>
                  </a:lnTo>
                  <a:lnTo>
                    <a:pt x="604" y="270"/>
                  </a:lnTo>
                  <a:lnTo>
                    <a:pt x="604" y="271"/>
                  </a:lnTo>
                  <a:lnTo>
                    <a:pt x="603" y="272"/>
                  </a:lnTo>
                  <a:lnTo>
                    <a:pt x="603" y="273"/>
                  </a:lnTo>
                  <a:lnTo>
                    <a:pt x="602" y="273"/>
                  </a:lnTo>
                  <a:lnTo>
                    <a:pt x="600" y="276"/>
                  </a:lnTo>
                  <a:lnTo>
                    <a:pt x="599" y="277"/>
                  </a:lnTo>
                  <a:lnTo>
                    <a:pt x="598" y="278"/>
                  </a:lnTo>
                  <a:lnTo>
                    <a:pt x="597" y="279"/>
                  </a:lnTo>
                  <a:lnTo>
                    <a:pt x="596" y="281"/>
                  </a:lnTo>
                  <a:lnTo>
                    <a:pt x="595" y="282"/>
                  </a:lnTo>
                  <a:lnTo>
                    <a:pt x="594" y="283"/>
                  </a:lnTo>
                  <a:lnTo>
                    <a:pt x="594" y="283"/>
                  </a:lnTo>
                  <a:lnTo>
                    <a:pt x="594" y="284"/>
                  </a:lnTo>
                  <a:lnTo>
                    <a:pt x="594" y="284"/>
                  </a:lnTo>
                  <a:lnTo>
                    <a:pt x="594" y="285"/>
                  </a:lnTo>
                  <a:lnTo>
                    <a:pt x="594" y="285"/>
                  </a:lnTo>
                  <a:lnTo>
                    <a:pt x="594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7"/>
                  </a:lnTo>
                  <a:lnTo>
                    <a:pt x="599" y="287"/>
                  </a:lnTo>
                  <a:lnTo>
                    <a:pt x="599" y="287"/>
                  </a:lnTo>
                  <a:lnTo>
                    <a:pt x="600" y="287"/>
                  </a:lnTo>
                  <a:lnTo>
                    <a:pt x="601" y="287"/>
                  </a:lnTo>
                  <a:lnTo>
                    <a:pt x="601" y="287"/>
                  </a:lnTo>
                  <a:lnTo>
                    <a:pt x="602" y="288"/>
                  </a:lnTo>
                  <a:lnTo>
                    <a:pt x="602" y="289"/>
                  </a:lnTo>
                  <a:lnTo>
                    <a:pt x="603" y="289"/>
                  </a:lnTo>
                  <a:lnTo>
                    <a:pt x="604" y="292"/>
                  </a:lnTo>
                  <a:lnTo>
                    <a:pt x="604" y="292"/>
                  </a:lnTo>
                  <a:lnTo>
                    <a:pt x="605" y="293"/>
                  </a:lnTo>
                  <a:lnTo>
                    <a:pt x="606" y="294"/>
                  </a:lnTo>
                  <a:lnTo>
                    <a:pt x="607" y="295"/>
                  </a:lnTo>
                  <a:lnTo>
                    <a:pt x="608" y="295"/>
                  </a:lnTo>
                  <a:lnTo>
                    <a:pt x="609" y="296"/>
                  </a:lnTo>
                  <a:lnTo>
                    <a:pt x="611" y="297"/>
                  </a:lnTo>
                  <a:lnTo>
                    <a:pt x="613" y="297"/>
                  </a:lnTo>
                  <a:lnTo>
                    <a:pt x="614" y="298"/>
                  </a:lnTo>
                  <a:lnTo>
                    <a:pt x="615" y="299"/>
                  </a:lnTo>
                  <a:lnTo>
                    <a:pt x="617" y="300"/>
                  </a:lnTo>
                  <a:lnTo>
                    <a:pt x="618" y="301"/>
                  </a:lnTo>
                  <a:lnTo>
                    <a:pt x="618" y="301"/>
                  </a:lnTo>
                  <a:lnTo>
                    <a:pt x="619" y="302"/>
                  </a:lnTo>
                  <a:lnTo>
                    <a:pt x="619" y="303"/>
                  </a:lnTo>
                  <a:lnTo>
                    <a:pt x="620" y="303"/>
                  </a:lnTo>
                  <a:lnTo>
                    <a:pt x="620" y="304"/>
                  </a:lnTo>
                  <a:lnTo>
                    <a:pt x="621" y="306"/>
                  </a:lnTo>
                  <a:lnTo>
                    <a:pt x="622" y="307"/>
                  </a:lnTo>
                  <a:lnTo>
                    <a:pt x="622" y="308"/>
                  </a:lnTo>
                  <a:lnTo>
                    <a:pt x="622" y="308"/>
                  </a:lnTo>
                  <a:lnTo>
                    <a:pt x="622" y="309"/>
                  </a:lnTo>
                  <a:lnTo>
                    <a:pt x="620" y="310"/>
                  </a:lnTo>
                  <a:lnTo>
                    <a:pt x="620" y="311"/>
                  </a:lnTo>
                  <a:lnTo>
                    <a:pt x="620" y="311"/>
                  </a:lnTo>
                  <a:lnTo>
                    <a:pt x="619" y="311"/>
                  </a:lnTo>
                  <a:lnTo>
                    <a:pt x="619" y="311"/>
                  </a:lnTo>
                  <a:lnTo>
                    <a:pt x="618" y="311"/>
                  </a:lnTo>
                  <a:lnTo>
                    <a:pt x="617" y="311"/>
                  </a:lnTo>
                  <a:lnTo>
                    <a:pt x="617" y="312"/>
                  </a:lnTo>
                  <a:lnTo>
                    <a:pt x="617" y="312"/>
                  </a:lnTo>
                  <a:lnTo>
                    <a:pt x="617" y="313"/>
                  </a:lnTo>
                  <a:lnTo>
                    <a:pt x="617" y="313"/>
                  </a:lnTo>
                  <a:lnTo>
                    <a:pt x="617" y="314"/>
                  </a:lnTo>
                  <a:lnTo>
                    <a:pt x="616" y="315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6"/>
                  </a:lnTo>
                  <a:lnTo>
                    <a:pt x="615" y="317"/>
                  </a:lnTo>
                  <a:lnTo>
                    <a:pt x="616" y="317"/>
                  </a:lnTo>
                  <a:lnTo>
                    <a:pt x="616" y="317"/>
                  </a:lnTo>
                  <a:lnTo>
                    <a:pt x="615" y="317"/>
                  </a:lnTo>
                  <a:lnTo>
                    <a:pt x="615" y="318"/>
                  </a:lnTo>
                  <a:lnTo>
                    <a:pt x="614" y="319"/>
                  </a:lnTo>
                  <a:lnTo>
                    <a:pt x="613" y="319"/>
                  </a:lnTo>
                  <a:lnTo>
                    <a:pt x="613" y="319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1" y="320"/>
                  </a:lnTo>
                  <a:lnTo>
                    <a:pt x="611" y="321"/>
                  </a:lnTo>
                  <a:lnTo>
                    <a:pt x="610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8" y="326"/>
                  </a:lnTo>
                  <a:lnTo>
                    <a:pt x="608" y="326"/>
                  </a:lnTo>
                  <a:lnTo>
                    <a:pt x="607" y="326"/>
                  </a:lnTo>
                  <a:lnTo>
                    <a:pt x="606" y="325"/>
                  </a:lnTo>
                  <a:lnTo>
                    <a:pt x="604" y="324"/>
                  </a:lnTo>
                  <a:lnTo>
                    <a:pt x="603" y="323"/>
                  </a:lnTo>
                  <a:lnTo>
                    <a:pt x="601" y="321"/>
                  </a:lnTo>
                  <a:lnTo>
                    <a:pt x="600" y="320"/>
                  </a:lnTo>
                  <a:lnTo>
                    <a:pt x="599" y="319"/>
                  </a:lnTo>
                  <a:lnTo>
                    <a:pt x="596" y="315"/>
                  </a:lnTo>
                  <a:lnTo>
                    <a:pt x="595" y="314"/>
                  </a:lnTo>
                  <a:lnTo>
                    <a:pt x="594" y="313"/>
                  </a:lnTo>
                  <a:lnTo>
                    <a:pt x="593" y="312"/>
                  </a:lnTo>
                  <a:lnTo>
                    <a:pt x="592" y="311"/>
                  </a:lnTo>
                  <a:lnTo>
                    <a:pt x="590" y="310"/>
                  </a:lnTo>
                  <a:lnTo>
                    <a:pt x="589" y="310"/>
                  </a:lnTo>
                  <a:lnTo>
                    <a:pt x="588" y="309"/>
                  </a:lnTo>
                  <a:lnTo>
                    <a:pt x="587" y="309"/>
                  </a:lnTo>
                  <a:lnTo>
                    <a:pt x="586" y="308"/>
                  </a:lnTo>
                  <a:lnTo>
                    <a:pt x="585" y="308"/>
                  </a:lnTo>
                  <a:lnTo>
                    <a:pt x="583" y="308"/>
                  </a:lnTo>
                  <a:lnTo>
                    <a:pt x="582" y="307"/>
                  </a:lnTo>
                  <a:lnTo>
                    <a:pt x="577" y="307"/>
                  </a:lnTo>
                  <a:lnTo>
                    <a:pt x="576" y="306"/>
                  </a:lnTo>
                  <a:lnTo>
                    <a:pt x="575" y="306"/>
                  </a:lnTo>
                  <a:lnTo>
                    <a:pt x="574" y="305"/>
                  </a:lnTo>
                  <a:lnTo>
                    <a:pt x="573" y="305"/>
                  </a:lnTo>
                  <a:lnTo>
                    <a:pt x="572" y="304"/>
                  </a:lnTo>
                  <a:lnTo>
                    <a:pt x="571" y="304"/>
                  </a:lnTo>
                  <a:lnTo>
                    <a:pt x="569" y="302"/>
                  </a:lnTo>
                  <a:lnTo>
                    <a:pt x="564" y="300"/>
                  </a:lnTo>
                  <a:lnTo>
                    <a:pt x="560" y="297"/>
                  </a:lnTo>
                  <a:lnTo>
                    <a:pt x="559" y="296"/>
                  </a:lnTo>
                  <a:lnTo>
                    <a:pt x="558" y="295"/>
                  </a:lnTo>
                  <a:lnTo>
                    <a:pt x="556" y="294"/>
                  </a:lnTo>
                  <a:lnTo>
                    <a:pt x="554" y="293"/>
                  </a:lnTo>
                  <a:lnTo>
                    <a:pt x="552" y="293"/>
                  </a:lnTo>
                  <a:lnTo>
                    <a:pt x="551" y="293"/>
                  </a:lnTo>
                  <a:lnTo>
                    <a:pt x="550" y="292"/>
                  </a:lnTo>
                  <a:lnTo>
                    <a:pt x="549" y="292"/>
                  </a:lnTo>
                  <a:lnTo>
                    <a:pt x="547" y="292"/>
                  </a:lnTo>
                  <a:lnTo>
                    <a:pt x="545" y="292"/>
                  </a:lnTo>
                  <a:lnTo>
                    <a:pt x="542" y="293"/>
                  </a:lnTo>
                  <a:lnTo>
                    <a:pt x="541" y="293"/>
                  </a:lnTo>
                  <a:lnTo>
                    <a:pt x="540" y="293"/>
                  </a:lnTo>
                  <a:lnTo>
                    <a:pt x="539" y="292"/>
                  </a:lnTo>
                  <a:lnTo>
                    <a:pt x="537" y="292"/>
                  </a:lnTo>
                  <a:lnTo>
                    <a:pt x="536" y="292"/>
                  </a:lnTo>
                  <a:lnTo>
                    <a:pt x="536" y="292"/>
                  </a:lnTo>
                  <a:lnTo>
                    <a:pt x="534" y="291"/>
                  </a:lnTo>
                  <a:lnTo>
                    <a:pt x="532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1" y="290"/>
                  </a:lnTo>
                  <a:lnTo>
                    <a:pt x="530" y="290"/>
                  </a:lnTo>
                  <a:lnTo>
                    <a:pt x="530" y="290"/>
                  </a:lnTo>
                  <a:lnTo>
                    <a:pt x="529" y="290"/>
                  </a:lnTo>
                  <a:lnTo>
                    <a:pt x="529" y="291"/>
                  </a:lnTo>
                  <a:lnTo>
                    <a:pt x="529" y="291"/>
                  </a:lnTo>
                  <a:lnTo>
                    <a:pt x="528" y="292"/>
                  </a:lnTo>
                  <a:lnTo>
                    <a:pt x="528" y="295"/>
                  </a:lnTo>
                  <a:lnTo>
                    <a:pt x="527" y="296"/>
                  </a:lnTo>
                  <a:lnTo>
                    <a:pt x="526" y="298"/>
                  </a:lnTo>
                  <a:lnTo>
                    <a:pt x="525" y="300"/>
                  </a:lnTo>
                  <a:lnTo>
                    <a:pt x="524" y="301"/>
                  </a:lnTo>
                  <a:lnTo>
                    <a:pt x="524" y="302"/>
                  </a:lnTo>
                  <a:lnTo>
                    <a:pt x="523" y="302"/>
                  </a:lnTo>
                  <a:lnTo>
                    <a:pt x="522" y="303"/>
                  </a:lnTo>
                  <a:lnTo>
                    <a:pt x="522" y="303"/>
                  </a:lnTo>
                  <a:lnTo>
                    <a:pt x="521" y="303"/>
                  </a:lnTo>
                  <a:lnTo>
                    <a:pt x="521" y="304"/>
                  </a:lnTo>
                  <a:lnTo>
                    <a:pt x="519" y="304"/>
                  </a:lnTo>
                  <a:lnTo>
                    <a:pt x="517" y="304"/>
                  </a:lnTo>
                  <a:lnTo>
                    <a:pt x="514" y="304"/>
                  </a:lnTo>
                  <a:lnTo>
                    <a:pt x="513" y="304"/>
                  </a:lnTo>
                  <a:lnTo>
                    <a:pt x="511" y="305"/>
                  </a:lnTo>
                  <a:lnTo>
                    <a:pt x="510" y="305"/>
                  </a:lnTo>
                  <a:lnTo>
                    <a:pt x="508" y="306"/>
                  </a:lnTo>
                  <a:lnTo>
                    <a:pt x="506" y="307"/>
                  </a:lnTo>
                  <a:lnTo>
                    <a:pt x="503" y="308"/>
                  </a:lnTo>
                  <a:lnTo>
                    <a:pt x="502" y="309"/>
                  </a:lnTo>
                  <a:lnTo>
                    <a:pt x="501" y="309"/>
                  </a:lnTo>
                  <a:lnTo>
                    <a:pt x="500" y="309"/>
                  </a:lnTo>
                  <a:lnTo>
                    <a:pt x="499" y="309"/>
                  </a:lnTo>
                  <a:lnTo>
                    <a:pt x="497" y="309"/>
                  </a:lnTo>
                  <a:lnTo>
                    <a:pt x="496" y="309"/>
                  </a:lnTo>
                  <a:lnTo>
                    <a:pt x="496" y="309"/>
                  </a:lnTo>
                  <a:lnTo>
                    <a:pt x="495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4" y="308"/>
                  </a:lnTo>
                  <a:lnTo>
                    <a:pt x="493" y="308"/>
                  </a:lnTo>
                  <a:lnTo>
                    <a:pt x="493" y="308"/>
                  </a:lnTo>
                  <a:lnTo>
                    <a:pt x="493" y="307"/>
                  </a:lnTo>
                  <a:lnTo>
                    <a:pt x="493" y="307"/>
                  </a:lnTo>
                  <a:lnTo>
                    <a:pt x="493" y="306"/>
                  </a:lnTo>
                  <a:lnTo>
                    <a:pt x="493" y="302"/>
                  </a:lnTo>
                  <a:lnTo>
                    <a:pt x="493" y="302"/>
                  </a:lnTo>
                  <a:lnTo>
                    <a:pt x="493" y="301"/>
                  </a:lnTo>
                  <a:lnTo>
                    <a:pt x="493" y="300"/>
                  </a:lnTo>
                  <a:lnTo>
                    <a:pt x="493" y="299"/>
                  </a:lnTo>
                  <a:lnTo>
                    <a:pt x="492" y="297"/>
                  </a:lnTo>
                  <a:lnTo>
                    <a:pt x="492" y="296"/>
                  </a:lnTo>
                  <a:lnTo>
                    <a:pt x="491" y="293"/>
                  </a:lnTo>
                  <a:lnTo>
                    <a:pt x="491" y="291"/>
                  </a:lnTo>
                  <a:lnTo>
                    <a:pt x="490" y="290"/>
                  </a:lnTo>
                  <a:lnTo>
                    <a:pt x="490" y="290"/>
                  </a:lnTo>
                  <a:lnTo>
                    <a:pt x="490" y="289"/>
                  </a:lnTo>
                  <a:lnTo>
                    <a:pt x="489" y="288"/>
                  </a:lnTo>
                  <a:lnTo>
                    <a:pt x="488" y="288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5" y="286"/>
                  </a:lnTo>
                  <a:lnTo>
                    <a:pt x="484" y="286"/>
                  </a:lnTo>
                  <a:lnTo>
                    <a:pt x="483" y="286"/>
                  </a:lnTo>
                  <a:lnTo>
                    <a:pt x="481" y="285"/>
                  </a:lnTo>
                  <a:lnTo>
                    <a:pt x="479" y="285"/>
                  </a:lnTo>
                  <a:lnTo>
                    <a:pt x="478" y="285"/>
                  </a:lnTo>
                  <a:lnTo>
                    <a:pt x="475" y="285"/>
                  </a:lnTo>
                  <a:lnTo>
                    <a:pt x="473" y="285"/>
                  </a:lnTo>
                  <a:lnTo>
                    <a:pt x="472" y="285"/>
                  </a:lnTo>
                  <a:lnTo>
                    <a:pt x="471" y="285"/>
                  </a:lnTo>
                  <a:lnTo>
                    <a:pt x="470" y="284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67" y="283"/>
                  </a:lnTo>
                  <a:lnTo>
                    <a:pt x="466" y="283"/>
                  </a:lnTo>
                  <a:lnTo>
                    <a:pt x="465" y="283"/>
                  </a:lnTo>
                  <a:lnTo>
                    <a:pt x="464" y="282"/>
                  </a:lnTo>
                  <a:lnTo>
                    <a:pt x="462" y="280"/>
                  </a:lnTo>
                  <a:lnTo>
                    <a:pt x="462" y="280"/>
                  </a:lnTo>
                  <a:lnTo>
                    <a:pt x="461" y="279"/>
                  </a:lnTo>
                  <a:lnTo>
                    <a:pt x="461" y="279"/>
                  </a:lnTo>
                  <a:lnTo>
                    <a:pt x="460" y="279"/>
                  </a:lnTo>
                  <a:lnTo>
                    <a:pt x="459" y="278"/>
                  </a:lnTo>
                  <a:lnTo>
                    <a:pt x="459" y="278"/>
                  </a:lnTo>
                  <a:lnTo>
                    <a:pt x="455" y="278"/>
                  </a:lnTo>
                  <a:lnTo>
                    <a:pt x="452" y="277"/>
                  </a:lnTo>
                  <a:lnTo>
                    <a:pt x="451" y="277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8" y="277"/>
                  </a:lnTo>
                  <a:lnTo>
                    <a:pt x="447" y="277"/>
                  </a:lnTo>
                  <a:lnTo>
                    <a:pt x="446" y="278"/>
                  </a:lnTo>
                  <a:lnTo>
                    <a:pt x="445" y="278"/>
                  </a:lnTo>
                  <a:lnTo>
                    <a:pt x="444" y="279"/>
                  </a:lnTo>
                  <a:lnTo>
                    <a:pt x="444" y="279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0"/>
                  </a:lnTo>
                  <a:lnTo>
                    <a:pt x="443" y="281"/>
                  </a:lnTo>
                  <a:lnTo>
                    <a:pt x="442" y="283"/>
                  </a:lnTo>
                  <a:lnTo>
                    <a:pt x="442" y="284"/>
                  </a:lnTo>
                  <a:lnTo>
                    <a:pt x="442" y="286"/>
                  </a:lnTo>
                  <a:lnTo>
                    <a:pt x="441" y="287"/>
                  </a:lnTo>
                  <a:lnTo>
                    <a:pt x="440" y="288"/>
                  </a:lnTo>
                  <a:lnTo>
                    <a:pt x="439" y="290"/>
                  </a:lnTo>
                  <a:lnTo>
                    <a:pt x="439" y="292"/>
                  </a:lnTo>
                  <a:lnTo>
                    <a:pt x="439" y="292"/>
                  </a:lnTo>
                  <a:lnTo>
                    <a:pt x="438" y="294"/>
                  </a:lnTo>
                  <a:lnTo>
                    <a:pt x="438" y="295"/>
                  </a:lnTo>
                  <a:lnTo>
                    <a:pt x="437" y="296"/>
                  </a:lnTo>
                  <a:lnTo>
                    <a:pt x="437" y="297"/>
                  </a:lnTo>
                  <a:lnTo>
                    <a:pt x="437" y="298"/>
                  </a:lnTo>
                  <a:lnTo>
                    <a:pt x="437" y="300"/>
                  </a:lnTo>
                  <a:lnTo>
                    <a:pt x="437" y="302"/>
                  </a:lnTo>
                  <a:lnTo>
                    <a:pt x="437" y="304"/>
                  </a:lnTo>
                  <a:lnTo>
                    <a:pt x="437" y="305"/>
                  </a:lnTo>
                  <a:lnTo>
                    <a:pt x="438" y="308"/>
                  </a:lnTo>
                  <a:lnTo>
                    <a:pt x="438" y="313"/>
                  </a:lnTo>
                  <a:lnTo>
                    <a:pt x="439" y="316"/>
                  </a:lnTo>
                  <a:lnTo>
                    <a:pt x="439" y="318"/>
                  </a:lnTo>
                  <a:lnTo>
                    <a:pt x="440" y="323"/>
                  </a:lnTo>
                  <a:lnTo>
                    <a:pt x="440" y="325"/>
                  </a:lnTo>
                  <a:lnTo>
                    <a:pt x="440" y="326"/>
                  </a:lnTo>
                  <a:lnTo>
                    <a:pt x="440" y="328"/>
                  </a:lnTo>
                  <a:lnTo>
                    <a:pt x="440" y="329"/>
                  </a:lnTo>
                  <a:lnTo>
                    <a:pt x="440" y="330"/>
                  </a:lnTo>
                  <a:lnTo>
                    <a:pt x="440" y="332"/>
                  </a:lnTo>
                  <a:lnTo>
                    <a:pt x="439" y="334"/>
                  </a:lnTo>
                  <a:lnTo>
                    <a:pt x="438" y="340"/>
                  </a:lnTo>
                  <a:lnTo>
                    <a:pt x="438" y="341"/>
                  </a:lnTo>
                  <a:lnTo>
                    <a:pt x="437" y="343"/>
                  </a:lnTo>
                  <a:lnTo>
                    <a:pt x="437" y="344"/>
                  </a:lnTo>
                  <a:lnTo>
                    <a:pt x="436" y="346"/>
                  </a:lnTo>
                  <a:lnTo>
                    <a:pt x="436" y="347"/>
                  </a:lnTo>
                  <a:lnTo>
                    <a:pt x="436" y="349"/>
                  </a:lnTo>
                  <a:lnTo>
                    <a:pt x="436" y="350"/>
                  </a:lnTo>
                  <a:lnTo>
                    <a:pt x="436" y="354"/>
                  </a:lnTo>
                  <a:lnTo>
                    <a:pt x="436" y="355"/>
                  </a:lnTo>
                  <a:lnTo>
                    <a:pt x="436" y="356"/>
                  </a:lnTo>
                  <a:lnTo>
                    <a:pt x="436" y="357"/>
                  </a:lnTo>
                  <a:lnTo>
                    <a:pt x="436" y="357"/>
                  </a:lnTo>
                  <a:lnTo>
                    <a:pt x="435" y="360"/>
                  </a:lnTo>
                  <a:lnTo>
                    <a:pt x="434" y="361"/>
                  </a:lnTo>
                  <a:lnTo>
                    <a:pt x="433" y="366"/>
                  </a:lnTo>
                  <a:lnTo>
                    <a:pt x="432" y="369"/>
                  </a:lnTo>
                  <a:lnTo>
                    <a:pt x="432" y="370"/>
                  </a:lnTo>
                  <a:lnTo>
                    <a:pt x="431" y="372"/>
                  </a:lnTo>
                  <a:lnTo>
                    <a:pt x="431" y="374"/>
                  </a:lnTo>
                  <a:lnTo>
                    <a:pt x="431" y="376"/>
                  </a:lnTo>
                  <a:lnTo>
                    <a:pt x="431" y="377"/>
                  </a:lnTo>
                  <a:lnTo>
                    <a:pt x="431" y="378"/>
                  </a:lnTo>
                  <a:lnTo>
                    <a:pt x="431" y="379"/>
                  </a:lnTo>
                  <a:lnTo>
                    <a:pt x="431" y="380"/>
                  </a:lnTo>
                  <a:lnTo>
                    <a:pt x="431" y="381"/>
                  </a:lnTo>
                  <a:lnTo>
                    <a:pt x="432" y="382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4" y="386"/>
                  </a:lnTo>
                  <a:lnTo>
                    <a:pt x="434" y="386"/>
                  </a:lnTo>
                  <a:lnTo>
                    <a:pt x="435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5" y="390"/>
                  </a:lnTo>
                  <a:lnTo>
                    <a:pt x="434" y="390"/>
                  </a:lnTo>
                  <a:lnTo>
                    <a:pt x="434" y="391"/>
                  </a:lnTo>
                  <a:lnTo>
                    <a:pt x="433" y="392"/>
                  </a:lnTo>
                  <a:lnTo>
                    <a:pt x="433" y="393"/>
                  </a:lnTo>
                  <a:lnTo>
                    <a:pt x="432" y="393"/>
                  </a:lnTo>
                  <a:lnTo>
                    <a:pt x="431" y="394"/>
                  </a:lnTo>
                  <a:lnTo>
                    <a:pt x="430" y="394"/>
                  </a:lnTo>
                  <a:lnTo>
                    <a:pt x="429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0" y="392"/>
                  </a:lnTo>
                  <a:lnTo>
                    <a:pt x="417" y="391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0" y="389"/>
                  </a:lnTo>
                  <a:lnTo>
                    <a:pt x="409" y="389"/>
                  </a:lnTo>
                  <a:lnTo>
                    <a:pt x="407" y="388"/>
                  </a:lnTo>
                  <a:lnTo>
                    <a:pt x="406" y="388"/>
                  </a:lnTo>
                  <a:lnTo>
                    <a:pt x="405" y="387"/>
                  </a:lnTo>
                  <a:lnTo>
                    <a:pt x="404" y="387"/>
                  </a:lnTo>
                  <a:lnTo>
                    <a:pt x="400" y="386"/>
                  </a:lnTo>
                  <a:lnTo>
                    <a:pt x="397" y="386"/>
                  </a:lnTo>
                  <a:lnTo>
                    <a:pt x="395" y="385"/>
                  </a:lnTo>
                  <a:lnTo>
                    <a:pt x="394" y="385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91" y="386"/>
                  </a:lnTo>
                  <a:lnTo>
                    <a:pt x="391" y="386"/>
                  </a:lnTo>
                  <a:lnTo>
                    <a:pt x="390" y="386"/>
                  </a:lnTo>
                  <a:lnTo>
                    <a:pt x="389" y="386"/>
                  </a:lnTo>
                  <a:lnTo>
                    <a:pt x="389" y="387"/>
                  </a:lnTo>
                  <a:lnTo>
                    <a:pt x="388" y="387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86" y="389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6" y="391"/>
                  </a:lnTo>
                  <a:lnTo>
                    <a:pt x="385" y="394"/>
                  </a:lnTo>
                  <a:lnTo>
                    <a:pt x="384" y="399"/>
                  </a:lnTo>
                  <a:lnTo>
                    <a:pt x="384" y="401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1" y="409"/>
                  </a:lnTo>
                  <a:lnTo>
                    <a:pt x="380" y="410"/>
                  </a:lnTo>
                  <a:lnTo>
                    <a:pt x="379" y="412"/>
                  </a:lnTo>
                  <a:lnTo>
                    <a:pt x="377" y="414"/>
                  </a:lnTo>
                  <a:lnTo>
                    <a:pt x="376" y="415"/>
                  </a:lnTo>
                  <a:lnTo>
                    <a:pt x="375" y="416"/>
                  </a:lnTo>
                  <a:lnTo>
                    <a:pt x="374" y="416"/>
                  </a:lnTo>
                  <a:lnTo>
                    <a:pt x="373" y="417"/>
                  </a:lnTo>
                  <a:lnTo>
                    <a:pt x="370" y="419"/>
                  </a:lnTo>
                  <a:lnTo>
                    <a:pt x="367" y="422"/>
                  </a:lnTo>
                  <a:lnTo>
                    <a:pt x="365" y="423"/>
                  </a:lnTo>
                  <a:lnTo>
                    <a:pt x="364" y="424"/>
                  </a:lnTo>
                  <a:lnTo>
                    <a:pt x="364" y="425"/>
                  </a:lnTo>
                  <a:lnTo>
                    <a:pt x="363" y="426"/>
                  </a:lnTo>
                  <a:lnTo>
                    <a:pt x="362" y="427"/>
                  </a:lnTo>
                  <a:lnTo>
                    <a:pt x="361" y="429"/>
                  </a:lnTo>
                  <a:lnTo>
                    <a:pt x="360" y="431"/>
                  </a:lnTo>
                  <a:lnTo>
                    <a:pt x="360" y="432"/>
                  </a:lnTo>
                  <a:lnTo>
                    <a:pt x="359" y="434"/>
                  </a:lnTo>
                  <a:lnTo>
                    <a:pt x="358" y="437"/>
                  </a:lnTo>
                  <a:lnTo>
                    <a:pt x="358" y="438"/>
                  </a:lnTo>
                  <a:lnTo>
                    <a:pt x="357" y="440"/>
                  </a:lnTo>
                  <a:lnTo>
                    <a:pt x="357" y="441"/>
                  </a:lnTo>
                  <a:lnTo>
                    <a:pt x="357" y="443"/>
                  </a:lnTo>
                  <a:lnTo>
                    <a:pt x="357" y="444"/>
                  </a:lnTo>
                  <a:lnTo>
                    <a:pt x="357" y="445"/>
                  </a:lnTo>
                  <a:lnTo>
                    <a:pt x="357" y="451"/>
                  </a:lnTo>
                  <a:lnTo>
                    <a:pt x="357" y="453"/>
                  </a:lnTo>
                  <a:lnTo>
                    <a:pt x="357" y="454"/>
                  </a:lnTo>
                  <a:lnTo>
                    <a:pt x="357" y="456"/>
                  </a:lnTo>
                  <a:lnTo>
                    <a:pt x="357" y="461"/>
                  </a:lnTo>
                  <a:lnTo>
                    <a:pt x="357" y="464"/>
                  </a:lnTo>
                  <a:lnTo>
                    <a:pt x="357" y="465"/>
                  </a:lnTo>
                  <a:lnTo>
                    <a:pt x="356" y="467"/>
                  </a:lnTo>
                  <a:lnTo>
                    <a:pt x="356" y="468"/>
                  </a:lnTo>
                  <a:lnTo>
                    <a:pt x="356" y="469"/>
                  </a:lnTo>
                  <a:lnTo>
                    <a:pt x="356" y="469"/>
                  </a:lnTo>
                  <a:lnTo>
                    <a:pt x="355" y="471"/>
                  </a:lnTo>
                  <a:lnTo>
                    <a:pt x="355" y="472"/>
                  </a:lnTo>
                  <a:lnTo>
                    <a:pt x="354" y="473"/>
                  </a:lnTo>
                  <a:lnTo>
                    <a:pt x="353" y="473"/>
                  </a:lnTo>
                  <a:lnTo>
                    <a:pt x="353" y="474"/>
                  </a:lnTo>
                  <a:lnTo>
                    <a:pt x="352" y="475"/>
                  </a:lnTo>
                  <a:lnTo>
                    <a:pt x="352" y="475"/>
                  </a:lnTo>
                  <a:lnTo>
                    <a:pt x="351" y="475"/>
                  </a:lnTo>
                  <a:lnTo>
                    <a:pt x="351" y="476"/>
                  </a:lnTo>
                  <a:lnTo>
                    <a:pt x="350" y="476"/>
                  </a:lnTo>
                  <a:lnTo>
                    <a:pt x="350" y="476"/>
                  </a:lnTo>
                  <a:lnTo>
                    <a:pt x="349" y="476"/>
                  </a:lnTo>
                  <a:lnTo>
                    <a:pt x="348" y="476"/>
                  </a:lnTo>
                  <a:lnTo>
                    <a:pt x="347" y="476"/>
                  </a:lnTo>
                  <a:lnTo>
                    <a:pt x="346" y="476"/>
                  </a:lnTo>
                  <a:lnTo>
                    <a:pt x="345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43" y="476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2" y="475"/>
                  </a:lnTo>
                  <a:lnTo>
                    <a:pt x="341" y="474"/>
                  </a:lnTo>
                  <a:lnTo>
                    <a:pt x="340" y="474"/>
                  </a:lnTo>
                  <a:lnTo>
                    <a:pt x="340" y="473"/>
                  </a:lnTo>
                  <a:lnTo>
                    <a:pt x="337" y="470"/>
                  </a:lnTo>
                  <a:lnTo>
                    <a:pt x="337" y="469"/>
                  </a:lnTo>
                  <a:lnTo>
                    <a:pt x="336" y="468"/>
                  </a:lnTo>
                  <a:lnTo>
                    <a:pt x="335" y="467"/>
                  </a:lnTo>
                  <a:lnTo>
                    <a:pt x="334" y="467"/>
                  </a:lnTo>
                  <a:lnTo>
                    <a:pt x="333" y="467"/>
                  </a:lnTo>
                  <a:lnTo>
                    <a:pt x="332" y="466"/>
                  </a:lnTo>
                  <a:lnTo>
                    <a:pt x="331" y="466"/>
                  </a:lnTo>
                  <a:lnTo>
                    <a:pt x="330" y="465"/>
                  </a:lnTo>
                  <a:lnTo>
                    <a:pt x="330" y="465"/>
                  </a:lnTo>
                  <a:lnTo>
                    <a:pt x="329" y="464"/>
                  </a:lnTo>
                  <a:lnTo>
                    <a:pt x="328" y="463"/>
                  </a:lnTo>
                  <a:lnTo>
                    <a:pt x="328" y="463"/>
                  </a:lnTo>
                  <a:lnTo>
                    <a:pt x="326" y="461"/>
                  </a:lnTo>
                  <a:lnTo>
                    <a:pt x="326" y="459"/>
                  </a:lnTo>
                  <a:lnTo>
                    <a:pt x="325" y="459"/>
                  </a:lnTo>
                  <a:lnTo>
                    <a:pt x="324" y="458"/>
                  </a:lnTo>
                  <a:lnTo>
                    <a:pt x="324" y="458"/>
                  </a:lnTo>
                  <a:lnTo>
                    <a:pt x="323" y="458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8"/>
                  </a:lnTo>
                  <a:lnTo>
                    <a:pt x="320" y="459"/>
                  </a:lnTo>
                  <a:lnTo>
                    <a:pt x="314" y="462"/>
                  </a:lnTo>
                  <a:lnTo>
                    <a:pt x="313" y="463"/>
                  </a:lnTo>
                  <a:lnTo>
                    <a:pt x="312" y="464"/>
                  </a:lnTo>
                  <a:lnTo>
                    <a:pt x="311" y="464"/>
                  </a:lnTo>
                  <a:lnTo>
                    <a:pt x="310" y="464"/>
                  </a:lnTo>
                  <a:lnTo>
                    <a:pt x="309" y="465"/>
                  </a:lnTo>
                  <a:lnTo>
                    <a:pt x="308" y="465"/>
                  </a:lnTo>
                  <a:lnTo>
                    <a:pt x="308" y="465"/>
                  </a:lnTo>
                  <a:lnTo>
                    <a:pt x="307" y="465"/>
                  </a:lnTo>
                  <a:lnTo>
                    <a:pt x="307" y="464"/>
                  </a:lnTo>
                  <a:lnTo>
                    <a:pt x="306" y="464"/>
                  </a:lnTo>
                  <a:lnTo>
                    <a:pt x="303" y="463"/>
                  </a:lnTo>
                  <a:lnTo>
                    <a:pt x="299" y="462"/>
                  </a:lnTo>
                  <a:lnTo>
                    <a:pt x="297" y="461"/>
                  </a:lnTo>
                  <a:lnTo>
                    <a:pt x="294" y="460"/>
                  </a:lnTo>
                  <a:lnTo>
                    <a:pt x="293" y="459"/>
                  </a:lnTo>
                  <a:lnTo>
                    <a:pt x="292" y="459"/>
                  </a:lnTo>
                  <a:lnTo>
                    <a:pt x="291" y="458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5"/>
                  </a:lnTo>
                  <a:lnTo>
                    <a:pt x="287" y="454"/>
                  </a:lnTo>
                  <a:lnTo>
                    <a:pt x="284" y="451"/>
                  </a:lnTo>
                  <a:lnTo>
                    <a:pt x="283" y="450"/>
                  </a:lnTo>
                  <a:lnTo>
                    <a:pt x="282" y="449"/>
                  </a:lnTo>
                  <a:lnTo>
                    <a:pt x="281" y="449"/>
                  </a:lnTo>
                  <a:lnTo>
                    <a:pt x="280" y="448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77" y="449"/>
                  </a:lnTo>
                  <a:lnTo>
                    <a:pt x="277" y="450"/>
                  </a:lnTo>
                  <a:lnTo>
                    <a:pt x="276" y="450"/>
                  </a:lnTo>
                  <a:lnTo>
                    <a:pt x="276" y="450"/>
                  </a:lnTo>
                  <a:lnTo>
                    <a:pt x="276" y="451"/>
                  </a:lnTo>
                  <a:lnTo>
                    <a:pt x="275" y="451"/>
                  </a:lnTo>
                  <a:lnTo>
                    <a:pt x="275" y="452"/>
                  </a:lnTo>
                  <a:lnTo>
                    <a:pt x="275" y="456"/>
                  </a:lnTo>
                  <a:lnTo>
                    <a:pt x="275" y="457"/>
                  </a:lnTo>
                  <a:lnTo>
                    <a:pt x="275" y="458"/>
                  </a:lnTo>
                  <a:lnTo>
                    <a:pt x="274" y="460"/>
                  </a:lnTo>
                  <a:lnTo>
                    <a:pt x="274" y="463"/>
                  </a:lnTo>
                  <a:lnTo>
                    <a:pt x="273" y="464"/>
                  </a:lnTo>
                  <a:lnTo>
                    <a:pt x="273" y="465"/>
                  </a:lnTo>
                  <a:lnTo>
                    <a:pt x="272" y="466"/>
                  </a:lnTo>
                  <a:lnTo>
                    <a:pt x="272" y="467"/>
                  </a:lnTo>
                  <a:lnTo>
                    <a:pt x="271" y="468"/>
                  </a:lnTo>
                  <a:lnTo>
                    <a:pt x="270" y="469"/>
                  </a:lnTo>
                  <a:lnTo>
                    <a:pt x="270" y="470"/>
                  </a:lnTo>
                  <a:lnTo>
                    <a:pt x="269" y="470"/>
                  </a:lnTo>
                  <a:lnTo>
                    <a:pt x="269" y="471"/>
                  </a:lnTo>
                  <a:lnTo>
                    <a:pt x="268" y="472"/>
                  </a:lnTo>
                  <a:lnTo>
                    <a:pt x="267" y="472"/>
                  </a:lnTo>
                  <a:lnTo>
                    <a:pt x="267" y="472"/>
                  </a:lnTo>
                  <a:lnTo>
                    <a:pt x="266" y="472"/>
                  </a:lnTo>
                  <a:lnTo>
                    <a:pt x="265" y="472"/>
                  </a:lnTo>
                  <a:lnTo>
                    <a:pt x="262" y="472"/>
                  </a:lnTo>
                  <a:lnTo>
                    <a:pt x="260" y="473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8" y="473"/>
                  </a:lnTo>
                  <a:lnTo>
                    <a:pt x="257" y="474"/>
                  </a:lnTo>
                  <a:lnTo>
                    <a:pt x="257" y="474"/>
                  </a:lnTo>
                  <a:lnTo>
                    <a:pt x="257" y="475"/>
                  </a:lnTo>
                  <a:lnTo>
                    <a:pt x="256" y="476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5" y="479"/>
                  </a:lnTo>
                  <a:lnTo>
                    <a:pt x="255" y="479"/>
                  </a:lnTo>
                  <a:lnTo>
                    <a:pt x="254" y="480"/>
                  </a:lnTo>
                  <a:lnTo>
                    <a:pt x="254" y="480"/>
                  </a:lnTo>
                  <a:lnTo>
                    <a:pt x="253" y="481"/>
                  </a:lnTo>
                  <a:lnTo>
                    <a:pt x="252" y="481"/>
                  </a:lnTo>
                  <a:lnTo>
                    <a:pt x="251" y="482"/>
                  </a:lnTo>
                  <a:lnTo>
                    <a:pt x="249" y="482"/>
                  </a:lnTo>
                  <a:lnTo>
                    <a:pt x="248" y="482"/>
                  </a:lnTo>
                  <a:lnTo>
                    <a:pt x="248" y="482"/>
                  </a:lnTo>
                  <a:lnTo>
                    <a:pt x="247" y="483"/>
                  </a:lnTo>
                  <a:lnTo>
                    <a:pt x="246" y="483"/>
                  </a:lnTo>
                  <a:lnTo>
                    <a:pt x="245" y="484"/>
                  </a:lnTo>
                  <a:lnTo>
                    <a:pt x="244" y="486"/>
                  </a:lnTo>
                  <a:lnTo>
                    <a:pt x="243" y="487"/>
                  </a:lnTo>
                  <a:lnTo>
                    <a:pt x="242" y="487"/>
                  </a:lnTo>
                  <a:lnTo>
                    <a:pt x="241" y="487"/>
                  </a:lnTo>
                  <a:lnTo>
                    <a:pt x="241" y="488"/>
                  </a:lnTo>
                  <a:lnTo>
                    <a:pt x="240" y="488"/>
                  </a:lnTo>
                  <a:lnTo>
                    <a:pt x="239" y="488"/>
                  </a:lnTo>
                  <a:lnTo>
                    <a:pt x="239" y="488"/>
                  </a:lnTo>
                  <a:lnTo>
                    <a:pt x="238" y="488"/>
                  </a:lnTo>
                  <a:lnTo>
                    <a:pt x="237" y="487"/>
                  </a:lnTo>
                  <a:lnTo>
                    <a:pt x="235" y="486"/>
                  </a:lnTo>
                  <a:lnTo>
                    <a:pt x="231" y="485"/>
                  </a:lnTo>
                  <a:lnTo>
                    <a:pt x="228" y="483"/>
                  </a:lnTo>
                  <a:lnTo>
                    <a:pt x="221" y="479"/>
                  </a:lnTo>
                  <a:lnTo>
                    <a:pt x="219" y="478"/>
                  </a:lnTo>
                  <a:lnTo>
                    <a:pt x="218" y="478"/>
                  </a:lnTo>
                  <a:lnTo>
                    <a:pt x="217" y="478"/>
                  </a:lnTo>
                  <a:lnTo>
                    <a:pt x="216" y="477"/>
                  </a:lnTo>
                  <a:lnTo>
                    <a:pt x="212" y="477"/>
                  </a:lnTo>
                  <a:lnTo>
                    <a:pt x="211" y="477"/>
                  </a:lnTo>
                  <a:lnTo>
                    <a:pt x="209" y="476"/>
                  </a:lnTo>
                  <a:lnTo>
                    <a:pt x="205" y="475"/>
                  </a:lnTo>
                  <a:lnTo>
                    <a:pt x="200" y="473"/>
                  </a:lnTo>
                  <a:lnTo>
                    <a:pt x="197" y="472"/>
                  </a:lnTo>
                  <a:lnTo>
                    <a:pt x="196" y="472"/>
                  </a:lnTo>
                  <a:lnTo>
                    <a:pt x="195" y="472"/>
                  </a:lnTo>
                  <a:lnTo>
                    <a:pt x="193" y="472"/>
                  </a:lnTo>
                  <a:lnTo>
                    <a:pt x="190" y="472"/>
                  </a:lnTo>
                  <a:lnTo>
                    <a:pt x="188" y="472"/>
                  </a:lnTo>
                  <a:lnTo>
                    <a:pt x="187" y="471"/>
                  </a:lnTo>
                  <a:lnTo>
                    <a:pt x="183" y="471"/>
                  </a:lnTo>
                  <a:lnTo>
                    <a:pt x="181" y="471"/>
                  </a:lnTo>
                  <a:lnTo>
                    <a:pt x="179" y="470"/>
                  </a:lnTo>
                  <a:lnTo>
                    <a:pt x="178" y="470"/>
                  </a:lnTo>
                  <a:lnTo>
                    <a:pt x="177" y="470"/>
                  </a:lnTo>
                  <a:lnTo>
                    <a:pt x="173" y="471"/>
                  </a:lnTo>
                  <a:lnTo>
                    <a:pt x="172" y="471"/>
                  </a:lnTo>
                  <a:lnTo>
                    <a:pt x="171" y="471"/>
                  </a:lnTo>
                  <a:lnTo>
                    <a:pt x="170" y="471"/>
                  </a:lnTo>
                  <a:lnTo>
                    <a:pt x="169" y="471"/>
                  </a:lnTo>
                  <a:lnTo>
                    <a:pt x="168" y="471"/>
                  </a:lnTo>
                  <a:lnTo>
                    <a:pt x="168" y="471"/>
                  </a:lnTo>
                  <a:lnTo>
                    <a:pt x="165" y="470"/>
                  </a:lnTo>
                  <a:lnTo>
                    <a:pt x="164" y="469"/>
                  </a:lnTo>
                  <a:lnTo>
                    <a:pt x="163" y="469"/>
                  </a:lnTo>
                  <a:lnTo>
                    <a:pt x="160" y="468"/>
                  </a:lnTo>
                  <a:lnTo>
                    <a:pt x="159" y="468"/>
                  </a:lnTo>
                  <a:lnTo>
                    <a:pt x="158" y="467"/>
                  </a:lnTo>
                  <a:lnTo>
                    <a:pt x="158" y="467"/>
                  </a:lnTo>
                  <a:lnTo>
                    <a:pt x="156" y="466"/>
                  </a:lnTo>
                  <a:lnTo>
                    <a:pt x="154" y="464"/>
                  </a:lnTo>
                  <a:lnTo>
                    <a:pt x="154" y="464"/>
                  </a:lnTo>
                  <a:lnTo>
                    <a:pt x="153" y="463"/>
                  </a:lnTo>
                  <a:lnTo>
                    <a:pt x="152" y="462"/>
                  </a:lnTo>
                  <a:lnTo>
                    <a:pt x="152" y="461"/>
                  </a:lnTo>
                  <a:lnTo>
                    <a:pt x="151" y="461"/>
                  </a:lnTo>
                  <a:lnTo>
                    <a:pt x="151" y="460"/>
                  </a:lnTo>
                  <a:lnTo>
                    <a:pt x="150" y="457"/>
                  </a:lnTo>
                  <a:lnTo>
                    <a:pt x="149" y="457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8" y="455"/>
                  </a:lnTo>
                  <a:lnTo>
                    <a:pt x="147" y="454"/>
                  </a:lnTo>
                  <a:lnTo>
                    <a:pt x="146" y="454"/>
                  </a:lnTo>
                  <a:lnTo>
                    <a:pt x="145" y="453"/>
                  </a:lnTo>
                  <a:lnTo>
                    <a:pt x="145" y="452"/>
                  </a:lnTo>
                  <a:lnTo>
                    <a:pt x="144" y="451"/>
                  </a:lnTo>
                  <a:lnTo>
                    <a:pt x="144" y="451"/>
                  </a:lnTo>
                  <a:lnTo>
                    <a:pt x="144" y="450"/>
                  </a:lnTo>
                  <a:lnTo>
                    <a:pt x="144" y="449"/>
                  </a:lnTo>
                  <a:lnTo>
                    <a:pt x="144" y="449"/>
                  </a:lnTo>
                  <a:lnTo>
                    <a:pt x="144" y="448"/>
                  </a:lnTo>
                  <a:lnTo>
                    <a:pt x="144" y="448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5" y="446"/>
                  </a:lnTo>
                  <a:lnTo>
                    <a:pt x="145" y="445"/>
                  </a:lnTo>
                  <a:lnTo>
                    <a:pt x="146" y="445"/>
                  </a:lnTo>
                  <a:lnTo>
                    <a:pt x="147" y="444"/>
                  </a:lnTo>
                  <a:lnTo>
                    <a:pt x="148" y="443"/>
                  </a:lnTo>
                  <a:lnTo>
                    <a:pt x="149" y="443"/>
                  </a:lnTo>
                  <a:lnTo>
                    <a:pt x="151" y="442"/>
                  </a:lnTo>
                  <a:lnTo>
                    <a:pt x="152" y="442"/>
                  </a:lnTo>
                  <a:lnTo>
                    <a:pt x="152" y="441"/>
                  </a:lnTo>
                  <a:lnTo>
                    <a:pt x="153" y="441"/>
                  </a:lnTo>
                  <a:lnTo>
                    <a:pt x="153" y="440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4" y="438"/>
                  </a:lnTo>
                  <a:lnTo>
                    <a:pt x="154" y="438"/>
                  </a:lnTo>
                  <a:lnTo>
                    <a:pt x="154" y="437"/>
                  </a:lnTo>
                  <a:lnTo>
                    <a:pt x="154" y="436"/>
                  </a:lnTo>
                  <a:lnTo>
                    <a:pt x="154" y="435"/>
                  </a:lnTo>
                  <a:lnTo>
                    <a:pt x="153" y="434"/>
                  </a:lnTo>
                  <a:lnTo>
                    <a:pt x="153" y="434"/>
                  </a:lnTo>
                  <a:lnTo>
                    <a:pt x="152" y="433"/>
                  </a:lnTo>
                  <a:lnTo>
                    <a:pt x="152" y="433"/>
                  </a:lnTo>
                  <a:lnTo>
                    <a:pt x="149" y="431"/>
                  </a:lnTo>
                  <a:lnTo>
                    <a:pt x="148" y="430"/>
                  </a:lnTo>
                  <a:lnTo>
                    <a:pt x="147" y="429"/>
                  </a:lnTo>
                  <a:lnTo>
                    <a:pt x="146" y="428"/>
                  </a:lnTo>
                  <a:lnTo>
                    <a:pt x="144" y="425"/>
                  </a:lnTo>
                  <a:lnTo>
                    <a:pt x="143" y="424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39" y="420"/>
                  </a:lnTo>
                  <a:lnTo>
                    <a:pt x="139" y="419"/>
                  </a:lnTo>
                  <a:lnTo>
                    <a:pt x="138" y="419"/>
                  </a:lnTo>
                  <a:lnTo>
                    <a:pt x="137" y="418"/>
                  </a:lnTo>
                  <a:lnTo>
                    <a:pt x="136" y="418"/>
                  </a:lnTo>
                  <a:lnTo>
                    <a:pt x="136" y="418"/>
                  </a:lnTo>
                  <a:lnTo>
                    <a:pt x="134" y="417"/>
                  </a:lnTo>
                  <a:lnTo>
                    <a:pt x="131" y="416"/>
                  </a:lnTo>
                  <a:lnTo>
                    <a:pt x="129" y="415"/>
                  </a:lnTo>
                  <a:lnTo>
                    <a:pt x="128" y="414"/>
                  </a:lnTo>
                  <a:lnTo>
                    <a:pt x="126" y="414"/>
                  </a:lnTo>
                  <a:lnTo>
                    <a:pt x="125" y="414"/>
                  </a:lnTo>
                  <a:lnTo>
                    <a:pt x="125" y="413"/>
                  </a:lnTo>
                  <a:lnTo>
                    <a:pt x="121" y="410"/>
                  </a:lnTo>
                  <a:lnTo>
                    <a:pt x="120" y="410"/>
                  </a:lnTo>
                  <a:lnTo>
                    <a:pt x="119" y="409"/>
                  </a:lnTo>
                  <a:lnTo>
                    <a:pt x="118" y="408"/>
                  </a:lnTo>
                  <a:lnTo>
                    <a:pt x="117" y="407"/>
                  </a:lnTo>
                  <a:lnTo>
                    <a:pt x="116" y="405"/>
                  </a:lnTo>
                  <a:lnTo>
                    <a:pt x="111" y="401"/>
                  </a:lnTo>
                  <a:lnTo>
                    <a:pt x="110" y="399"/>
                  </a:lnTo>
                  <a:lnTo>
                    <a:pt x="108" y="398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4" y="394"/>
                  </a:lnTo>
                  <a:lnTo>
                    <a:pt x="103" y="393"/>
                  </a:lnTo>
                  <a:lnTo>
                    <a:pt x="101" y="392"/>
                  </a:lnTo>
                  <a:lnTo>
                    <a:pt x="100" y="391"/>
                  </a:lnTo>
                  <a:lnTo>
                    <a:pt x="99" y="390"/>
                  </a:lnTo>
                  <a:lnTo>
                    <a:pt x="97" y="390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88" y="387"/>
                  </a:lnTo>
                  <a:lnTo>
                    <a:pt x="86" y="386"/>
                  </a:lnTo>
                  <a:lnTo>
                    <a:pt x="85" y="386"/>
                  </a:lnTo>
                  <a:lnTo>
                    <a:pt x="84" y="385"/>
                  </a:lnTo>
                  <a:lnTo>
                    <a:pt x="83" y="385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1" y="383"/>
                  </a:lnTo>
                  <a:lnTo>
                    <a:pt x="81" y="383"/>
                  </a:lnTo>
                  <a:lnTo>
                    <a:pt x="81" y="382"/>
                  </a:lnTo>
                  <a:lnTo>
                    <a:pt x="80" y="380"/>
                  </a:lnTo>
                  <a:lnTo>
                    <a:pt x="80" y="379"/>
                  </a:lnTo>
                  <a:lnTo>
                    <a:pt x="80" y="376"/>
                  </a:lnTo>
                  <a:lnTo>
                    <a:pt x="79" y="375"/>
                  </a:lnTo>
                  <a:lnTo>
                    <a:pt x="79" y="374"/>
                  </a:lnTo>
                  <a:lnTo>
                    <a:pt x="79" y="373"/>
                  </a:lnTo>
                  <a:lnTo>
                    <a:pt x="78" y="371"/>
                  </a:lnTo>
                  <a:lnTo>
                    <a:pt x="76" y="366"/>
                  </a:lnTo>
                  <a:lnTo>
                    <a:pt x="75" y="365"/>
                  </a:lnTo>
                  <a:lnTo>
                    <a:pt x="75" y="364"/>
                  </a:lnTo>
                  <a:lnTo>
                    <a:pt x="74" y="362"/>
                  </a:lnTo>
                  <a:lnTo>
                    <a:pt x="73" y="362"/>
                  </a:lnTo>
                  <a:lnTo>
                    <a:pt x="73" y="361"/>
                  </a:lnTo>
                  <a:lnTo>
                    <a:pt x="72" y="361"/>
                  </a:lnTo>
                  <a:lnTo>
                    <a:pt x="72" y="360"/>
                  </a:lnTo>
                  <a:lnTo>
                    <a:pt x="70" y="359"/>
                  </a:lnTo>
                  <a:lnTo>
                    <a:pt x="69" y="358"/>
                  </a:lnTo>
                  <a:lnTo>
                    <a:pt x="68" y="357"/>
                  </a:lnTo>
                  <a:lnTo>
                    <a:pt x="68" y="357"/>
                  </a:lnTo>
                  <a:lnTo>
                    <a:pt x="67" y="356"/>
                  </a:lnTo>
                  <a:lnTo>
                    <a:pt x="67" y="355"/>
                  </a:lnTo>
                  <a:lnTo>
                    <a:pt x="66" y="355"/>
                  </a:lnTo>
                  <a:lnTo>
                    <a:pt x="66" y="353"/>
                  </a:lnTo>
                  <a:lnTo>
                    <a:pt x="65" y="352"/>
                  </a:lnTo>
                  <a:lnTo>
                    <a:pt x="65" y="351"/>
                  </a:lnTo>
                  <a:lnTo>
                    <a:pt x="63" y="347"/>
                  </a:lnTo>
                  <a:lnTo>
                    <a:pt x="62" y="343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0" y="339"/>
                  </a:lnTo>
                  <a:lnTo>
                    <a:pt x="59" y="338"/>
                  </a:lnTo>
                  <a:lnTo>
                    <a:pt x="58" y="337"/>
                  </a:lnTo>
                  <a:lnTo>
                    <a:pt x="58" y="336"/>
                  </a:lnTo>
                  <a:lnTo>
                    <a:pt x="57" y="336"/>
                  </a:lnTo>
                  <a:lnTo>
                    <a:pt x="57" y="336"/>
                  </a:lnTo>
                  <a:lnTo>
                    <a:pt x="56" y="336"/>
                  </a:lnTo>
                  <a:lnTo>
                    <a:pt x="55" y="336"/>
                  </a:lnTo>
                  <a:lnTo>
                    <a:pt x="52" y="336"/>
                  </a:lnTo>
                  <a:lnTo>
                    <a:pt x="51" y="336"/>
                  </a:lnTo>
                  <a:lnTo>
                    <a:pt x="49" y="336"/>
                  </a:lnTo>
                  <a:lnTo>
                    <a:pt x="46" y="336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3" y="336"/>
                  </a:lnTo>
                  <a:lnTo>
                    <a:pt x="42" y="335"/>
                  </a:lnTo>
                  <a:lnTo>
                    <a:pt x="41" y="335"/>
                  </a:lnTo>
                  <a:lnTo>
                    <a:pt x="40" y="335"/>
                  </a:lnTo>
                  <a:lnTo>
                    <a:pt x="40" y="334"/>
                  </a:lnTo>
                  <a:lnTo>
                    <a:pt x="39" y="334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4" y="329"/>
                  </a:lnTo>
                  <a:lnTo>
                    <a:pt x="34" y="328"/>
                  </a:lnTo>
                  <a:lnTo>
                    <a:pt x="33" y="326"/>
                  </a:lnTo>
                  <a:lnTo>
                    <a:pt x="32" y="324"/>
                  </a:lnTo>
                  <a:lnTo>
                    <a:pt x="30" y="321"/>
                  </a:lnTo>
                  <a:lnTo>
                    <a:pt x="29" y="318"/>
                  </a:lnTo>
                  <a:lnTo>
                    <a:pt x="28" y="315"/>
                  </a:lnTo>
                  <a:lnTo>
                    <a:pt x="26" y="311"/>
                  </a:lnTo>
                  <a:lnTo>
                    <a:pt x="25" y="308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2" y="306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19" y="305"/>
                  </a:lnTo>
                  <a:lnTo>
                    <a:pt x="18" y="305"/>
                  </a:lnTo>
                  <a:lnTo>
                    <a:pt x="17" y="304"/>
                  </a:lnTo>
                  <a:lnTo>
                    <a:pt x="16" y="303"/>
                  </a:lnTo>
                  <a:lnTo>
                    <a:pt x="16" y="302"/>
                  </a:lnTo>
                  <a:lnTo>
                    <a:pt x="14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8"/>
                  </a:lnTo>
                  <a:lnTo>
                    <a:pt x="12" y="297"/>
                  </a:lnTo>
                  <a:lnTo>
                    <a:pt x="11" y="297"/>
                  </a:lnTo>
                  <a:lnTo>
                    <a:pt x="10" y="296"/>
                  </a:lnTo>
                  <a:lnTo>
                    <a:pt x="9" y="296"/>
                  </a:lnTo>
                  <a:lnTo>
                    <a:pt x="9" y="296"/>
                  </a:lnTo>
                  <a:lnTo>
                    <a:pt x="8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4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0"/>
                  </a:lnTo>
                  <a:lnTo>
                    <a:pt x="0" y="289"/>
                  </a:lnTo>
                  <a:lnTo>
                    <a:pt x="0" y="288"/>
                  </a:lnTo>
                  <a:lnTo>
                    <a:pt x="0" y="287"/>
                  </a:lnTo>
                  <a:lnTo>
                    <a:pt x="0" y="286"/>
                  </a:lnTo>
                  <a:lnTo>
                    <a:pt x="0" y="285"/>
                  </a:lnTo>
                  <a:lnTo>
                    <a:pt x="0" y="284"/>
                  </a:lnTo>
                  <a:lnTo>
                    <a:pt x="0" y="282"/>
                  </a:lnTo>
                  <a:lnTo>
                    <a:pt x="0" y="281"/>
                  </a:lnTo>
                  <a:lnTo>
                    <a:pt x="0" y="279"/>
                  </a:lnTo>
                  <a:lnTo>
                    <a:pt x="0" y="278"/>
                  </a:lnTo>
                  <a:lnTo>
                    <a:pt x="1" y="276"/>
                  </a:lnTo>
                  <a:lnTo>
                    <a:pt x="1" y="274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2" y="270"/>
                  </a:lnTo>
                  <a:lnTo>
                    <a:pt x="3" y="269"/>
                  </a:lnTo>
                  <a:lnTo>
                    <a:pt x="4" y="266"/>
                  </a:lnTo>
                  <a:lnTo>
                    <a:pt x="5" y="264"/>
                  </a:lnTo>
                  <a:lnTo>
                    <a:pt x="6" y="263"/>
                  </a:lnTo>
                  <a:lnTo>
                    <a:pt x="7" y="262"/>
                  </a:lnTo>
                  <a:lnTo>
                    <a:pt x="8" y="261"/>
                  </a:lnTo>
                  <a:lnTo>
                    <a:pt x="8" y="261"/>
                  </a:lnTo>
                  <a:lnTo>
                    <a:pt x="9" y="260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9"/>
                  </a:lnTo>
                  <a:lnTo>
                    <a:pt x="13" y="258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6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8" y="253"/>
                  </a:lnTo>
                  <a:lnTo>
                    <a:pt x="18" y="253"/>
                  </a:lnTo>
                  <a:lnTo>
                    <a:pt x="18" y="252"/>
                  </a:lnTo>
                  <a:lnTo>
                    <a:pt x="18" y="251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8" y="248"/>
                  </a:lnTo>
                  <a:lnTo>
                    <a:pt x="18" y="246"/>
                  </a:lnTo>
                  <a:lnTo>
                    <a:pt x="17" y="242"/>
                  </a:lnTo>
                  <a:lnTo>
                    <a:pt x="17" y="241"/>
                  </a:lnTo>
                  <a:lnTo>
                    <a:pt x="17" y="239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4"/>
                  </a:lnTo>
                  <a:lnTo>
                    <a:pt x="15" y="233"/>
                  </a:lnTo>
                  <a:lnTo>
                    <a:pt x="15" y="233"/>
                  </a:lnTo>
                  <a:lnTo>
                    <a:pt x="15" y="232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8" y="215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5" y="215"/>
                  </a:lnTo>
                  <a:lnTo>
                    <a:pt x="26" y="215"/>
                  </a:lnTo>
                  <a:lnTo>
                    <a:pt x="27" y="215"/>
                  </a:lnTo>
                  <a:lnTo>
                    <a:pt x="28" y="215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30" y="214"/>
                  </a:lnTo>
                  <a:lnTo>
                    <a:pt x="31" y="214"/>
                  </a:lnTo>
                  <a:lnTo>
                    <a:pt x="32" y="213"/>
                  </a:lnTo>
                  <a:lnTo>
                    <a:pt x="33" y="212"/>
                  </a:lnTo>
                  <a:lnTo>
                    <a:pt x="35" y="211"/>
                  </a:lnTo>
                  <a:lnTo>
                    <a:pt x="38" y="209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7" y="201"/>
                  </a:lnTo>
                  <a:lnTo>
                    <a:pt x="48" y="198"/>
                  </a:lnTo>
                  <a:lnTo>
                    <a:pt x="48" y="197"/>
                  </a:lnTo>
                  <a:lnTo>
                    <a:pt x="49" y="196"/>
                  </a:lnTo>
                  <a:lnTo>
                    <a:pt x="49" y="195"/>
                  </a:lnTo>
                  <a:lnTo>
                    <a:pt x="50" y="194"/>
                  </a:lnTo>
                  <a:lnTo>
                    <a:pt x="51" y="193"/>
                  </a:lnTo>
                  <a:lnTo>
                    <a:pt x="52" y="192"/>
                  </a:lnTo>
                  <a:lnTo>
                    <a:pt x="53" y="191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3" y="188"/>
                  </a:lnTo>
                  <a:lnTo>
                    <a:pt x="53" y="187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49" y="179"/>
                  </a:lnTo>
                  <a:lnTo>
                    <a:pt x="48" y="178"/>
                  </a:lnTo>
                  <a:lnTo>
                    <a:pt x="48" y="177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2"/>
                  </a:lnTo>
                  <a:lnTo>
                    <a:pt x="51" y="171"/>
                  </a:lnTo>
                  <a:lnTo>
                    <a:pt x="52" y="169"/>
                  </a:lnTo>
                  <a:lnTo>
                    <a:pt x="53" y="169"/>
                  </a:lnTo>
                  <a:lnTo>
                    <a:pt x="53" y="168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6"/>
                  </a:lnTo>
                  <a:lnTo>
                    <a:pt x="57" y="166"/>
                  </a:lnTo>
                  <a:lnTo>
                    <a:pt x="57" y="165"/>
                  </a:lnTo>
                  <a:lnTo>
                    <a:pt x="57" y="164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5" y="161"/>
                  </a:lnTo>
                  <a:lnTo>
                    <a:pt x="54" y="161"/>
                  </a:lnTo>
                  <a:lnTo>
                    <a:pt x="54" y="160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8"/>
                  </a:lnTo>
                  <a:lnTo>
                    <a:pt x="52" y="158"/>
                  </a:lnTo>
                  <a:lnTo>
                    <a:pt x="52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3" y="154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4" y="153"/>
                  </a:lnTo>
                  <a:lnTo>
                    <a:pt x="56" y="152"/>
                  </a:lnTo>
                  <a:lnTo>
                    <a:pt x="56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50"/>
                  </a:lnTo>
                  <a:lnTo>
                    <a:pt x="58" y="150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6"/>
                  </a:lnTo>
                  <a:lnTo>
                    <a:pt x="58" y="145"/>
                  </a:lnTo>
                  <a:lnTo>
                    <a:pt x="58" y="144"/>
                  </a:lnTo>
                  <a:lnTo>
                    <a:pt x="58" y="143"/>
                  </a:lnTo>
                  <a:lnTo>
                    <a:pt x="58" y="142"/>
                  </a:lnTo>
                  <a:lnTo>
                    <a:pt x="59" y="141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60" y="138"/>
                  </a:lnTo>
                  <a:lnTo>
                    <a:pt x="62" y="136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6" y="133"/>
                  </a:lnTo>
                  <a:lnTo>
                    <a:pt x="69" y="131"/>
                  </a:lnTo>
                  <a:lnTo>
                    <a:pt x="69" y="130"/>
                  </a:lnTo>
                  <a:lnTo>
                    <a:pt x="70" y="130"/>
                  </a:lnTo>
                  <a:lnTo>
                    <a:pt x="70" y="129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2" y="124"/>
                  </a:lnTo>
                  <a:lnTo>
                    <a:pt x="73" y="122"/>
                  </a:lnTo>
                  <a:lnTo>
                    <a:pt x="74" y="121"/>
                  </a:lnTo>
                  <a:lnTo>
                    <a:pt x="75" y="119"/>
                  </a:lnTo>
                  <a:lnTo>
                    <a:pt x="76" y="118"/>
                  </a:lnTo>
                  <a:lnTo>
                    <a:pt x="76" y="117"/>
                  </a:lnTo>
                  <a:lnTo>
                    <a:pt x="76" y="116"/>
                  </a:lnTo>
                  <a:lnTo>
                    <a:pt x="77" y="114"/>
                  </a:lnTo>
                  <a:lnTo>
                    <a:pt x="77" y="113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7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4" y="107"/>
                  </a:lnTo>
                  <a:lnTo>
                    <a:pt x="74" y="106"/>
                  </a:lnTo>
                  <a:lnTo>
                    <a:pt x="73" y="105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1" y="99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0" y="95"/>
                  </a:lnTo>
                  <a:lnTo>
                    <a:pt x="70" y="93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2" y="87"/>
                  </a:lnTo>
                  <a:lnTo>
                    <a:pt x="72" y="86"/>
                  </a:lnTo>
                  <a:lnTo>
                    <a:pt x="73" y="84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4" y="75"/>
                  </a:lnTo>
                  <a:lnTo>
                    <a:pt x="73" y="73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7" y="44"/>
                  </a:lnTo>
                  <a:lnTo>
                    <a:pt x="80" y="43"/>
                  </a:lnTo>
                  <a:lnTo>
                    <a:pt x="83" y="42"/>
                  </a:lnTo>
                  <a:lnTo>
                    <a:pt x="85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6" y="44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3" y="47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6" y="48"/>
                  </a:lnTo>
                  <a:lnTo>
                    <a:pt x="117" y="49"/>
                  </a:lnTo>
                  <a:lnTo>
                    <a:pt x="118" y="49"/>
                  </a:lnTo>
                  <a:lnTo>
                    <a:pt x="119" y="49"/>
                  </a:lnTo>
                  <a:lnTo>
                    <a:pt x="120" y="49"/>
                  </a:lnTo>
                  <a:lnTo>
                    <a:pt x="121" y="49"/>
                  </a:lnTo>
                  <a:lnTo>
                    <a:pt x="122" y="48"/>
                  </a:lnTo>
                  <a:lnTo>
                    <a:pt x="123" y="48"/>
                  </a:lnTo>
                  <a:lnTo>
                    <a:pt x="123" y="47"/>
                  </a:lnTo>
                  <a:lnTo>
                    <a:pt x="125" y="46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5" y="43"/>
                  </a:lnTo>
                  <a:lnTo>
                    <a:pt x="136" y="43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8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5" y="35"/>
                  </a:lnTo>
                  <a:lnTo>
                    <a:pt x="146" y="33"/>
                  </a:lnTo>
                  <a:lnTo>
                    <a:pt x="147" y="31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9" y="28"/>
                  </a:lnTo>
                  <a:lnTo>
                    <a:pt x="150" y="28"/>
                  </a:lnTo>
                  <a:lnTo>
                    <a:pt x="153" y="26"/>
                  </a:lnTo>
                  <a:lnTo>
                    <a:pt x="156" y="25"/>
                  </a:lnTo>
                  <a:lnTo>
                    <a:pt x="157" y="24"/>
                  </a:lnTo>
                  <a:lnTo>
                    <a:pt x="158" y="24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3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14C94EAA-88AD-D5CB-1403-69C1DDF9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533"/>
              <a:ext cx="462" cy="417"/>
            </a:xfrm>
            <a:custGeom>
              <a:avLst/>
              <a:gdLst>
                <a:gd name="T0" fmla="*/ 4 w 462"/>
                <a:gd name="T1" fmla="*/ 37 h 417"/>
                <a:gd name="T2" fmla="*/ 26 w 462"/>
                <a:gd name="T3" fmla="*/ 36 h 417"/>
                <a:gd name="T4" fmla="*/ 49 w 462"/>
                <a:gd name="T5" fmla="*/ 26 h 417"/>
                <a:gd name="T6" fmla="*/ 68 w 462"/>
                <a:gd name="T7" fmla="*/ 26 h 417"/>
                <a:gd name="T8" fmla="*/ 80 w 462"/>
                <a:gd name="T9" fmla="*/ 37 h 417"/>
                <a:gd name="T10" fmla="*/ 96 w 462"/>
                <a:gd name="T11" fmla="*/ 35 h 417"/>
                <a:gd name="T12" fmla="*/ 103 w 462"/>
                <a:gd name="T13" fmla="*/ 28 h 417"/>
                <a:gd name="T14" fmla="*/ 121 w 462"/>
                <a:gd name="T15" fmla="*/ 36 h 417"/>
                <a:gd name="T16" fmla="*/ 137 w 462"/>
                <a:gd name="T17" fmla="*/ 36 h 417"/>
                <a:gd name="T18" fmla="*/ 157 w 462"/>
                <a:gd name="T19" fmla="*/ 36 h 417"/>
                <a:gd name="T20" fmla="*/ 167 w 462"/>
                <a:gd name="T21" fmla="*/ 45 h 417"/>
                <a:gd name="T22" fmla="*/ 180 w 462"/>
                <a:gd name="T23" fmla="*/ 43 h 417"/>
                <a:gd name="T24" fmla="*/ 201 w 462"/>
                <a:gd name="T25" fmla="*/ 29 h 417"/>
                <a:gd name="T26" fmla="*/ 201 w 462"/>
                <a:gd name="T27" fmla="*/ 10 h 417"/>
                <a:gd name="T28" fmla="*/ 213 w 462"/>
                <a:gd name="T29" fmla="*/ 1 h 417"/>
                <a:gd name="T30" fmla="*/ 235 w 462"/>
                <a:gd name="T31" fmla="*/ 15 h 417"/>
                <a:gd name="T32" fmla="*/ 245 w 462"/>
                <a:gd name="T33" fmla="*/ 18 h 417"/>
                <a:gd name="T34" fmla="*/ 259 w 462"/>
                <a:gd name="T35" fmla="*/ 31 h 417"/>
                <a:gd name="T36" fmla="*/ 260 w 462"/>
                <a:gd name="T37" fmla="*/ 42 h 417"/>
                <a:gd name="T38" fmla="*/ 258 w 462"/>
                <a:gd name="T39" fmla="*/ 53 h 417"/>
                <a:gd name="T40" fmla="*/ 257 w 462"/>
                <a:gd name="T41" fmla="*/ 77 h 417"/>
                <a:gd name="T42" fmla="*/ 250 w 462"/>
                <a:gd name="T43" fmla="*/ 103 h 417"/>
                <a:gd name="T44" fmla="*/ 259 w 462"/>
                <a:gd name="T45" fmla="*/ 119 h 417"/>
                <a:gd name="T46" fmla="*/ 255 w 462"/>
                <a:gd name="T47" fmla="*/ 132 h 417"/>
                <a:gd name="T48" fmla="*/ 277 w 462"/>
                <a:gd name="T49" fmla="*/ 155 h 417"/>
                <a:gd name="T50" fmla="*/ 296 w 462"/>
                <a:gd name="T51" fmla="*/ 154 h 417"/>
                <a:gd name="T52" fmla="*/ 311 w 462"/>
                <a:gd name="T53" fmla="*/ 164 h 417"/>
                <a:gd name="T54" fmla="*/ 311 w 462"/>
                <a:gd name="T55" fmla="*/ 171 h 417"/>
                <a:gd name="T56" fmla="*/ 327 w 462"/>
                <a:gd name="T57" fmla="*/ 181 h 417"/>
                <a:gd name="T58" fmla="*/ 348 w 462"/>
                <a:gd name="T59" fmla="*/ 180 h 417"/>
                <a:gd name="T60" fmla="*/ 371 w 462"/>
                <a:gd name="T61" fmla="*/ 185 h 417"/>
                <a:gd name="T62" fmla="*/ 386 w 462"/>
                <a:gd name="T63" fmla="*/ 192 h 417"/>
                <a:gd name="T64" fmla="*/ 391 w 462"/>
                <a:gd name="T65" fmla="*/ 214 h 417"/>
                <a:gd name="T66" fmla="*/ 415 w 462"/>
                <a:gd name="T67" fmla="*/ 225 h 417"/>
                <a:gd name="T68" fmla="*/ 440 w 462"/>
                <a:gd name="T69" fmla="*/ 225 h 417"/>
                <a:gd name="T70" fmla="*/ 452 w 462"/>
                <a:gd name="T71" fmla="*/ 226 h 417"/>
                <a:gd name="T72" fmla="*/ 459 w 462"/>
                <a:gd name="T73" fmla="*/ 237 h 417"/>
                <a:gd name="T74" fmla="*/ 456 w 462"/>
                <a:gd name="T75" fmla="*/ 250 h 417"/>
                <a:gd name="T76" fmla="*/ 446 w 462"/>
                <a:gd name="T77" fmla="*/ 264 h 417"/>
                <a:gd name="T78" fmla="*/ 432 w 462"/>
                <a:gd name="T79" fmla="*/ 284 h 417"/>
                <a:gd name="T80" fmla="*/ 441 w 462"/>
                <a:gd name="T81" fmla="*/ 289 h 417"/>
                <a:gd name="T82" fmla="*/ 458 w 462"/>
                <a:gd name="T83" fmla="*/ 303 h 417"/>
                <a:gd name="T84" fmla="*/ 455 w 462"/>
                <a:gd name="T85" fmla="*/ 313 h 417"/>
                <a:gd name="T86" fmla="*/ 449 w 462"/>
                <a:gd name="T87" fmla="*/ 320 h 417"/>
                <a:gd name="T88" fmla="*/ 431 w 462"/>
                <a:gd name="T89" fmla="*/ 312 h 417"/>
                <a:gd name="T90" fmla="*/ 407 w 462"/>
                <a:gd name="T91" fmla="*/ 302 h 417"/>
                <a:gd name="T92" fmla="*/ 375 w 462"/>
                <a:gd name="T93" fmla="*/ 292 h 417"/>
                <a:gd name="T94" fmla="*/ 364 w 462"/>
                <a:gd name="T95" fmla="*/ 298 h 417"/>
                <a:gd name="T96" fmla="*/ 341 w 462"/>
                <a:gd name="T97" fmla="*/ 308 h 417"/>
                <a:gd name="T98" fmla="*/ 331 w 462"/>
                <a:gd name="T99" fmla="*/ 306 h 417"/>
                <a:gd name="T100" fmla="*/ 323 w 462"/>
                <a:gd name="T101" fmla="*/ 286 h 417"/>
                <a:gd name="T102" fmla="*/ 300 w 462"/>
                <a:gd name="T103" fmla="*/ 280 h 417"/>
                <a:gd name="T104" fmla="*/ 282 w 462"/>
                <a:gd name="T105" fmla="*/ 279 h 417"/>
                <a:gd name="T106" fmla="*/ 275 w 462"/>
                <a:gd name="T107" fmla="*/ 298 h 417"/>
                <a:gd name="T108" fmla="*/ 276 w 462"/>
                <a:gd name="T109" fmla="*/ 340 h 417"/>
                <a:gd name="T110" fmla="*/ 270 w 462"/>
                <a:gd name="T111" fmla="*/ 370 h 417"/>
                <a:gd name="T112" fmla="*/ 273 w 462"/>
                <a:gd name="T113" fmla="*/ 390 h 417"/>
                <a:gd name="T114" fmla="*/ 247 w 462"/>
                <a:gd name="T115" fmla="*/ 389 h 417"/>
                <a:gd name="T116" fmla="*/ 225 w 462"/>
                <a:gd name="T117" fmla="*/ 388 h 417"/>
                <a:gd name="T118" fmla="*/ 215 w 462"/>
                <a:gd name="T119" fmla="*/ 414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2" h="417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9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34" y="36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0" y="25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8" y="26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4" y="31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7" y="34"/>
                  </a:lnTo>
                  <a:lnTo>
                    <a:pt x="98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2"/>
                  </a:lnTo>
                  <a:lnTo>
                    <a:pt x="103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6" y="28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3" y="35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4" y="37"/>
                  </a:lnTo>
                  <a:lnTo>
                    <a:pt x="145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49" y="37"/>
                  </a:lnTo>
                  <a:lnTo>
                    <a:pt x="151" y="36"/>
                  </a:lnTo>
                  <a:lnTo>
                    <a:pt x="152" y="36"/>
                  </a:lnTo>
                  <a:lnTo>
                    <a:pt x="154" y="36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7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8" y="42"/>
                  </a:lnTo>
                  <a:lnTo>
                    <a:pt x="158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61" y="43"/>
                  </a:lnTo>
                  <a:lnTo>
                    <a:pt x="163" y="44"/>
                  </a:lnTo>
                  <a:lnTo>
                    <a:pt x="164" y="44"/>
                  </a:lnTo>
                  <a:lnTo>
                    <a:pt x="166" y="44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6"/>
                  </a:lnTo>
                  <a:lnTo>
                    <a:pt x="171" y="46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7" y="47"/>
                  </a:lnTo>
                  <a:lnTo>
                    <a:pt x="178" y="45"/>
                  </a:lnTo>
                  <a:lnTo>
                    <a:pt x="179" y="44"/>
                  </a:lnTo>
                  <a:lnTo>
                    <a:pt x="180" y="43"/>
                  </a:lnTo>
                  <a:lnTo>
                    <a:pt x="181" y="41"/>
                  </a:lnTo>
                  <a:lnTo>
                    <a:pt x="182" y="40"/>
                  </a:lnTo>
                  <a:lnTo>
                    <a:pt x="185" y="38"/>
                  </a:lnTo>
                  <a:lnTo>
                    <a:pt x="187" y="36"/>
                  </a:lnTo>
                  <a:lnTo>
                    <a:pt x="189" y="35"/>
                  </a:lnTo>
                  <a:lnTo>
                    <a:pt x="190" y="34"/>
                  </a:lnTo>
                  <a:lnTo>
                    <a:pt x="191" y="34"/>
                  </a:lnTo>
                  <a:lnTo>
                    <a:pt x="192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2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1" y="29"/>
                  </a:lnTo>
                  <a:lnTo>
                    <a:pt x="201" y="28"/>
                  </a:lnTo>
                  <a:lnTo>
                    <a:pt x="201" y="28"/>
                  </a:lnTo>
                  <a:lnTo>
                    <a:pt x="201" y="27"/>
                  </a:lnTo>
                  <a:lnTo>
                    <a:pt x="200" y="25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9" y="20"/>
                  </a:lnTo>
                  <a:lnTo>
                    <a:pt x="199" y="20"/>
                  </a:lnTo>
                  <a:lnTo>
                    <a:pt x="199" y="18"/>
                  </a:lnTo>
                  <a:lnTo>
                    <a:pt x="199" y="17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200" y="13"/>
                  </a:lnTo>
                  <a:lnTo>
                    <a:pt x="200" y="11"/>
                  </a:lnTo>
                  <a:lnTo>
                    <a:pt x="200" y="11"/>
                  </a:lnTo>
                  <a:lnTo>
                    <a:pt x="200" y="10"/>
                  </a:lnTo>
                  <a:lnTo>
                    <a:pt x="201" y="10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3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5" y="4"/>
                  </a:lnTo>
                  <a:lnTo>
                    <a:pt x="206" y="3"/>
                  </a:lnTo>
                  <a:lnTo>
                    <a:pt x="208" y="2"/>
                  </a:lnTo>
                  <a:lnTo>
                    <a:pt x="210" y="1"/>
                  </a:lnTo>
                  <a:lnTo>
                    <a:pt x="210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1"/>
                  </a:lnTo>
                  <a:lnTo>
                    <a:pt x="214" y="1"/>
                  </a:lnTo>
                  <a:lnTo>
                    <a:pt x="216" y="3"/>
                  </a:lnTo>
                  <a:lnTo>
                    <a:pt x="217" y="3"/>
                  </a:lnTo>
                  <a:lnTo>
                    <a:pt x="218" y="4"/>
                  </a:lnTo>
                  <a:lnTo>
                    <a:pt x="222" y="6"/>
                  </a:lnTo>
                  <a:lnTo>
                    <a:pt x="223" y="7"/>
                  </a:lnTo>
                  <a:lnTo>
                    <a:pt x="224" y="7"/>
                  </a:lnTo>
                  <a:lnTo>
                    <a:pt x="225" y="8"/>
                  </a:lnTo>
                  <a:lnTo>
                    <a:pt x="226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2" y="13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4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6" y="15"/>
                  </a:lnTo>
                  <a:lnTo>
                    <a:pt x="236" y="15"/>
                  </a:lnTo>
                  <a:lnTo>
                    <a:pt x="237" y="15"/>
                  </a:lnTo>
                  <a:lnTo>
                    <a:pt x="238" y="14"/>
                  </a:lnTo>
                  <a:lnTo>
                    <a:pt x="239" y="14"/>
                  </a:lnTo>
                  <a:lnTo>
                    <a:pt x="240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2" y="13"/>
                  </a:lnTo>
                  <a:lnTo>
                    <a:pt x="242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4"/>
                  </a:lnTo>
                  <a:lnTo>
                    <a:pt x="243" y="14"/>
                  </a:lnTo>
                  <a:lnTo>
                    <a:pt x="244" y="15"/>
                  </a:lnTo>
                  <a:lnTo>
                    <a:pt x="244" y="17"/>
                  </a:lnTo>
                  <a:lnTo>
                    <a:pt x="245" y="18"/>
                  </a:lnTo>
                  <a:lnTo>
                    <a:pt x="246" y="20"/>
                  </a:lnTo>
                  <a:lnTo>
                    <a:pt x="247" y="23"/>
                  </a:lnTo>
                  <a:lnTo>
                    <a:pt x="248" y="25"/>
                  </a:lnTo>
                  <a:lnTo>
                    <a:pt x="249" y="27"/>
                  </a:lnTo>
                  <a:lnTo>
                    <a:pt x="250" y="28"/>
                  </a:lnTo>
                  <a:lnTo>
                    <a:pt x="251" y="28"/>
                  </a:lnTo>
                  <a:lnTo>
                    <a:pt x="251" y="29"/>
                  </a:lnTo>
                  <a:lnTo>
                    <a:pt x="252" y="30"/>
                  </a:lnTo>
                  <a:lnTo>
                    <a:pt x="253" y="30"/>
                  </a:lnTo>
                  <a:lnTo>
                    <a:pt x="253" y="30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8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60" y="31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0"/>
                  </a:lnTo>
                  <a:lnTo>
                    <a:pt x="261" y="31"/>
                  </a:lnTo>
                  <a:lnTo>
                    <a:pt x="262" y="35"/>
                  </a:lnTo>
                  <a:lnTo>
                    <a:pt x="262" y="36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0"/>
                  </a:lnTo>
                  <a:lnTo>
                    <a:pt x="261" y="40"/>
                  </a:lnTo>
                  <a:lnTo>
                    <a:pt x="261" y="41"/>
                  </a:lnTo>
                  <a:lnTo>
                    <a:pt x="260" y="41"/>
                  </a:lnTo>
                  <a:lnTo>
                    <a:pt x="260" y="42"/>
                  </a:lnTo>
                  <a:lnTo>
                    <a:pt x="259" y="42"/>
                  </a:lnTo>
                  <a:lnTo>
                    <a:pt x="258" y="43"/>
                  </a:lnTo>
                  <a:lnTo>
                    <a:pt x="257" y="43"/>
                  </a:lnTo>
                  <a:lnTo>
                    <a:pt x="256" y="43"/>
                  </a:lnTo>
                  <a:lnTo>
                    <a:pt x="256" y="44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5" y="47"/>
                  </a:lnTo>
                  <a:lnTo>
                    <a:pt x="255" y="47"/>
                  </a:lnTo>
                  <a:lnTo>
                    <a:pt x="255" y="48"/>
                  </a:lnTo>
                  <a:lnTo>
                    <a:pt x="257" y="51"/>
                  </a:lnTo>
                  <a:lnTo>
                    <a:pt x="258" y="52"/>
                  </a:lnTo>
                  <a:lnTo>
                    <a:pt x="258" y="53"/>
                  </a:lnTo>
                  <a:lnTo>
                    <a:pt x="258" y="54"/>
                  </a:lnTo>
                  <a:lnTo>
                    <a:pt x="259" y="55"/>
                  </a:lnTo>
                  <a:lnTo>
                    <a:pt x="259" y="56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59" y="65"/>
                  </a:lnTo>
                  <a:lnTo>
                    <a:pt x="259" y="66"/>
                  </a:lnTo>
                  <a:lnTo>
                    <a:pt x="259" y="68"/>
                  </a:lnTo>
                  <a:lnTo>
                    <a:pt x="259" y="69"/>
                  </a:lnTo>
                  <a:lnTo>
                    <a:pt x="259" y="71"/>
                  </a:lnTo>
                  <a:lnTo>
                    <a:pt x="258" y="72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7" y="77"/>
                  </a:lnTo>
                  <a:lnTo>
                    <a:pt x="256" y="80"/>
                  </a:lnTo>
                  <a:lnTo>
                    <a:pt x="255" y="83"/>
                  </a:lnTo>
                  <a:lnTo>
                    <a:pt x="254" y="85"/>
                  </a:lnTo>
                  <a:lnTo>
                    <a:pt x="253" y="86"/>
                  </a:lnTo>
                  <a:lnTo>
                    <a:pt x="253" y="87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3" y="94"/>
                  </a:lnTo>
                  <a:lnTo>
                    <a:pt x="252" y="97"/>
                  </a:lnTo>
                  <a:lnTo>
                    <a:pt x="252" y="98"/>
                  </a:lnTo>
                  <a:lnTo>
                    <a:pt x="251" y="100"/>
                  </a:lnTo>
                  <a:lnTo>
                    <a:pt x="250" y="102"/>
                  </a:lnTo>
                  <a:lnTo>
                    <a:pt x="250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9"/>
                  </a:lnTo>
                  <a:lnTo>
                    <a:pt x="250" y="110"/>
                  </a:lnTo>
                  <a:lnTo>
                    <a:pt x="251" y="111"/>
                  </a:lnTo>
                  <a:lnTo>
                    <a:pt x="252" y="112"/>
                  </a:lnTo>
                  <a:lnTo>
                    <a:pt x="253" y="113"/>
                  </a:lnTo>
                  <a:lnTo>
                    <a:pt x="254" y="113"/>
                  </a:lnTo>
                  <a:lnTo>
                    <a:pt x="256" y="115"/>
                  </a:lnTo>
                  <a:lnTo>
                    <a:pt x="257" y="116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8" y="118"/>
                  </a:lnTo>
                  <a:lnTo>
                    <a:pt x="259" y="119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9" y="122"/>
                  </a:lnTo>
                  <a:lnTo>
                    <a:pt x="259" y="122"/>
                  </a:lnTo>
                  <a:lnTo>
                    <a:pt x="258" y="124"/>
                  </a:lnTo>
                  <a:lnTo>
                    <a:pt x="257" y="125"/>
                  </a:lnTo>
                  <a:lnTo>
                    <a:pt x="256" y="126"/>
                  </a:lnTo>
                  <a:lnTo>
                    <a:pt x="255" y="127"/>
                  </a:lnTo>
                  <a:lnTo>
                    <a:pt x="255" y="128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30"/>
                  </a:lnTo>
                  <a:lnTo>
                    <a:pt x="255" y="131"/>
                  </a:lnTo>
                  <a:lnTo>
                    <a:pt x="255" y="131"/>
                  </a:lnTo>
                  <a:lnTo>
                    <a:pt x="255" y="132"/>
                  </a:lnTo>
                  <a:lnTo>
                    <a:pt x="255" y="133"/>
                  </a:lnTo>
                  <a:lnTo>
                    <a:pt x="256" y="134"/>
                  </a:lnTo>
                  <a:lnTo>
                    <a:pt x="258" y="137"/>
                  </a:lnTo>
                  <a:lnTo>
                    <a:pt x="260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5" y="144"/>
                  </a:lnTo>
                  <a:lnTo>
                    <a:pt x="265" y="145"/>
                  </a:lnTo>
                  <a:lnTo>
                    <a:pt x="267" y="147"/>
                  </a:lnTo>
                  <a:lnTo>
                    <a:pt x="268" y="149"/>
                  </a:lnTo>
                  <a:lnTo>
                    <a:pt x="271" y="151"/>
                  </a:lnTo>
                  <a:lnTo>
                    <a:pt x="273" y="153"/>
                  </a:lnTo>
                  <a:lnTo>
                    <a:pt x="274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6" y="154"/>
                  </a:lnTo>
                  <a:lnTo>
                    <a:pt x="277" y="155"/>
                  </a:lnTo>
                  <a:lnTo>
                    <a:pt x="278" y="155"/>
                  </a:lnTo>
                  <a:lnTo>
                    <a:pt x="279" y="154"/>
                  </a:lnTo>
                  <a:lnTo>
                    <a:pt x="280" y="154"/>
                  </a:lnTo>
                  <a:lnTo>
                    <a:pt x="281" y="154"/>
                  </a:lnTo>
                  <a:lnTo>
                    <a:pt x="285" y="152"/>
                  </a:lnTo>
                  <a:lnTo>
                    <a:pt x="286" y="151"/>
                  </a:lnTo>
                  <a:lnTo>
                    <a:pt x="287" y="151"/>
                  </a:lnTo>
                  <a:lnTo>
                    <a:pt x="288" y="150"/>
                  </a:lnTo>
                  <a:lnTo>
                    <a:pt x="289" y="150"/>
                  </a:lnTo>
                  <a:lnTo>
                    <a:pt x="290" y="150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2" y="151"/>
                  </a:lnTo>
                  <a:lnTo>
                    <a:pt x="293" y="151"/>
                  </a:lnTo>
                  <a:lnTo>
                    <a:pt x="294" y="151"/>
                  </a:lnTo>
                  <a:lnTo>
                    <a:pt x="294" y="152"/>
                  </a:lnTo>
                  <a:lnTo>
                    <a:pt x="296" y="154"/>
                  </a:lnTo>
                  <a:lnTo>
                    <a:pt x="298" y="155"/>
                  </a:lnTo>
                  <a:lnTo>
                    <a:pt x="299" y="156"/>
                  </a:lnTo>
                  <a:lnTo>
                    <a:pt x="301" y="156"/>
                  </a:lnTo>
                  <a:lnTo>
                    <a:pt x="301" y="157"/>
                  </a:lnTo>
                  <a:lnTo>
                    <a:pt x="302" y="157"/>
                  </a:lnTo>
                  <a:lnTo>
                    <a:pt x="306" y="159"/>
                  </a:lnTo>
                  <a:lnTo>
                    <a:pt x="307" y="159"/>
                  </a:lnTo>
                  <a:lnTo>
                    <a:pt x="309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4"/>
                  </a:lnTo>
                  <a:lnTo>
                    <a:pt x="311" y="165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2" y="171"/>
                  </a:lnTo>
                  <a:lnTo>
                    <a:pt x="315" y="171"/>
                  </a:lnTo>
                  <a:lnTo>
                    <a:pt x="316" y="171"/>
                  </a:lnTo>
                  <a:lnTo>
                    <a:pt x="316" y="172"/>
                  </a:lnTo>
                  <a:lnTo>
                    <a:pt x="317" y="172"/>
                  </a:lnTo>
                  <a:lnTo>
                    <a:pt x="318" y="172"/>
                  </a:lnTo>
                  <a:lnTo>
                    <a:pt x="318" y="172"/>
                  </a:lnTo>
                  <a:lnTo>
                    <a:pt x="319" y="173"/>
                  </a:lnTo>
                  <a:lnTo>
                    <a:pt x="320" y="173"/>
                  </a:lnTo>
                  <a:lnTo>
                    <a:pt x="321" y="175"/>
                  </a:lnTo>
                  <a:lnTo>
                    <a:pt x="322" y="176"/>
                  </a:lnTo>
                  <a:lnTo>
                    <a:pt x="324" y="178"/>
                  </a:lnTo>
                  <a:lnTo>
                    <a:pt x="325" y="179"/>
                  </a:lnTo>
                  <a:lnTo>
                    <a:pt x="325" y="180"/>
                  </a:lnTo>
                  <a:lnTo>
                    <a:pt x="325" y="180"/>
                  </a:lnTo>
                  <a:lnTo>
                    <a:pt x="326" y="180"/>
                  </a:lnTo>
                  <a:lnTo>
                    <a:pt x="327" y="181"/>
                  </a:lnTo>
                  <a:lnTo>
                    <a:pt x="328" y="181"/>
                  </a:lnTo>
                  <a:lnTo>
                    <a:pt x="329" y="181"/>
                  </a:lnTo>
                  <a:lnTo>
                    <a:pt x="330" y="182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0"/>
                  </a:lnTo>
                  <a:lnTo>
                    <a:pt x="338" y="179"/>
                  </a:lnTo>
                  <a:lnTo>
                    <a:pt x="339" y="179"/>
                  </a:lnTo>
                  <a:lnTo>
                    <a:pt x="340" y="178"/>
                  </a:lnTo>
                  <a:lnTo>
                    <a:pt x="340" y="178"/>
                  </a:lnTo>
                  <a:lnTo>
                    <a:pt x="341" y="178"/>
                  </a:lnTo>
                  <a:lnTo>
                    <a:pt x="341" y="178"/>
                  </a:lnTo>
                  <a:lnTo>
                    <a:pt x="342" y="178"/>
                  </a:lnTo>
                  <a:lnTo>
                    <a:pt x="343" y="178"/>
                  </a:lnTo>
                  <a:lnTo>
                    <a:pt x="348" y="180"/>
                  </a:lnTo>
                  <a:lnTo>
                    <a:pt x="351" y="181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3"/>
                  </a:lnTo>
                  <a:lnTo>
                    <a:pt x="357" y="184"/>
                  </a:lnTo>
                  <a:lnTo>
                    <a:pt x="357" y="184"/>
                  </a:lnTo>
                  <a:lnTo>
                    <a:pt x="359" y="185"/>
                  </a:lnTo>
                  <a:lnTo>
                    <a:pt x="359" y="186"/>
                  </a:lnTo>
                  <a:lnTo>
                    <a:pt x="359" y="186"/>
                  </a:lnTo>
                  <a:lnTo>
                    <a:pt x="360" y="186"/>
                  </a:lnTo>
                  <a:lnTo>
                    <a:pt x="361" y="186"/>
                  </a:lnTo>
                  <a:lnTo>
                    <a:pt x="361" y="186"/>
                  </a:lnTo>
                  <a:lnTo>
                    <a:pt x="365" y="186"/>
                  </a:lnTo>
                  <a:lnTo>
                    <a:pt x="366" y="185"/>
                  </a:lnTo>
                  <a:lnTo>
                    <a:pt x="369" y="185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8" y="184"/>
                  </a:lnTo>
                  <a:lnTo>
                    <a:pt x="379" y="184"/>
                  </a:lnTo>
                  <a:lnTo>
                    <a:pt x="380" y="184"/>
                  </a:lnTo>
                  <a:lnTo>
                    <a:pt x="381" y="184"/>
                  </a:lnTo>
                  <a:lnTo>
                    <a:pt x="382" y="184"/>
                  </a:lnTo>
                  <a:lnTo>
                    <a:pt x="382" y="185"/>
                  </a:lnTo>
                  <a:lnTo>
                    <a:pt x="383" y="185"/>
                  </a:lnTo>
                  <a:lnTo>
                    <a:pt x="383" y="185"/>
                  </a:lnTo>
                  <a:lnTo>
                    <a:pt x="384" y="186"/>
                  </a:lnTo>
                  <a:lnTo>
                    <a:pt x="384" y="186"/>
                  </a:lnTo>
                  <a:lnTo>
                    <a:pt x="385" y="187"/>
                  </a:lnTo>
                  <a:lnTo>
                    <a:pt x="385" y="188"/>
                  </a:lnTo>
                  <a:lnTo>
                    <a:pt x="386" y="189"/>
                  </a:lnTo>
                  <a:lnTo>
                    <a:pt x="386" y="190"/>
                  </a:lnTo>
                  <a:lnTo>
                    <a:pt x="386" y="192"/>
                  </a:lnTo>
                  <a:lnTo>
                    <a:pt x="386" y="193"/>
                  </a:lnTo>
                  <a:lnTo>
                    <a:pt x="387" y="194"/>
                  </a:lnTo>
                  <a:lnTo>
                    <a:pt x="387" y="195"/>
                  </a:lnTo>
                  <a:lnTo>
                    <a:pt x="387" y="196"/>
                  </a:lnTo>
                  <a:lnTo>
                    <a:pt x="386" y="198"/>
                  </a:lnTo>
                  <a:lnTo>
                    <a:pt x="386" y="201"/>
                  </a:lnTo>
                  <a:lnTo>
                    <a:pt x="386" y="202"/>
                  </a:lnTo>
                  <a:lnTo>
                    <a:pt x="386" y="204"/>
                  </a:lnTo>
                  <a:lnTo>
                    <a:pt x="386" y="205"/>
                  </a:lnTo>
                  <a:lnTo>
                    <a:pt x="386" y="206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10"/>
                  </a:lnTo>
                  <a:lnTo>
                    <a:pt x="388" y="211"/>
                  </a:lnTo>
                  <a:lnTo>
                    <a:pt x="389" y="212"/>
                  </a:lnTo>
                  <a:lnTo>
                    <a:pt x="389" y="212"/>
                  </a:lnTo>
                  <a:lnTo>
                    <a:pt x="391" y="214"/>
                  </a:lnTo>
                  <a:lnTo>
                    <a:pt x="392" y="215"/>
                  </a:lnTo>
                  <a:lnTo>
                    <a:pt x="395" y="217"/>
                  </a:lnTo>
                  <a:lnTo>
                    <a:pt x="398" y="219"/>
                  </a:lnTo>
                  <a:lnTo>
                    <a:pt x="398" y="220"/>
                  </a:lnTo>
                  <a:lnTo>
                    <a:pt x="400" y="221"/>
                  </a:lnTo>
                  <a:lnTo>
                    <a:pt x="402" y="222"/>
                  </a:lnTo>
                  <a:lnTo>
                    <a:pt x="406" y="225"/>
                  </a:lnTo>
                  <a:lnTo>
                    <a:pt x="409" y="226"/>
                  </a:lnTo>
                  <a:lnTo>
                    <a:pt x="409" y="227"/>
                  </a:lnTo>
                  <a:lnTo>
                    <a:pt x="410" y="227"/>
                  </a:lnTo>
                  <a:lnTo>
                    <a:pt x="410" y="227"/>
                  </a:lnTo>
                  <a:lnTo>
                    <a:pt x="411" y="227"/>
                  </a:lnTo>
                  <a:lnTo>
                    <a:pt x="411" y="227"/>
                  </a:lnTo>
                  <a:lnTo>
                    <a:pt x="411" y="226"/>
                  </a:lnTo>
                  <a:lnTo>
                    <a:pt x="413" y="226"/>
                  </a:lnTo>
                  <a:lnTo>
                    <a:pt x="414" y="226"/>
                  </a:lnTo>
                  <a:lnTo>
                    <a:pt x="415" y="225"/>
                  </a:lnTo>
                  <a:lnTo>
                    <a:pt x="416" y="225"/>
                  </a:lnTo>
                  <a:lnTo>
                    <a:pt x="416" y="225"/>
                  </a:lnTo>
                  <a:lnTo>
                    <a:pt x="417" y="226"/>
                  </a:lnTo>
                  <a:lnTo>
                    <a:pt x="418" y="226"/>
                  </a:lnTo>
                  <a:lnTo>
                    <a:pt x="421" y="227"/>
                  </a:lnTo>
                  <a:lnTo>
                    <a:pt x="422" y="227"/>
                  </a:lnTo>
                  <a:lnTo>
                    <a:pt x="423" y="227"/>
                  </a:lnTo>
                  <a:lnTo>
                    <a:pt x="425" y="227"/>
                  </a:lnTo>
                  <a:lnTo>
                    <a:pt x="427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2" y="227"/>
                  </a:lnTo>
                  <a:lnTo>
                    <a:pt x="433" y="227"/>
                  </a:lnTo>
                  <a:lnTo>
                    <a:pt x="434" y="226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40" y="225"/>
                  </a:lnTo>
                  <a:lnTo>
                    <a:pt x="442" y="224"/>
                  </a:lnTo>
                  <a:lnTo>
                    <a:pt x="443" y="224"/>
                  </a:lnTo>
                  <a:lnTo>
                    <a:pt x="443" y="224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6" y="223"/>
                  </a:lnTo>
                  <a:lnTo>
                    <a:pt x="446" y="223"/>
                  </a:lnTo>
                  <a:lnTo>
                    <a:pt x="447" y="223"/>
                  </a:lnTo>
                  <a:lnTo>
                    <a:pt x="447" y="223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9" y="224"/>
                  </a:lnTo>
                  <a:lnTo>
                    <a:pt x="450" y="224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2" y="225"/>
                  </a:lnTo>
                  <a:lnTo>
                    <a:pt x="452" y="226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3" y="228"/>
                  </a:lnTo>
                  <a:lnTo>
                    <a:pt x="452" y="228"/>
                  </a:lnTo>
                  <a:lnTo>
                    <a:pt x="452" y="229"/>
                  </a:lnTo>
                  <a:lnTo>
                    <a:pt x="452" y="230"/>
                  </a:lnTo>
                  <a:lnTo>
                    <a:pt x="452" y="230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3" y="232"/>
                  </a:lnTo>
                  <a:lnTo>
                    <a:pt x="453" y="232"/>
                  </a:lnTo>
                  <a:lnTo>
                    <a:pt x="454" y="233"/>
                  </a:lnTo>
                  <a:lnTo>
                    <a:pt x="454" y="234"/>
                  </a:lnTo>
                  <a:lnTo>
                    <a:pt x="456" y="234"/>
                  </a:lnTo>
                  <a:lnTo>
                    <a:pt x="457" y="236"/>
                  </a:lnTo>
                  <a:lnTo>
                    <a:pt x="458" y="236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40"/>
                  </a:lnTo>
                  <a:lnTo>
                    <a:pt x="462" y="241"/>
                  </a:lnTo>
                  <a:lnTo>
                    <a:pt x="462" y="242"/>
                  </a:lnTo>
                  <a:lnTo>
                    <a:pt x="462" y="243"/>
                  </a:lnTo>
                  <a:lnTo>
                    <a:pt x="462" y="243"/>
                  </a:lnTo>
                  <a:lnTo>
                    <a:pt x="462" y="244"/>
                  </a:lnTo>
                  <a:lnTo>
                    <a:pt x="462" y="245"/>
                  </a:lnTo>
                  <a:lnTo>
                    <a:pt x="462" y="246"/>
                  </a:lnTo>
                  <a:lnTo>
                    <a:pt x="461" y="247"/>
                  </a:lnTo>
                  <a:lnTo>
                    <a:pt x="461" y="247"/>
                  </a:lnTo>
                  <a:lnTo>
                    <a:pt x="461" y="248"/>
                  </a:lnTo>
                  <a:lnTo>
                    <a:pt x="460" y="248"/>
                  </a:lnTo>
                  <a:lnTo>
                    <a:pt x="460" y="248"/>
                  </a:lnTo>
                  <a:lnTo>
                    <a:pt x="459" y="249"/>
                  </a:lnTo>
                  <a:lnTo>
                    <a:pt x="458" y="249"/>
                  </a:lnTo>
                  <a:lnTo>
                    <a:pt x="456" y="250"/>
                  </a:lnTo>
                  <a:lnTo>
                    <a:pt x="453" y="250"/>
                  </a:lnTo>
                  <a:lnTo>
                    <a:pt x="452" y="250"/>
                  </a:lnTo>
                  <a:lnTo>
                    <a:pt x="452" y="251"/>
                  </a:lnTo>
                  <a:lnTo>
                    <a:pt x="452" y="251"/>
                  </a:lnTo>
                  <a:lnTo>
                    <a:pt x="451" y="251"/>
                  </a:lnTo>
                  <a:lnTo>
                    <a:pt x="451" y="252"/>
                  </a:lnTo>
                  <a:lnTo>
                    <a:pt x="450" y="253"/>
                  </a:lnTo>
                  <a:lnTo>
                    <a:pt x="449" y="254"/>
                  </a:lnTo>
                  <a:lnTo>
                    <a:pt x="448" y="256"/>
                  </a:lnTo>
                  <a:lnTo>
                    <a:pt x="448" y="257"/>
                  </a:lnTo>
                  <a:lnTo>
                    <a:pt x="447" y="258"/>
                  </a:lnTo>
                  <a:lnTo>
                    <a:pt x="447" y="259"/>
                  </a:lnTo>
                  <a:lnTo>
                    <a:pt x="447" y="261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3"/>
                  </a:lnTo>
                  <a:lnTo>
                    <a:pt x="446" y="264"/>
                  </a:lnTo>
                  <a:lnTo>
                    <a:pt x="444" y="266"/>
                  </a:lnTo>
                  <a:lnTo>
                    <a:pt x="443" y="267"/>
                  </a:lnTo>
                  <a:lnTo>
                    <a:pt x="443" y="268"/>
                  </a:lnTo>
                  <a:lnTo>
                    <a:pt x="442" y="270"/>
                  </a:lnTo>
                  <a:lnTo>
                    <a:pt x="442" y="271"/>
                  </a:lnTo>
                  <a:lnTo>
                    <a:pt x="441" y="272"/>
                  </a:lnTo>
                  <a:lnTo>
                    <a:pt x="441" y="273"/>
                  </a:lnTo>
                  <a:lnTo>
                    <a:pt x="440" y="273"/>
                  </a:lnTo>
                  <a:lnTo>
                    <a:pt x="438" y="276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5" y="279"/>
                  </a:lnTo>
                  <a:lnTo>
                    <a:pt x="434" y="281"/>
                  </a:lnTo>
                  <a:lnTo>
                    <a:pt x="433" y="282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4"/>
                  </a:lnTo>
                  <a:lnTo>
                    <a:pt x="432" y="284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3" y="286"/>
                  </a:lnTo>
                  <a:lnTo>
                    <a:pt x="434" y="286"/>
                  </a:lnTo>
                  <a:lnTo>
                    <a:pt x="436" y="287"/>
                  </a:lnTo>
                  <a:lnTo>
                    <a:pt x="437" y="287"/>
                  </a:lnTo>
                  <a:lnTo>
                    <a:pt x="437" y="287"/>
                  </a:lnTo>
                  <a:lnTo>
                    <a:pt x="438" y="287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0" y="288"/>
                  </a:lnTo>
                  <a:lnTo>
                    <a:pt x="440" y="289"/>
                  </a:lnTo>
                  <a:lnTo>
                    <a:pt x="441" y="289"/>
                  </a:lnTo>
                  <a:lnTo>
                    <a:pt x="442" y="292"/>
                  </a:lnTo>
                  <a:lnTo>
                    <a:pt x="442" y="292"/>
                  </a:lnTo>
                  <a:lnTo>
                    <a:pt x="443" y="293"/>
                  </a:lnTo>
                  <a:lnTo>
                    <a:pt x="444" y="294"/>
                  </a:lnTo>
                  <a:lnTo>
                    <a:pt x="445" y="295"/>
                  </a:lnTo>
                  <a:lnTo>
                    <a:pt x="446" y="295"/>
                  </a:lnTo>
                  <a:lnTo>
                    <a:pt x="447" y="296"/>
                  </a:lnTo>
                  <a:lnTo>
                    <a:pt x="449" y="297"/>
                  </a:lnTo>
                  <a:lnTo>
                    <a:pt x="451" y="297"/>
                  </a:lnTo>
                  <a:lnTo>
                    <a:pt x="452" y="298"/>
                  </a:lnTo>
                  <a:lnTo>
                    <a:pt x="453" y="299"/>
                  </a:lnTo>
                  <a:lnTo>
                    <a:pt x="455" y="300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7" y="302"/>
                  </a:lnTo>
                  <a:lnTo>
                    <a:pt x="457" y="303"/>
                  </a:lnTo>
                  <a:lnTo>
                    <a:pt x="458" y="303"/>
                  </a:lnTo>
                  <a:lnTo>
                    <a:pt x="458" y="304"/>
                  </a:lnTo>
                  <a:lnTo>
                    <a:pt x="459" y="306"/>
                  </a:lnTo>
                  <a:lnTo>
                    <a:pt x="460" y="307"/>
                  </a:lnTo>
                  <a:lnTo>
                    <a:pt x="460" y="308"/>
                  </a:lnTo>
                  <a:lnTo>
                    <a:pt x="460" y="308"/>
                  </a:lnTo>
                  <a:lnTo>
                    <a:pt x="460" y="309"/>
                  </a:lnTo>
                  <a:lnTo>
                    <a:pt x="458" y="310"/>
                  </a:lnTo>
                  <a:lnTo>
                    <a:pt x="458" y="311"/>
                  </a:lnTo>
                  <a:lnTo>
                    <a:pt x="458" y="311"/>
                  </a:lnTo>
                  <a:lnTo>
                    <a:pt x="457" y="311"/>
                  </a:lnTo>
                  <a:lnTo>
                    <a:pt x="457" y="311"/>
                  </a:lnTo>
                  <a:lnTo>
                    <a:pt x="456" y="311"/>
                  </a:lnTo>
                  <a:lnTo>
                    <a:pt x="455" y="311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3"/>
                  </a:lnTo>
                  <a:lnTo>
                    <a:pt x="455" y="313"/>
                  </a:lnTo>
                  <a:lnTo>
                    <a:pt x="455" y="314"/>
                  </a:lnTo>
                  <a:lnTo>
                    <a:pt x="454" y="315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6"/>
                  </a:lnTo>
                  <a:lnTo>
                    <a:pt x="453" y="317"/>
                  </a:lnTo>
                  <a:lnTo>
                    <a:pt x="454" y="317"/>
                  </a:lnTo>
                  <a:lnTo>
                    <a:pt x="454" y="317"/>
                  </a:lnTo>
                  <a:lnTo>
                    <a:pt x="453" y="317"/>
                  </a:lnTo>
                  <a:lnTo>
                    <a:pt x="453" y="318"/>
                  </a:lnTo>
                  <a:lnTo>
                    <a:pt x="452" y="319"/>
                  </a:lnTo>
                  <a:lnTo>
                    <a:pt x="451" y="319"/>
                  </a:lnTo>
                  <a:lnTo>
                    <a:pt x="451" y="319"/>
                  </a:lnTo>
                  <a:lnTo>
                    <a:pt x="450" y="320"/>
                  </a:lnTo>
                  <a:lnTo>
                    <a:pt x="450" y="320"/>
                  </a:lnTo>
                  <a:lnTo>
                    <a:pt x="449" y="320"/>
                  </a:lnTo>
                  <a:lnTo>
                    <a:pt x="449" y="321"/>
                  </a:lnTo>
                  <a:lnTo>
                    <a:pt x="448" y="324"/>
                  </a:lnTo>
                  <a:lnTo>
                    <a:pt x="447" y="326"/>
                  </a:lnTo>
                  <a:lnTo>
                    <a:pt x="447" y="326"/>
                  </a:lnTo>
                  <a:lnTo>
                    <a:pt x="446" y="326"/>
                  </a:lnTo>
                  <a:lnTo>
                    <a:pt x="446" y="326"/>
                  </a:lnTo>
                  <a:lnTo>
                    <a:pt x="445" y="326"/>
                  </a:lnTo>
                  <a:lnTo>
                    <a:pt x="444" y="325"/>
                  </a:lnTo>
                  <a:lnTo>
                    <a:pt x="442" y="324"/>
                  </a:lnTo>
                  <a:lnTo>
                    <a:pt x="441" y="323"/>
                  </a:lnTo>
                  <a:lnTo>
                    <a:pt x="439" y="321"/>
                  </a:lnTo>
                  <a:lnTo>
                    <a:pt x="438" y="320"/>
                  </a:lnTo>
                  <a:lnTo>
                    <a:pt x="437" y="319"/>
                  </a:lnTo>
                  <a:lnTo>
                    <a:pt x="434" y="315"/>
                  </a:lnTo>
                  <a:lnTo>
                    <a:pt x="433" y="314"/>
                  </a:lnTo>
                  <a:lnTo>
                    <a:pt x="432" y="313"/>
                  </a:lnTo>
                  <a:lnTo>
                    <a:pt x="431" y="312"/>
                  </a:lnTo>
                  <a:lnTo>
                    <a:pt x="430" y="311"/>
                  </a:lnTo>
                  <a:lnTo>
                    <a:pt x="428" y="310"/>
                  </a:lnTo>
                  <a:lnTo>
                    <a:pt x="427" y="310"/>
                  </a:lnTo>
                  <a:lnTo>
                    <a:pt x="426" y="309"/>
                  </a:lnTo>
                  <a:lnTo>
                    <a:pt x="425" y="309"/>
                  </a:lnTo>
                  <a:lnTo>
                    <a:pt x="424" y="308"/>
                  </a:lnTo>
                  <a:lnTo>
                    <a:pt x="423" y="308"/>
                  </a:lnTo>
                  <a:lnTo>
                    <a:pt x="421" y="308"/>
                  </a:lnTo>
                  <a:lnTo>
                    <a:pt x="420" y="307"/>
                  </a:lnTo>
                  <a:lnTo>
                    <a:pt x="415" y="307"/>
                  </a:lnTo>
                  <a:lnTo>
                    <a:pt x="414" y="306"/>
                  </a:lnTo>
                  <a:lnTo>
                    <a:pt x="413" y="306"/>
                  </a:lnTo>
                  <a:lnTo>
                    <a:pt x="412" y="305"/>
                  </a:lnTo>
                  <a:lnTo>
                    <a:pt x="411" y="305"/>
                  </a:lnTo>
                  <a:lnTo>
                    <a:pt x="410" y="304"/>
                  </a:lnTo>
                  <a:lnTo>
                    <a:pt x="409" y="304"/>
                  </a:lnTo>
                  <a:lnTo>
                    <a:pt x="407" y="302"/>
                  </a:lnTo>
                  <a:lnTo>
                    <a:pt x="402" y="300"/>
                  </a:lnTo>
                  <a:lnTo>
                    <a:pt x="398" y="297"/>
                  </a:lnTo>
                  <a:lnTo>
                    <a:pt x="397" y="296"/>
                  </a:lnTo>
                  <a:lnTo>
                    <a:pt x="396" y="295"/>
                  </a:lnTo>
                  <a:lnTo>
                    <a:pt x="394" y="294"/>
                  </a:lnTo>
                  <a:lnTo>
                    <a:pt x="392" y="293"/>
                  </a:lnTo>
                  <a:lnTo>
                    <a:pt x="390" y="293"/>
                  </a:lnTo>
                  <a:lnTo>
                    <a:pt x="389" y="293"/>
                  </a:lnTo>
                  <a:lnTo>
                    <a:pt x="388" y="292"/>
                  </a:lnTo>
                  <a:lnTo>
                    <a:pt x="387" y="292"/>
                  </a:lnTo>
                  <a:lnTo>
                    <a:pt x="385" y="292"/>
                  </a:lnTo>
                  <a:lnTo>
                    <a:pt x="383" y="292"/>
                  </a:lnTo>
                  <a:lnTo>
                    <a:pt x="380" y="293"/>
                  </a:lnTo>
                  <a:lnTo>
                    <a:pt x="379" y="293"/>
                  </a:lnTo>
                  <a:lnTo>
                    <a:pt x="378" y="293"/>
                  </a:lnTo>
                  <a:lnTo>
                    <a:pt x="377" y="292"/>
                  </a:lnTo>
                  <a:lnTo>
                    <a:pt x="375" y="292"/>
                  </a:lnTo>
                  <a:lnTo>
                    <a:pt x="374" y="292"/>
                  </a:lnTo>
                  <a:lnTo>
                    <a:pt x="374" y="292"/>
                  </a:lnTo>
                  <a:lnTo>
                    <a:pt x="372" y="291"/>
                  </a:lnTo>
                  <a:lnTo>
                    <a:pt x="370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9" y="290"/>
                  </a:lnTo>
                  <a:lnTo>
                    <a:pt x="368" y="290"/>
                  </a:lnTo>
                  <a:lnTo>
                    <a:pt x="368" y="290"/>
                  </a:lnTo>
                  <a:lnTo>
                    <a:pt x="367" y="290"/>
                  </a:lnTo>
                  <a:lnTo>
                    <a:pt x="367" y="291"/>
                  </a:lnTo>
                  <a:lnTo>
                    <a:pt x="367" y="291"/>
                  </a:lnTo>
                  <a:lnTo>
                    <a:pt x="366" y="292"/>
                  </a:lnTo>
                  <a:lnTo>
                    <a:pt x="366" y="295"/>
                  </a:lnTo>
                  <a:lnTo>
                    <a:pt x="365" y="296"/>
                  </a:lnTo>
                  <a:lnTo>
                    <a:pt x="364" y="298"/>
                  </a:lnTo>
                  <a:lnTo>
                    <a:pt x="363" y="300"/>
                  </a:lnTo>
                  <a:lnTo>
                    <a:pt x="362" y="301"/>
                  </a:lnTo>
                  <a:lnTo>
                    <a:pt x="362" y="302"/>
                  </a:lnTo>
                  <a:lnTo>
                    <a:pt x="361" y="302"/>
                  </a:lnTo>
                  <a:lnTo>
                    <a:pt x="360" y="303"/>
                  </a:lnTo>
                  <a:lnTo>
                    <a:pt x="360" y="303"/>
                  </a:lnTo>
                  <a:lnTo>
                    <a:pt x="359" y="303"/>
                  </a:lnTo>
                  <a:lnTo>
                    <a:pt x="359" y="304"/>
                  </a:lnTo>
                  <a:lnTo>
                    <a:pt x="357" y="304"/>
                  </a:lnTo>
                  <a:lnTo>
                    <a:pt x="355" y="304"/>
                  </a:lnTo>
                  <a:lnTo>
                    <a:pt x="352" y="304"/>
                  </a:lnTo>
                  <a:lnTo>
                    <a:pt x="351" y="304"/>
                  </a:lnTo>
                  <a:lnTo>
                    <a:pt x="349" y="305"/>
                  </a:lnTo>
                  <a:lnTo>
                    <a:pt x="348" y="305"/>
                  </a:lnTo>
                  <a:lnTo>
                    <a:pt x="346" y="306"/>
                  </a:lnTo>
                  <a:lnTo>
                    <a:pt x="344" y="307"/>
                  </a:lnTo>
                  <a:lnTo>
                    <a:pt x="341" y="308"/>
                  </a:lnTo>
                  <a:lnTo>
                    <a:pt x="340" y="309"/>
                  </a:lnTo>
                  <a:lnTo>
                    <a:pt x="339" y="309"/>
                  </a:lnTo>
                  <a:lnTo>
                    <a:pt x="338" y="309"/>
                  </a:lnTo>
                  <a:lnTo>
                    <a:pt x="337" y="309"/>
                  </a:lnTo>
                  <a:lnTo>
                    <a:pt x="335" y="309"/>
                  </a:lnTo>
                  <a:lnTo>
                    <a:pt x="334" y="309"/>
                  </a:lnTo>
                  <a:lnTo>
                    <a:pt x="334" y="309"/>
                  </a:lnTo>
                  <a:lnTo>
                    <a:pt x="333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2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31" y="307"/>
                  </a:lnTo>
                  <a:lnTo>
                    <a:pt x="331" y="307"/>
                  </a:lnTo>
                  <a:lnTo>
                    <a:pt x="331" y="306"/>
                  </a:lnTo>
                  <a:lnTo>
                    <a:pt x="331" y="302"/>
                  </a:lnTo>
                  <a:lnTo>
                    <a:pt x="331" y="302"/>
                  </a:lnTo>
                  <a:lnTo>
                    <a:pt x="331" y="301"/>
                  </a:lnTo>
                  <a:lnTo>
                    <a:pt x="331" y="300"/>
                  </a:lnTo>
                  <a:lnTo>
                    <a:pt x="331" y="299"/>
                  </a:lnTo>
                  <a:lnTo>
                    <a:pt x="330" y="297"/>
                  </a:lnTo>
                  <a:lnTo>
                    <a:pt x="330" y="296"/>
                  </a:lnTo>
                  <a:lnTo>
                    <a:pt x="329" y="293"/>
                  </a:lnTo>
                  <a:lnTo>
                    <a:pt x="329" y="291"/>
                  </a:lnTo>
                  <a:lnTo>
                    <a:pt x="328" y="290"/>
                  </a:lnTo>
                  <a:lnTo>
                    <a:pt x="328" y="290"/>
                  </a:lnTo>
                  <a:lnTo>
                    <a:pt x="328" y="289"/>
                  </a:lnTo>
                  <a:lnTo>
                    <a:pt x="327" y="288"/>
                  </a:lnTo>
                  <a:lnTo>
                    <a:pt x="326" y="288"/>
                  </a:lnTo>
                  <a:lnTo>
                    <a:pt x="325" y="287"/>
                  </a:lnTo>
                  <a:lnTo>
                    <a:pt x="325" y="287"/>
                  </a:lnTo>
                  <a:lnTo>
                    <a:pt x="323" y="286"/>
                  </a:lnTo>
                  <a:lnTo>
                    <a:pt x="322" y="286"/>
                  </a:lnTo>
                  <a:lnTo>
                    <a:pt x="321" y="286"/>
                  </a:lnTo>
                  <a:lnTo>
                    <a:pt x="319" y="285"/>
                  </a:lnTo>
                  <a:lnTo>
                    <a:pt x="317" y="285"/>
                  </a:lnTo>
                  <a:lnTo>
                    <a:pt x="316" y="285"/>
                  </a:lnTo>
                  <a:lnTo>
                    <a:pt x="313" y="285"/>
                  </a:lnTo>
                  <a:lnTo>
                    <a:pt x="311" y="285"/>
                  </a:lnTo>
                  <a:lnTo>
                    <a:pt x="310" y="285"/>
                  </a:lnTo>
                  <a:lnTo>
                    <a:pt x="309" y="285"/>
                  </a:lnTo>
                  <a:lnTo>
                    <a:pt x="308" y="284"/>
                  </a:lnTo>
                  <a:lnTo>
                    <a:pt x="306" y="284"/>
                  </a:lnTo>
                  <a:lnTo>
                    <a:pt x="306" y="284"/>
                  </a:lnTo>
                  <a:lnTo>
                    <a:pt x="305" y="283"/>
                  </a:lnTo>
                  <a:lnTo>
                    <a:pt x="304" y="283"/>
                  </a:lnTo>
                  <a:lnTo>
                    <a:pt x="303" y="283"/>
                  </a:lnTo>
                  <a:lnTo>
                    <a:pt x="302" y="282"/>
                  </a:lnTo>
                  <a:lnTo>
                    <a:pt x="300" y="280"/>
                  </a:lnTo>
                  <a:lnTo>
                    <a:pt x="300" y="280"/>
                  </a:lnTo>
                  <a:lnTo>
                    <a:pt x="299" y="279"/>
                  </a:lnTo>
                  <a:lnTo>
                    <a:pt x="299" y="279"/>
                  </a:lnTo>
                  <a:lnTo>
                    <a:pt x="298" y="279"/>
                  </a:lnTo>
                  <a:lnTo>
                    <a:pt x="297" y="278"/>
                  </a:lnTo>
                  <a:lnTo>
                    <a:pt x="297" y="278"/>
                  </a:lnTo>
                  <a:lnTo>
                    <a:pt x="293" y="278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8" y="277"/>
                  </a:lnTo>
                  <a:lnTo>
                    <a:pt x="287" y="277"/>
                  </a:lnTo>
                  <a:lnTo>
                    <a:pt x="286" y="277"/>
                  </a:lnTo>
                  <a:lnTo>
                    <a:pt x="285" y="277"/>
                  </a:lnTo>
                  <a:lnTo>
                    <a:pt x="284" y="278"/>
                  </a:lnTo>
                  <a:lnTo>
                    <a:pt x="283" y="278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1"/>
                  </a:lnTo>
                  <a:lnTo>
                    <a:pt x="280" y="283"/>
                  </a:lnTo>
                  <a:lnTo>
                    <a:pt x="280" y="284"/>
                  </a:lnTo>
                  <a:lnTo>
                    <a:pt x="280" y="286"/>
                  </a:lnTo>
                  <a:lnTo>
                    <a:pt x="279" y="287"/>
                  </a:lnTo>
                  <a:lnTo>
                    <a:pt x="278" y="288"/>
                  </a:lnTo>
                  <a:lnTo>
                    <a:pt x="277" y="290"/>
                  </a:lnTo>
                  <a:lnTo>
                    <a:pt x="277" y="292"/>
                  </a:lnTo>
                  <a:lnTo>
                    <a:pt x="277" y="292"/>
                  </a:lnTo>
                  <a:lnTo>
                    <a:pt x="276" y="294"/>
                  </a:lnTo>
                  <a:lnTo>
                    <a:pt x="276" y="295"/>
                  </a:lnTo>
                  <a:lnTo>
                    <a:pt x="275" y="296"/>
                  </a:lnTo>
                  <a:lnTo>
                    <a:pt x="275" y="297"/>
                  </a:lnTo>
                  <a:lnTo>
                    <a:pt x="275" y="298"/>
                  </a:lnTo>
                  <a:lnTo>
                    <a:pt x="275" y="300"/>
                  </a:lnTo>
                  <a:lnTo>
                    <a:pt x="275" y="302"/>
                  </a:lnTo>
                  <a:lnTo>
                    <a:pt x="275" y="304"/>
                  </a:lnTo>
                  <a:lnTo>
                    <a:pt x="275" y="305"/>
                  </a:lnTo>
                  <a:lnTo>
                    <a:pt x="276" y="308"/>
                  </a:lnTo>
                  <a:lnTo>
                    <a:pt x="276" y="313"/>
                  </a:lnTo>
                  <a:lnTo>
                    <a:pt x="277" y="316"/>
                  </a:lnTo>
                  <a:lnTo>
                    <a:pt x="277" y="318"/>
                  </a:lnTo>
                  <a:lnTo>
                    <a:pt x="278" y="323"/>
                  </a:lnTo>
                  <a:lnTo>
                    <a:pt x="278" y="325"/>
                  </a:lnTo>
                  <a:lnTo>
                    <a:pt x="278" y="326"/>
                  </a:lnTo>
                  <a:lnTo>
                    <a:pt x="278" y="328"/>
                  </a:lnTo>
                  <a:lnTo>
                    <a:pt x="278" y="329"/>
                  </a:lnTo>
                  <a:lnTo>
                    <a:pt x="278" y="330"/>
                  </a:lnTo>
                  <a:lnTo>
                    <a:pt x="278" y="332"/>
                  </a:lnTo>
                  <a:lnTo>
                    <a:pt x="277" y="334"/>
                  </a:lnTo>
                  <a:lnTo>
                    <a:pt x="276" y="340"/>
                  </a:lnTo>
                  <a:lnTo>
                    <a:pt x="276" y="341"/>
                  </a:lnTo>
                  <a:lnTo>
                    <a:pt x="275" y="343"/>
                  </a:lnTo>
                  <a:lnTo>
                    <a:pt x="275" y="344"/>
                  </a:lnTo>
                  <a:lnTo>
                    <a:pt x="274" y="346"/>
                  </a:lnTo>
                  <a:lnTo>
                    <a:pt x="274" y="347"/>
                  </a:lnTo>
                  <a:lnTo>
                    <a:pt x="274" y="349"/>
                  </a:lnTo>
                  <a:lnTo>
                    <a:pt x="274" y="350"/>
                  </a:lnTo>
                  <a:lnTo>
                    <a:pt x="274" y="354"/>
                  </a:lnTo>
                  <a:lnTo>
                    <a:pt x="274" y="355"/>
                  </a:lnTo>
                  <a:lnTo>
                    <a:pt x="274" y="356"/>
                  </a:lnTo>
                  <a:lnTo>
                    <a:pt x="274" y="357"/>
                  </a:lnTo>
                  <a:lnTo>
                    <a:pt x="274" y="357"/>
                  </a:lnTo>
                  <a:lnTo>
                    <a:pt x="273" y="360"/>
                  </a:lnTo>
                  <a:lnTo>
                    <a:pt x="272" y="361"/>
                  </a:lnTo>
                  <a:lnTo>
                    <a:pt x="271" y="366"/>
                  </a:lnTo>
                  <a:lnTo>
                    <a:pt x="270" y="369"/>
                  </a:lnTo>
                  <a:lnTo>
                    <a:pt x="270" y="370"/>
                  </a:lnTo>
                  <a:lnTo>
                    <a:pt x="269" y="372"/>
                  </a:lnTo>
                  <a:lnTo>
                    <a:pt x="269" y="374"/>
                  </a:lnTo>
                  <a:lnTo>
                    <a:pt x="269" y="376"/>
                  </a:lnTo>
                  <a:lnTo>
                    <a:pt x="269" y="377"/>
                  </a:lnTo>
                  <a:lnTo>
                    <a:pt x="269" y="378"/>
                  </a:lnTo>
                  <a:lnTo>
                    <a:pt x="269" y="379"/>
                  </a:lnTo>
                  <a:lnTo>
                    <a:pt x="269" y="380"/>
                  </a:lnTo>
                  <a:lnTo>
                    <a:pt x="269" y="381"/>
                  </a:lnTo>
                  <a:lnTo>
                    <a:pt x="270" y="382"/>
                  </a:lnTo>
                  <a:lnTo>
                    <a:pt x="270" y="383"/>
                  </a:lnTo>
                  <a:lnTo>
                    <a:pt x="272" y="385"/>
                  </a:lnTo>
                  <a:lnTo>
                    <a:pt x="272" y="386"/>
                  </a:lnTo>
                  <a:lnTo>
                    <a:pt x="272" y="386"/>
                  </a:lnTo>
                  <a:lnTo>
                    <a:pt x="273" y="387"/>
                  </a:lnTo>
                  <a:lnTo>
                    <a:pt x="273" y="388"/>
                  </a:lnTo>
                  <a:lnTo>
                    <a:pt x="273" y="389"/>
                  </a:lnTo>
                  <a:lnTo>
                    <a:pt x="273" y="390"/>
                  </a:lnTo>
                  <a:lnTo>
                    <a:pt x="272" y="390"/>
                  </a:lnTo>
                  <a:lnTo>
                    <a:pt x="272" y="391"/>
                  </a:lnTo>
                  <a:lnTo>
                    <a:pt x="271" y="392"/>
                  </a:lnTo>
                  <a:lnTo>
                    <a:pt x="271" y="393"/>
                  </a:lnTo>
                  <a:lnTo>
                    <a:pt x="270" y="393"/>
                  </a:lnTo>
                  <a:lnTo>
                    <a:pt x="269" y="394"/>
                  </a:lnTo>
                  <a:lnTo>
                    <a:pt x="268" y="394"/>
                  </a:lnTo>
                  <a:lnTo>
                    <a:pt x="267" y="394"/>
                  </a:lnTo>
                  <a:lnTo>
                    <a:pt x="266" y="394"/>
                  </a:lnTo>
                  <a:lnTo>
                    <a:pt x="264" y="394"/>
                  </a:lnTo>
                  <a:lnTo>
                    <a:pt x="263" y="394"/>
                  </a:lnTo>
                  <a:lnTo>
                    <a:pt x="258" y="392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52" y="391"/>
                  </a:lnTo>
                  <a:lnTo>
                    <a:pt x="248" y="389"/>
                  </a:lnTo>
                  <a:lnTo>
                    <a:pt x="247" y="389"/>
                  </a:lnTo>
                  <a:lnTo>
                    <a:pt x="245" y="388"/>
                  </a:lnTo>
                  <a:lnTo>
                    <a:pt x="244" y="388"/>
                  </a:lnTo>
                  <a:lnTo>
                    <a:pt x="243" y="387"/>
                  </a:lnTo>
                  <a:lnTo>
                    <a:pt x="242" y="387"/>
                  </a:lnTo>
                  <a:lnTo>
                    <a:pt x="238" y="386"/>
                  </a:lnTo>
                  <a:lnTo>
                    <a:pt x="235" y="386"/>
                  </a:lnTo>
                  <a:lnTo>
                    <a:pt x="233" y="385"/>
                  </a:lnTo>
                  <a:lnTo>
                    <a:pt x="232" y="385"/>
                  </a:lnTo>
                  <a:lnTo>
                    <a:pt x="231" y="385"/>
                  </a:lnTo>
                  <a:lnTo>
                    <a:pt x="230" y="385"/>
                  </a:lnTo>
                  <a:lnTo>
                    <a:pt x="229" y="386"/>
                  </a:lnTo>
                  <a:lnTo>
                    <a:pt x="229" y="386"/>
                  </a:lnTo>
                  <a:lnTo>
                    <a:pt x="228" y="386"/>
                  </a:lnTo>
                  <a:lnTo>
                    <a:pt x="227" y="386"/>
                  </a:lnTo>
                  <a:lnTo>
                    <a:pt x="227" y="387"/>
                  </a:lnTo>
                  <a:lnTo>
                    <a:pt x="226" y="387"/>
                  </a:lnTo>
                  <a:lnTo>
                    <a:pt x="225" y="388"/>
                  </a:lnTo>
                  <a:lnTo>
                    <a:pt x="225" y="388"/>
                  </a:lnTo>
                  <a:lnTo>
                    <a:pt x="224" y="389"/>
                  </a:lnTo>
                  <a:lnTo>
                    <a:pt x="224" y="389"/>
                  </a:lnTo>
                  <a:lnTo>
                    <a:pt x="224" y="390"/>
                  </a:lnTo>
                  <a:lnTo>
                    <a:pt x="224" y="391"/>
                  </a:lnTo>
                  <a:lnTo>
                    <a:pt x="223" y="394"/>
                  </a:lnTo>
                  <a:lnTo>
                    <a:pt x="222" y="399"/>
                  </a:lnTo>
                  <a:lnTo>
                    <a:pt x="222" y="401"/>
                  </a:lnTo>
                  <a:lnTo>
                    <a:pt x="221" y="404"/>
                  </a:lnTo>
                  <a:lnTo>
                    <a:pt x="221" y="405"/>
                  </a:lnTo>
                  <a:lnTo>
                    <a:pt x="221" y="406"/>
                  </a:lnTo>
                  <a:lnTo>
                    <a:pt x="220" y="407"/>
                  </a:lnTo>
                  <a:lnTo>
                    <a:pt x="220" y="408"/>
                  </a:lnTo>
                  <a:lnTo>
                    <a:pt x="219" y="409"/>
                  </a:lnTo>
                  <a:lnTo>
                    <a:pt x="218" y="410"/>
                  </a:lnTo>
                  <a:lnTo>
                    <a:pt x="217" y="412"/>
                  </a:lnTo>
                  <a:lnTo>
                    <a:pt x="215" y="414"/>
                  </a:lnTo>
                  <a:lnTo>
                    <a:pt x="214" y="415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1" y="417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4E08A60D-CA27-873A-4BFD-45357963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3556"/>
              <a:ext cx="373" cy="465"/>
            </a:xfrm>
            <a:custGeom>
              <a:avLst/>
              <a:gdLst>
                <a:gd name="T0" fmla="*/ 359 w 373"/>
                <a:gd name="T1" fmla="*/ 411 h 465"/>
                <a:gd name="T2" fmla="*/ 357 w 373"/>
                <a:gd name="T3" fmla="*/ 438 h 465"/>
                <a:gd name="T4" fmla="*/ 352 w 373"/>
                <a:gd name="T5" fmla="*/ 452 h 465"/>
                <a:gd name="T6" fmla="*/ 344 w 373"/>
                <a:gd name="T7" fmla="*/ 453 h 465"/>
                <a:gd name="T8" fmla="*/ 334 w 373"/>
                <a:gd name="T9" fmla="*/ 444 h 465"/>
                <a:gd name="T10" fmla="*/ 324 w 373"/>
                <a:gd name="T11" fmla="*/ 435 h 465"/>
                <a:gd name="T12" fmla="*/ 310 w 373"/>
                <a:gd name="T13" fmla="*/ 441 h 465"/>
                <a:gd name="T14" fmla="*/ 292 w 373"/>
                <a:gd name="T15" fmla="*/ 436 h 465"/>
                <a:gd name="T16" fmla="*/ 279 w 373"/>
                <a:gd name="T17" fmla="*/ 425 h 465"/>
                <a:gd name="T18" fmla="*/ 275 w 373"/>
                <a:gd name="T19" fmla="*/ 434 h 465"/>
                <a:gd name="T20" fmla="*/ 269 w 373"/>
                <a:gd name="T21" fmla="*/ 448 h 465"/>
                <a:gd name="T22" fmla="*/ 257 w 373"/>
                <a:gd name="T23" fmla="*/ 451 h 465"/>
                <a:gd name="T24" fmla="*/ 249 w 373"/>
                <a:gd name="T25" fmla="*/ 459 h 465"/>
                <a:gd name="T26" fmla="*/ 239 w 373"/>
                <a:gd name="T27" fmla="*/ 465 h 465"/>
                <a:gd name="T28" fmla="*/ 212 w 373"/>
                <a:gd name="T29" fmla="*/ 454 h 465"/>
                <a:gd name="T30" fmla="*/ 183 w 373"/>
                <a:gd name="T31" fmla="*/ 448 h 465"/>
                <a:gd name="T32" fmla="*/ 165 w 373"/>
                <a:gd name="T33" fmla="*/ 447 h 465"/>
                <a:gd name="T34" fmla="*/ 152 w 373"/>
                <a:gd name="T35" fmla="*/ 438 h 465"/>
                <a:gd name="T36" fmla="*/ 144 w 373"/>
                <a:gd name="T37" fmla="*/ 428 h 465"/>
                <a:gd name="T38" fmla="*/ 147 w 373"/>
                <a:gd name="T39" fmla="*/ 421 h 465"/>
                <a:gd name="T40" fmla="*/ 154 w 373"/>
                <a:gd name="T41" fmla="*/ 414 h 465"/>
                <a:gd name="T42" fmla="*/ 143 w 373"/>
                <a:gd name="T43" fmla="*/ 401 h 465"/>
                <a:gd name="T44" fmla="*/ 128 w 373"/>
                <a:gd name="T45" fmla="*/ 391 h 465"/>
                <a:gd name="T46" fmla="*/ 108 w 373"/>
                <a:gd name="T47" fmla="*/ 375 h 465"/>
                <a:gd name="T48" fmla="*/ 86 w 373"/>
                <a:gd name="T49" fmla="*/ 363 h 465"/>
                <a:gd name="T50" fmla="*/ 79 w 373"/>
                <a:gd name="T51" fmla="*/ 352 h 465"/>
                <a:gd name="T52" fmla="*/ 70 w 373"/>
                <a:gd name="T53" fmla="*/ 336 h 465"/>
                <a:gd name="T54" fmla="*/ 61 w 373"/>
                <a:gd name="T55" fmla="*/ 318 h 465"/>
                <a:gd name="T56" fmla="*/ 49 w 373"/>
                <a:gd name="T57" fmla="*/ 313 h 465"/>
                <a:gd name="T58" fmla="*/ 34 w 373"/>
                <a:gd name="T59" fmla="*/ 306 h 465"/>
                <a:gd name="T60" fmla="*/ 23 w 373"/>
                <a:gd name="T61" fmla="*/ 283 h 465"/>
                <a:gd name="T62" fmla="*/ 13 w 373"/>
                <a:gd name="T63" fmla="*/ 276 h 465"/>
                <a:gd name="T64" fmla="*/ 3 w 373"/>
                <a:gd name="T65" fmla="*/ 272 h 465"/>
                <a:gd name="T66" fmla="*/ 0 w 373"/>
                <a:gd name="T67" fmla="*/ 259 h 465"/>
                <a:gd name="T68" fmla="*/ 6 w 373"/>
                <a:gd name="T69" fmla="*/ 240 h 465"/>
                <a:gd name="T70" fmla="*/ 16 w 373"/>
                <a:gd name="T71" fmla="*/ 233 h 465"/>
                <a:gd name="T72" fmla="*/ 17 w 373"/>
                <a:gd name="T73" fmla="*/ 219 h 465"/>
                <a:gd name="T74" fmla="*/ 16 w 373"/>
                <a:gd name="T75" fmla="*/ 200 h 465"/>
                <a:gd name="T76" fmla="*/ 25 w 373"/>
                <a:gd name="T77" fmla="*/ 192 h 465"/>
                <a:gd name="T78" fmla="*/ 38 w 373"/>
                <a:gd name="T79" fmla="*/ 185 h 465"/>
                <a:gd name="T80" fmla="*/ 49 w 373"/>
                <a:gd name="T81" fmla="*/ 173 h 465"/>
                <a:gd name="T82" fmla="*/ 53 w 373"/>
                <a:gd name="T83" fmla="*/ 163 h 465"/>
                <a:gd name="T84" fmla="*/ 48 w 373"/>
                <a:gd name="T85" fmla="*/ 151 h 465"/>
                <a:gd name="T86" fmla="*/ 56 w 373"/>
                <a:gd name="T87" fmla="*/ 144 h 465"/>
                <a:gd name="T88" fmla="*/ 54 w 373"/>
                <a:gd name="T89" fmla="*/ 137 h 465"/>
                <a:gd name="T90" fmla="*/ 53 w 373"/>
                <a:gd name="T91" fmla="*/ 131 h 465"/>
                <a:gd name="T92" fmla="*/ 59 w 373"/>
                <a:gd name="T93" fmla="*/ 125 h 465"/>
                <a:gd name="T94" fmla="*/ 60 w 373"/>
                <a:gd name="T95" fmla="*/ 115 h 465"/>
                <a:gd name="T96" fmla="*/ 73 w 373"/>
                <a:gd name="T97" fmla="*/ 99 h 465"/>
                <a:gd name="T98" fmla="*/ 76 w 373"/>
                <a:gd name="T99" fmla="*/ 86 h 465"/>
                <a:gd name="T100" fmla="*/ 71 w 373"/>
                <a:gd name="T101" fmla="*/ 66 h 465"/>
                <a:gd name="T102" fmla="*/ 74 w 373"/>
                <a:gd name="T103" fmla="*/ 52 h 465"/>
                <a:gd name="T104" fmla="*/ 70 w 373"/>
                <a:gd name="T105" fmla="*/ 35 h 465"/>
                <a:gd name="T106" fmla="*/ 70 w 373"/>
                <a:gd name="T107" fmla="*/ 23 h 465"/>
                <a:gd name="T108" fmla="*/ 76 w 373"/>
                <a:gd name="T109" fmla="*/ 21 h 465"/>
                <a:gd name="T110" fmla="*/ 90 w 373"/>
                <a:gd name="T111" fmla="*/ 18 h 465"/>
                <a:gd name="T112" fmla="*/ 101 w 373"/>
                <a:gd name="T113" fmla="*/ 18 h 465"/>
                <a:gd name="T114" fmla="*/ 111 w 373"/>
                <a:gd name="T115" fmla="*/ 23 h 465"/>
                <a:gd name="T116" fmla="*/ 122 w 373"/>
                <a:gd name="T117" fmla="*/ 25 h 465"/>
                <a:gd name="T118" fmla="*/ 135 w 373"/>
                <a:gd name="T119" fmla="*/ 20 h 465"/>
                <a:gd name="T120" fmla="*/ 144 w 373"/>
                <a:gd name="T121" fmla="*/ 13 h 465"/>
                <a:gd name="T122" fmla="*/ 157 w 373"/>
                <a:gd name="T123" fmla="*/ 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465">
                  <a:moveTo>
                    <a:pt x="373" y="394"/>
                  </a:moveTo>
                  <a:lnTo>
                    <a:pt x="370" y="396"/>
                  </a:lnTo>
                  <a:lnTo>
                    <a:pt x="367" y="399"/>
                  </a:lnTo>
                  <a:lnTo>
                    <a:pt x="365" y="400"/>
                  </a:lnTo>
                  <a:lnTo>
                    <a:pt x="364" y="401"/>
                  </a:lnTo>
                  <a:lnTo>
                    <a:pt x="364" y="402"/>
                  </a:lnTo>
                  <a:lnTo>
                    <a:pt x="363" y="403"/>
                  </a:lnTo>
                  <a:lnTo>
                    <a:pt x="362" y="404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60" y="409"/>
                  </a:lnTo>
                  <a:lnTo>
                    <a:pt x="359" y="411"/>
                  </a:lnTo>
                  <a:lnTo>
                    <a:pt x="358" y="414"/>
                  </a:lnTo>
                  <a:lnTo>
                    <a:pt x="358" y="415"/>
                  </a:lnTo>
                  <a:lnTo>
                    <a:pt x="357" y="417"/>
                  </a:lnTo>
                  <a:lnTo>
                    <a:pt x="357" y="418"/>
                  </a:lnTo>
                  <a:lnTo>
                    <a:pt x="357" y="420"/>
                  </a:lnTo>
                  <a:lnTo>
                    <a:pt x="357" y="421"/>
                  </a:lnTo>
                  <a:lnTo>
                    <a:pt x="357" y="422"/>
                  </a:lnTo>
                  <a:lnTo>
                    <a:pt x="357" y="428"/>
                  </a:lnTo>
                  <a:lnTo>
                    <a:pt x="357" y="430"/>
                  </a:lnTo>
                  <a:lnTo>
                    <a:pt x="357" y="431"/>
                  </a:lnTo>
                  <a:lnTo>
                    <a:pt x="357" y="433"/>
                  </a:lnTo>
                  <a:lnTo>
                    <a:pt x="357" y="438"/>
                  </a:lnTo>
                  <a:lnTo>
                    <a:pt x="357" y="441"/>
                  </a:lnTo>
                  <a:lnTo>
                    <a:pt x="357" y="442"/>
                  </a:lnTo>
                  <a:lnTo>
                    <a:pt x="356" y="444"/>
                  </a:lnTo>
                  <a:lnTo>
                    <a:pt x="356" y="445"/>
                  </a:lnTo>
                  <a:lnTo>
                    <a:pt x="356" y="446"/>
                  </a:lnTo>
                  <a:lnTo>
                    <a:pt x="356" y="446"/>
                  </a:lnTo>
                  <a:lnTo>
                    <a:pt x="355" y="448"/>
                  </a:lnTo>
                  <a:lnTo>
                    <a:pt x="355" y="449"/>
                  </a:lnTo>
                  <a:lnTo>
                    <a:pt x="354" y="450"/>
                  </a:lnTo>
                  <a:lnTo>
                    <a:pt x="353" y="450"/>
                  </a:lnTo>
                  <a:lnTo>
                    <a:pt x="353" y="451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1" y="452"/>
                  </a:lnTo>
                  <a:lnTo>
                    <a:pt x="351" y="453"/>
                  </a:lnTo>
                  <a:lnTo>
                    <a:pt x="350" y="453"/>
                  </a:lnTo>
                  <a:lnTo>
                    <a:pt x="350" y="453"/>
                  </a:lnTo>
                  <a:lnTo>
                    <a:pt x="349" y="453"/>
                  </a:lnTo>
                  <a:lnTo>
                    <a:pt x="348" y="453"/>
                  </a:lnTo>
                  <a:lnTo>
                    <a:pt x="347" y="453"/>
                  </a:lnTo>
                  <a:lnTo>
                    <a:pt x="346" y="453"/>
                  </a:lnTo>
                  <a:lnTo>
                    <a:pt x="345" y="453"/>
                  </a:lnTo>
                  <a:lnTo>
                    <a:pt x="344" y="453"/>
                  </a:lnTo>
                  <a:lnTo>
                    <a:pt x="344" y="453"/>
                  </a:lnTo>
                  <a:lnTo>
                    <a:pt x="343" y="453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1" y="451"/>
                  </a:lnTo>
                  <a:lnTo>
                    <a:pt x="340" y="451"/>
                  </a:lnTo>
                  <a:lnTo>
                    <a:pt x="340" y="450"/>
                  </a:lnTo>
                  <a:lnTo>
                    <a:pt x="337" y="447"/>
                  </a:lnTo>
                  <a:lnTo>
                    <a:pt x="337" y="446"/>
                  </a:lnTo>
                  <a:lnTo>
                    <a:pt x="336" y="445"/>
                  </a:lnTo>
                  <a:lnTo>
                    <a:pt x="335" y="444"/>
                  </a:lnTo>
                  <a:lnTo>
                    <a:pt x="334" y="444"/>
                  </a:lnTo>
                  <a:lnTo>
                    <a:pt x="333" y="444"/>
                  </a:lnTo>
                  <a:lnTo>
                    <a:pt x="332" y="443"/>
                  </a:lnTo>
                  <a:lnTo>
                    <a:pt x="331" y="443"/>
                  </a:lnTo>
                  <a:lnTo>
                    <a:pt x="330" y="442"/>
                  </a:lnTo>
                  <a:lnTo>
                    <a:pt x="330" y="442"/>
                  </a:lnTo>
                  <a:lnTo>
                    <a:pt x="329" y="441"/>
                  </a:lnTo>
                  <a:lnTo>
                    <a:pt x="328" y="440"/>
                  </a:lnTo>
                  <a:lnTo>
                    <a:pt x="328" y="440"/>
                  </a:lnTo>
                  <a:lnTo>
                    <a:pt x="326" y="438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4" y="435"/>
                  </a:lnTo>
                  <a:lnTo>
                    <a:pt x="324" y="435"/>
                  </a:lnTo>
                  <a:lnTo>
                    <a:pt x="323" y="435"/>
                  </a:lnTo>
                  <a:lnTo>
                    <a:pt x="323" y="435"/>
                  </a:lnTo>
                  <a:lnTo>
                    <a:pt x="322" y="435"/>
                  </a:lnTo>
                  <a:lnTo>
                    <a:pt x="322" y="435"/>
                  </a:lnTo>
                  <a:lnTo>
                    <a:pt x="321" y="435"/>
                  </a:lnTo>
                  <a:lnTo>
                    <a:pt x="320" y="436"/>
                  </a:lnTo>
                  <a:lnTo>
                    <a:pt x="314" y="439"/>
                  </a:lnTo>
                  <a:lnTo>
                    <a:pt x="313" y="440"/>
                  </a:lnTo>
                  <a:lnTo>
                    <a:pt x="312" y="441"/>
                  </a:lnTo>
                  <a:lnTo>
                    <a:pt x="311" y="441"/>
                  </a:lnTo>
                  <a:lnTo>
                    <a:pt x="310" y="441"/>
                  </a:lnTo>
                  <a:lnTo>
                    <a:pt x="309" y="442"/>
                  </a:lnTo>
                  <a:lnTo>
                    <a:pt x="308" y="442"/>
                  </a:lnTo>
                  <a:lnTo>
                    <a:pt x="308" y="442"/>
                  </a:lnTo>
                  <a:lnTo>
                    <a:pt x="307" y="442"/>
                  </a:lnTo>
                  <a:lnTo>
                    <a:pt x="307" y="441"/>
                  </a:lnTo>
                  <a:lnTo>
                    <a:pt x="306" y="441"/>
                  </a:lnTo>
                  <a:lnTo>
                    <a:pt x="303" y="440"/>
                  </a:lnTo>
                  <a:lnTo>
                    <a:pt x="299" y="439"/>
                  </a:lnTo>
                  <a:lnTo>
                    <a:pt x="297" y="438"/>
                  </a:lnTo>
                  <a:lnTo>
                    <a:pt x="294" y="437"/>
                  </a:lnTo>
                  <a:lnTo>
                    <a:pt x="293" y="436"/>
                  </a:lnTo>
                  <a:lnTo>
                    <a:pt x="292" y="436"/>
                  </a:lnTo>
                  <a:lnTo>
                    <a:pt x="291" y="435"/>
                  </a:lnTo>
                  <a:lnTo>
                    <a:pt x="290" y="434"/>
                  </a:lnTo>
                  <a:lnTo>
                    <a:pt x="289" y="434"/>
                  </a:lnTo>
                  <a:lnTo>
                    <a:pt x="288" y="432"/>
                  </a:lnTo>
                  <a:lnTo>
                    <a:pt x="287" y="431"/>
                  </a:lnTo>
                  <a:lnTo>
                    <a:pt x="284" y="428"/>
                  </a:lnTo>
                  <a:lnTo>
                    <a:pt x="283" y="427"/>
                  </a:lnTo>
                  <a:lnTo>
                    <a:pt x="282" y="426"/>
                  </a:lnTo>
                  <a:lnTo>
                    <a:pt x="281" y="426"/>
                  </a:lnTo>
                  <a:lnTo>
                    <a:pt x="280" y="425"/>
                  </a:lnTo>
                  <a:lnTo>
                    <a:pt x="280" y="425"/>
                  </a:lnTo>
                  <a:lnTo>
                    <a:pt x="279" y="425"/>
                  </a:lnTo>
                  <a:lnTo>
                    <a:pt x="279" y="426"/>
                  </a:lnTo>
                  <a:lnTo>
                    <a:pt x="278" y="426"/>
                  </a:lnTo>
                  <a:lnTo>
                    <a:pt x="278" y="426"/>
                  </a:lnTo>
                  <a:lnTo>
                    <a:pt x="277" y="426"/>
                  </a:lnTo>
                  <a:lnTo>
                    <a:pt x="277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8"/>
                  </a:lnTo>
                  <a:lnTo>
                    <a:pt x="275" y="428"/>
                  </a:lnTo>
                  <a:lnTo>
                    <a:pt x="275" y="429"/>
                  </a:lnTo>
                  <a:lnTo>
                    <a:pt x="275" y="433"/>
                  </a:lnTo>
                  <a:lnTo>
                    <a:pt x="275" y="434"/>
                  </a:lnTo>
                  <a:lnTo>
                    <a:pt x="275" y="435"/>
                  </a:lnTo>
                  <a:lnTo>
                    <a:pt x="274" y="437"/>
                  </a:lnTo>
                  <a:lnTo>
                    <a:pt x="274" y="440"/>
                  </a:lnTo>
                  <a:lnTo>
                    <a:pt x="273" y="441"/>
                  </a:lnTo>
                  <a:lnTo>
                    <a:pt x="273" y="442"/>
                  </a:lnTo>
                  <a:lnTo>
                    <a:pt x="272" y="443"/>
                  </a:lnTo>
                  <a:lnTo>
                    <a:pt x="272" y="444"/>
                  </a:lnTo>
                  <a:lnTo>
                    <a:pt x="271" y="445"/>
                  </a:lnTo>
                  <a:lnTo>
                    <a:pt x="270" y="446"/>
                  </a:lnTo>
                  <a:lnTo>
                    <a:pt x="270" y="447"/>
                  </a:lnTo>
                  <a:lnTo>
                    <a:pt x="269" y="447"/>
                  </a:lnTo>
                  <a:lnTo>
                    <a:pt x="269" y="448"/>
                  </a:lnTo>
                  <a:lnTo>
                    <a:pt x="268" y="449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6" y="449"/>
                  </a:lnTo>
                  <a:lnTo>
                    <a:pt x="265" y="449"/>
                  </a:lnTo>
                  <a:lnTo>
                    <a:pt x="262" y="449"/>
                  </a:lnTo>
                  <a:lnTo>
                    <a:pt x="260" y="450"/>
                  </a:lnTo>
                  <a:lnTo>
                    <a:pt x="259" y="450"/>
                  </a:lnTo>
                  <a:lnTo>
                    <a:pt x="259" y="450"/>
                  </a:lnTo>
                  <a:lnTo>
                    <a:pt x="258" y="450"/>
                  </a:lnTo>
                  <a:lnTo>
                    <a:pt x="257" y="451"/>
                  </a:lnTo>
                  <a:lnTo>
                    <a:pt x="257" y="451"/>
                  </a:lnTo>
                  <a:lnTo>
                    <a:pt x="257" y="452"/>
                  </a:lnTo>
                  <a:lnTo>
                    <a:pt x="256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5" y="456"/>
                  </a:lnTo>
                  <a:lnTo>
                    <a:pt x="255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3" y="458"/>
                  </a:lnTo>
                  <a:lnTo>
                    <a:pt x="252" y="458"/>
                  </a:lnTo>
                  <a:lnTo>
                    <a:pt x="251" y="459"/>
                  </a:lnTo>
                  <a:lnTo>
                    <a:pt x="249" y="459"/>
                  </a:lnTo>
                  <a:lnTo>
                    <a:pt x="248" y="459"/>
                  </a:lnTo>
                  <a:lnTo>
                    <a:pt x="248" y="459"/>
                  </a:lnTo>
                  <a:lnTo>
                    <a:pt x="247" y="460"/>
                  </a:lnTo>
                  <a:lnTo>
                    <a:pt x="246" y="460"/>
                  </a:lnTo>
                  <a:lnTo>
                    <a:pt x="245" y="461"/>
                  </a:lnTo>
                  <a:lnTo>
                    <a:pt x="244" y="463"/>
                  </a:lnTo>
                  <a:lnTo>
                    <a:pt x="243" y="464"/>
                  </a:lnTo>
                  <a:lnTo>
                    <a:pt x="242" y="464"/>
                  </a:lnTo>
                  <a:lnTo>
                    <a:pt x="241" y="464"/>
                  </a:lnTo>
                  <a:lnTo>
                    <a:pt x="241" y="465"/>
                  </a:lnTo>
                  <a:lnTo>
                    <a:pt x="240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38" y="465"/>
                  </a:lnTo>
                  <a:lnTo>
                    <a:pt x="237" y="464"/>
                  </a:lnTo>
                  <a:lnTo>
                    <a:pt x="235" y="463"/>
                  </a:lnTo>
                  <a:lnTo>
                    <a:pt x="231" y="462"/>
                  </a:lnTo>
                  <a:lnTo>
                    <a:pt x="228" y="460"/>
                  </a:lnTo>
                  <a:lnTo>
                    <a:pt x="221" y="456"/>
                  </a:lnTo>
                  <a:lnTo>
                    <a:pt x="219" y="455"/>
                  </a:lnTo>
                  <a:lnTo>
                    <a:pt x="218" y="455"/>
                  </a:lnTo>
                  <a:lnTo>
                    <a:pt x="217" y="455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11" y="454"/>
                  </a:lnTo>
                  <a:lnTo>
                    <a:pt x="209" y="453"/>
                  </a:lnTo>
                  <a:lnTo>
                    <a:pt x="205" y="452"/>
                  </a:lnTo>
                  <a:lnTo>
                    <a:pt x="200" y="450"/>
                  </a:lnTo>
                  <a:lnTo>
                    <a:pt x="197" y="449"/>
                  </a:lnTo>
                  <a:lnTo>
                    <a:pt x="196" y="449"/>
                  </a:lnTo>
                  <a:lnTo>
                    <a:pt x="195" y="449"/>
                  </a:lnTo>
                  <a:lnTo>
                    <a:pt x="193" y="449"/>
                  </a:lnTo>
                  <a:lnTo>
                    <a:pt x="190" y="449"/>
                  </a:lnTo>
                  <a:lnTo>
                    <a:pt x="188" y="449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1" y="448"/>
                  </a:lnTo>
                  <a:lnTo>
                    <a:pt x="179" y="447"/>
                  </a:lnTo>
                  <a:lnTo>
                    <a:pt x="178" y="447"/>
                  </a:lnTo>
                  <a:lnTo>
                    <a:pt x="177" y="447"/>
                  </a:lnTo>
                  <a:lnTo>
                    <a:pt x="173" y="448"/>
                  </a:lnTo>
                  <a:lnTo>
                    <a:pt x="172" y="448"/>
                  </a:lnTo>
                  <a:lnTo>
                    <a:pt x="171" y="448"/>
                  </a:lnTo>
                  <a:lnTo>
                    <a:pt x="170" y="448"/>
                  </a:lnTo>
                  <a:lnTo>
                    <a:pt x="169" y="448"/>
                  </a:lnTo>
                  <a:lnTo>
                    <a:pt x="168" y="448"/>
                  </a:lnTo>
                  <a:lnTo>
                    <a:pt x="168" y="448"/>
                  </a:lnTo>
                  <a:lnTo>
                    <a:pt x="165" y="447"/>
                  </a:lnTo>
                  <a:lnTo>
                    <a:pt x="164" y="446"/>
                  </a:lnTo>
                  <a:lnTo>
                    <a:pt x="163" y="446"/>
                  </a:lnTo>
                  <a:lnTo>
                    <a:pt x="160" y="445"/>
                  </a:lnTo>
                  <a:lnTo>
                    <a:pt x="159" y="445"/>
                  </a:lnTo>
                  <a:lnTo>
                    <a:pt x="158" y="444"/>
                  </a:lnTo>
                  <a:lnTo>
                    <a:pt x="158" y="444"/>
                  </a:lnTo>
                  <a:lnTo>
                    <a:pt x="156" y="443"/>
                  </a:lnTo>
                  <a:lnTo>
                    <a:pt x="154" y="441"/>
                  </a:lnTo>
                  <a:lnTo>
                    <a:pt x="154" y="441"/>
                  </a:lnTo>
                  <a:lnTo>
                    <a:pt x="153" y="440"/>
                  </a:lnTo>
                  <a:lnTo>
                    <a:pt x="152" y="439"/>
                  </a:lnTo>
                  <a:lnTo>
                    <a:pt x="152" y="438"/>
                  </a:lnTo>
                  <a:lnTo>
                    <a:pt x="151" y="438"/>
                  </a:lnTo>
                  <a:lnTo>
                    <a:pt x="151" y="437"/>
                  </a:lnTo>
                  <a:lnTo>
                    <a:pt x="150" y="434"/>
                  </a:lnTo>
                  <a:lnTo>
                    <a:pt x="149" y="434"/>
                  </a:lnTo>
                  <a:lnTo>
                    <a:pt x="149" y="433"/>
                  </a:lnTo>
                  <a:lnTo>
                    <a:pt x="149" y="433"/>
                  </a:lnTo>
                  <a:lnTo>
                    <a:pt x="148" y="432"/>
                  </a:lnTo>
                  <a:lnTo>
                    <a:pt x="147" y="431"/>
                  </a:lnTo>
                  <a:lnTo>
                    <a:pt x="146" y="431"/>
                  </a:lnTo>
                  <a:lnTo>
                    <a:pt x="145" y="430"/>
                  </a:lnTo>
                  <a:lnTo>
                    <a:pt x="145" y="429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4" y="426"/>
                  </a:lnTo>
                  <a:lnTo>
                    <a:pt x="144" y="426"/>
                  </a:lnTo>
                  <a:lnTo>
                    <a:pt x="144" y="425"/>
                  </a:lnTo>
                  <a:lnTo>
                    <a:pt x="144" y="425"/>
                  </a:lnTo>
                  <a:lnTo>
                    <a:pt x="144" y="424"/>
                  </a:lnTo>
                  <a:lnTo>
                    <a:pt x="144" y="424"/>
                  </a:lnTo>
                  <a:lnTo>
                    <a:pt x="145" y="423"/>
                  </a:lnTo>
                  <a:lnTo>
                    <a:pt x="145" y="422"/>
                  </a:lnTo>
                  <a:lnTo>
                    <a:pt x="146" y="422"/>
                  </a:lnTo>
                  <a:lnTo>
                    <a:pt x="147" y="421"/>
                  </a:lnTo>
                  <a:lnTo>
                    <a:pt x="148" y="420"/>
                  </a:lnTo>
                  <a:lnTo>
                    <a:pt x="149" y="420"/>
                  </a:lnTo>
                  <a:lnTo>
                    <a:pt x="151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3" y="418"/>
                  </a:lnTo>
                  <a:lnTo>
                    <a:pt x="153" y="417"/>
                  </a:lnTo>
                  <a:lnTo>
                    <a:pt x="153" y="417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54" y="415"/>
                  </a:lnTo>
                  <a:lnTo>
                    <a:pt x="154" y="414"/>
                  </a:lnTo>
                  <a:lnTo>
                    <a:pt x="154" y="413"/>
                  </a:lnTo>
                  <a:lnTo>
                    <a:pt x="154" y="412"/>
                  </a:lnTo>
                  <a:lnTo>
                    <a:pt x="153" y="411"/>
                  </a:lnTo>
                  <a:lnTo>
                    <a:pt x="153" y="411"/>
                  </a:lnTo>
                  <a:lnTo>
                    <a:pt x="152" y="410"/>
                  </a:lnTo>
                  <a:lnTo>
                    <a:pt x="152" y="410"/>
                  </a:lnTo>
                  <a:lnTo>
                    <a:pt x="149" y="408"/>
                  </a:lnTo>
                  <a:lnTo>
                    <a:pt x="148" y="407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4" y="402"/>
                  </a:lnTo>
                  <a:lnTo>
                    <a:pt x="143" y="401"/>
                  </a:lnTo>
                  <a:lnTo>
                    <a:pt x="142" y="399"/>
                  </a:lnTo>
                  <a:lnTo>
                    <a:pt x="140" y="398"/>
                  </a:lnTo>
                  <a:lnTo>
                    <a:pt x="139" y="397"/>
                  </a:lnTo>
                  <a:lnTo>
                    <a:pt x="139" y="396"/>
                  </a:lnTo>
                  <a:lnTo>
                    <a:pt x="138" y="396"/>
                  </a:lnTo>
                  <a:lnTo>
                    <a:pt x="137" y="395"/>
                  </a:lnTo>
                  <a:lnTo>
                    <a:pt x="136" y="395"/>
                  </a:lnTo>
                  <a:lnTo>
                    <a:pt x="136" y="395"/>
                  </a:lnTo>
                  <a:lnTo>
                    <a:pt x="134" y="394"/>
                  </a:lnTo>
                  <a:lnTo>
                    <a:pt x="131" y="393"/>
                  </a:lnTo>
                  <a:lnTo>
                    <a:pt x="129" y="392"/>
                  </a:lnTo>
                  <a:lnTo>
                    <a:pt x="128" y="391"/>
                  </a:lnTo>
                  <a:lnTo>
                    <a:pt x="126" y="391"/>
                  </a:lnTo>
                  <a:lnTo>
                    <a:pt x="125" y="391"/>
                  </a:lnTo>
                  <a:lnTo>
                    <a:pt x="125" y="390"/>
                  </a:lnTo>
                  <a:lnTo>
                    <a:pt x="121" y="387"/>
                  </a:lnTo>
                  <a:lnTo>
                    <a:pt x="120" y="387"/>
                  </a:lnTo>
                  <a:lnTo>
                    <a:pt x="119" y="386"/>
                  </a:lnTo>
                  <a:lnTo>
                    <a:pt x="118" y="385"/>
                  </a:lnTo>
                  <a:lnTo>
                    <a:pt x="117" y="384"/>
                  </a:lnTo>
                  <a:lnTo>
                    <a:pt x="116" y="382"/>
                  </a:lnTo>
                  <a:lnTo>
                    <a:pt x="111" y="378"/>
                  </a:lnTo>
                  <a:lnTo>
                    <a:pt x="110" y="376"/>
                  </a:lnTo>
                  <a:lnTo>
                    <a:pt x="108" y="375"/>
                  </a:lnTo>
                  <a:lnTo>
                    <a:pt x="107" y="373"/>
                  </a:lnTo>
                  <a:lnTo>
                    <a:pt x="105" y="372"/>
                  </a:lnTo>
                  <a:lnTo>
                    <a:pt x="104" y="371"/>
                  </a:lnTo>
                  <a:lnTo>
                    <a:pt x="103" y="370"/>
                  </a:lnTo>
                  <a:lnTo>
                    <a:pt x="101" y="369"/>
                  </a:lnTo>
                  <a:lnTo>
                    <a:pt x="100" y="368"/>
                  </a:lnTo>
                  <a:lnTo>
                    <a:pt x="99" y="367"/>
                  </a:lnTo>
                  <a:lnTo>
                    <a:pt x="97" y="367"/>
                  </a:lnTo>
                  <a:lnTo>
                    <a:pt x="96" y="366"/>
                  </a:lnTo>
                  <a:lnTo>
                    <a:pt x="94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5" y="363"/>
                  </a:lnTo>
                  <a:lnTo>
                    <a:pt x="84" y="362"/>
                  </a:lnTo>
                  <a:lnTo>
                    <a:pt x="83" y="362"/>
                  </a:lnTo>
                  <a:lnTo>
                    <a:pt x="82" y="361"/>
                  </a:lnTo>
                  <a:lnTo>
                    <a:pt x="82" y="361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9"/>
                  </a:lnTo>
                  <a:lnTo>
                    <a:pt x="80" y="357"/>
                  </a:lnTo>
                  <a:lnTo>
                    <a:pt x="80" y="356"/>
                  </a:lnTo>
                  <a:lnTo>
                    <a:pt x="80" y="353"/>
                  </a:lnTo>
                  <a:lnTo>
                    <a:pt x="79" y="352"/>
                  </a:lnTo>
                  <a:lnTo>
                    <a:pt x="79" y="351"/>
                  </a:lnTo>
                  <a:lnTo>
                    <a:pt x="79" y="350"/>
                  </a:lnTo>
                  <a:lnTo>
                    <a:pt x="78" y="348"/>
                  </a:lnTo>
                  <a:lnTo>
                    <a:pt x="76" y="343"/>
                  </a:lnTo>
                  <a:lnTo>
                    <a:pt x="75" y="342"/>
                  </a:lnTo>
                  <a:lnTo>
                    <a:pt x="75" y="341"/>
                  </a:lnTo>
                  <a:lnTo>
                    <a:pt x="74" y="339"/>
                  </a:lnTo>
                  <a:lnTo>
                    <a:pt x="73" y="339"/>
                  </a:lnTo>
                  <a:lnTo>
                    <a:pt x="73" y="338"/>
                  </a:lnTo>
                  <a:lnTo>
                    <a:pt x="72" y="338"/>
                  </a:lnTo>
                  <a:lnTo>
                    <a:pt x="72" y="337"/>
                  </a:lnTo>
                  <a:lnTo>
                    <a:pt x="70" y="336"/>
                  </a:lnTo>
                  <a:lnTo>
                    <a:pt x="69" y="335"/>
                  </a:lnTo>
                  <a:lnTo>
                    <a:pt x="68" y="334"/>
                  </a:lnTo>
                  <a:lnTo>
                    <a:pt x="68" y="334"/>
                  </a:lnTo>
                  <a:lnTo>
                    <a:pt x="67" y="333"/>
                  </a:lnTo>
                  <a:lnTo>
                    <a:pt x="67" y="332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5" y="329"/>
                  </a:lnTo>
                  <a:lnTo>
                    <a:pt x="65" y="328"/>
                  </a:lnTo>
                  <a:lnTo>
                    <a:pt x="63" y="324"/>
                  </a:lnTo>
                  <a:lnTo>
                    <a:pt x="62" y="320"/>
                  </a:lnTo>
                  <a:lnTo>
                    <a:pt x="61" y="318"/>
                  </a:lnTo>
                  <a:lnTo>
                    <a:pt x="60" y="317"/>
                  </a:lnTo>
                  <a:lnTo>
                    <a:pt x="60" y="316"/>
                  </a:lnTo>
                  <a:lnTo>
                    <a:pt x="59" y="315"/>
                  </a:lnTo>
                  <a:lnTo>
                    <a:pt x="58" y="314"/>
                  </a:lnTo>
                  <a:lnTo>
                    <a:pt x="58" y="313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6" y="313"/>
                  </a:lnTo>
                  <a:lnTo>
                    <a:pt x="55" y="313"/>
                  </a:lnTo>
                  <a:lnTo>
                    <a:pt x="52" y="313"/>
                  </a:lnTo>
                  <a:lnTo>
                    <a:pt x="51" y="313"/>
                  </a:lnTo>
                  <a:lnTo>
                    <a:pt x="49" y="313"/>
                  </a:lnTo>
                  <a:lnTo>
                    <a:pt x="46" y="313"/>
                  </a:lnTo>
                  <a:lnTo>
                    <a:pt x="45" y="313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2" y="312"/>
                  </a:lnTo>
                  <a:lnTo>
                    <a:pt x="41" y="312"/>
                  </a:lnTo>
                  <a:lnTo>
                    <a:pt x="40" y="312"/>
                  </a:lnTo>
                  <a:lnTo>
                    <a:pt x="40" y="311"/>
                  </a:lnTo>
                  <a:lnTo>
                    <a:pt x="39" y="311"/>
                  </a:lnTo>
                  <a:lnTo>
                    <a:pt x="38" y="310"/>
                  </a:lnTo>
                  <a:lnTo>
                    <a:pt x="35" y="307"/>
                  </a:lnTo>
                  <a:lnTo>
                    <a:pt x="34" y="306"/>
                  </a:lnTo>
                  <a:lnTo>
                    <a:pt x="34" y="305"/>
                  </a:lnTo>
                  <a:lnTo>
                    <a:pt x="33" y="303"/>
                  </a:lnTo>
                  <a:lnTo>
                    <a:pt x="32" y="301"/>
                  </a:lnTo>
                  <a:lnTo>
                    <a:pt x="30" y="298"/>
                  </a:lnTo>
                  <a:lnTo>
                    <a:pt x="29" y="295"/>
                  </a:lnTo>
                  <a:lnTo>
                    <a:pt x="28" y="292"/>
                  </a:lnTo>
                  <a:lnTo>
                    <a:pt x="26" y="288"/>
                  </a:lnTo>
                  <a:lnTo>
                    <a:pt x="25" y="285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2" y="283"/>
                  </a:lnTo>
                  <a:lnTo>
                    <a:pt x="20" y="283"/>
                  </a:lnTo>
                  <a:lnTo>
                    <a:pt x="20" y="283"/>
                  </a:lnTo>
                  <a:lnTo>
                    <a:pt x="19" y="282"/>
                  </a:lnTo>
                  <a:lnTo>
                    <a:pt x="18" y="282"/>
                  </a:lnTo>
                  <a:lnTo>
                    <a:pt x="17" y="281"/>
                  </a:lnTo>
                  <a:lnTo>
                    <a:pt x="16" y="280"/>
                  </a:lnTo>
                  <a:lnTo>
                    <a:pt x="16" y="279"/>
                  </a:lnTo>
                  <a:lnTo>
                    <a:pt x="14" y="277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2" y="275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7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2" y="272"/>
                  </a:lnTo>
                  <a:lnTo>
                    <a:pt x="2" y="272"/>
                  </a:lnTo>
                  <a:lnTo>
                    <a:pt x="2" y="271"/>
                  </a:lnTo>
                  <a:lnTo>
                    <a:pt x="1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0" y="262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1" y="251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2" y="247"/>
                  </a:lnTo>
                  <a:lnTo>
                    <a:pt x="3" y="246"/>
                  </a:lnTo>
                  <a:lnTo>
                    <a:pt x="4" y="243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7" y="239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10" y="236"/>
                  </a:lnTo>
                  <a:lnTo>
                    <a:pt x="11" y="236"/>
                  </a:lnTo>
                  <a:lnTo>
                    <a:pt x="13" y="235"/>
                  </a:lnTo>
                  <a:lnTo>
                    <a:pt x="14" y="235"/>
                  </a:lnTo>
                  <a:lnTo>
                    <a:pt x="14" y="234"/>
                  </a:lnTo>
                  <a:lnTo>
                    <a:pt x="15" y="233"/>
                  </a:lnTo>
                  <a:lnTo>
                    <a:pt x="16" y="233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1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9"/>
                  </a:lnTo>
                  <a:lnTo>
                    <a:pt x="18" y="228"/>
                  </a:lnTo>
                  <a:lnTo>
                    <a:pt x="18" y="227"/>
                  </a:lnTo>
                  <a:lnTo>
                    <a:pt x="18" y="226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7" y="219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5" y="214"/>
                  </a:lnTo>
                  <a:lnTo>
                    <a:pt x="15" y="212"/>
                  </a:lnTo>
                  <a:lnTo>
                    <a:pt x="15" y="211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09"/>
                  </a:lnTo>
                  <a:lnTo>
                    <a:pt x="16" y="206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0" y="191"/>
                  </a:lnTo>
                  <a:lnTo>
                    <a:pt x="21" y="191"/>
                  </a:lnTo>
                  <a:lnTo>
                    <a:pt x="24" y="191"/>
                  </a:lnTo>
                  <a:lnTo>
                    <a:pt x="25" y="192"/>
                  </a:lnTo>
                  <a:lnTo>
                    <a:pt x="26" y="192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30" y="191"/>
                  </a:lnTo>
                  <a:lnTo>
                    <a:pt x="31" y="191"/>
                  </a:lnTo>
                  <a:lnTo>
                    <a:pt x="32" y="190"/>
                  </a:lnTo>
                  <a:lnTo>
                    <a:pt x="33" y="189"/>
                  </a:lnTo>
                  <a:lnTo>
                    <a:pt x="35" y="188"/>
                  </a:lnTo>
                  <a:lnTo>
                    <a:pt x="38" y="186"/>
                  </a:lnTo>
                  <a:lnTo>
                    <a:pt x="38" y="185"/>
                  </a:lnTo>
                  <a:lnTo>
                    <a:pt x="40" y="185"/>
                  </a:lnTo>
                  <a:lnTo>
                    <a:pt x="41" y="184"/>
                  </a:lnTo>
                  <a:lnTo>
                    <a:pt x="44" y="183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6" y="182"/>
                  </a:lnTo>
                  <a:lnTo>
                    <a:pt x="46" y="181"/>
                  </a:lnTo>
                  <a:lnTo>
                    <a:pt x="47" y="178"/>
                  </a:lnTo>
                  <a:lnTo>
                    <a:pt x="48" y="175"/>
                  </a:lnTo>
                  <a:lnTo>
                    <a:pt x="48" y="174"/>
                  </a:lnTo>
                  <a:lnTo>
                    <a:pt x="49" y="173"/>
                  </a:lnTo>
                  <a:lnTo>
                    <a:pt x="49" y="172"/>
                  </a:lnTo>
                  <a:lnTo>
                    <a:pt x="50" y="171"/>
                  </a:lnTo>
                  <a:lnTo>
                    <a:pt x="51" y="170"/>
                  </a:lnTo>
                  <a:lnTo>
                    <a:pt x="52" y="169"/>
                  </a:lnTo>
                  <a:lnTo>
                    <a:pt x="53" y="168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7"/>
                  </a:lnTo>
                  <a:lnTo>
                    <a:pt x="53" y="166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3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1"/>
                  </a:lnTo>
                  <a:lnTo>
                    <a:pt x="50" y="159"/>
                  </a:lnTo>
                  <a:lnTo>
                    <a:pt x="50" y="158"/>
                  </a:lnTo>
                  <a:lnTo>
                    <a:pt x="49" y="156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8" y="151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9"/>
                  </a:lnTo>
                  <a:lnTo>
                    <a:pt x="51" y="148"/>
                  </a:lnTo>
                  <a:lnTo>
                    <a:pt x="52" y="146"/>
                  </a:lnTo>
                  <a:lnTo>
                    <a:pt x="53" y="146"/>
                  </a:lnTo>
                  <a:lnTo>
                    <a:pt x="53" y="145"/>
                  </a:lnTo>
                  <a:lnTo>
                    <a:pt x="55" y="145"/>
                  </a:lnTo>
                  <a:lnTo>
                    <a:pt x="55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7" y="143"/>
                  </a:lnTo>
                  <a:lnTo>
                    <a:pt x="57" y="142"/>
                  </a:lnTo>
                  <a:lnTo>
                    <a:pt x="57" y="141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9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2" y="135"/>
                  </a:lnTo>
                  <a:lnTo>
                    <a:pt x="52" y="134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1"/>
                  </a:lnTo>
                  <a:lnTo>
                    <a:pt x="53" y="130"/>
                  </a:lnTo>
                  <a:lnTo>
                    <a:pt x="53" y="130"/>
                  </a:lnTo>
                  <a:lnTo>
                    <a:pt x="54" y="130"/>
                  </a:lnTo>
                  <a:lnTo>
                    <a:pt x="56" y="129"/>
                  </a:lnTo>
                  <a:lnTo>
                    <a:pt x="56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5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58" y="122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9" y="118"/>
                  </a:lnTo>
                  <a:lnTo>
                    <a:pt x="59" y="117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60" y="115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4" y="112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69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2" y="101"/>
                  </a:lnTo>
                  <a:lnTo>
                    <a:pt x="73" y="99"/>
                  </a:lnTo>
                  <a:lnTo>
                    <a:pt x="74" y="98"/>
                  </a:lnTo>
                  <a:lnTo>
                    <a:pt x="75" y="96"/>
                  </a:lnTo>
                  <a:lnTo>
                    <a:pt x="76" y="95"/>
                  </a:lnTo>
                  <a:lnTo>
                    <a:pt x="76" y="94"/>
                  </a:lnTo>
                  <a:lnTo>
                    <a:pt x="76" y="93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89"/>
                  </a:lnTo>
                  <a:lnTo>
                    <a:pt x="77" y="88"/>
                  </a:lnTo>
                  <a:lnTo>
                    <a:pt x="77" y="87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0" y="75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3" y="61"/>
                  </a:lnTo>
                  <a:lnTo>
                    <a:pt x="75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4"/>
                  </a:lnTo>
                  <a:lnTo>
                    <a:pt x="74" y="52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4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4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80" y="20"/>
                  </a:lnTo>
                  <a:lnTo>
                    <a:pt x="83" y="19"/>
                  </a:lnTo>
                  <a:lnTo>
                    <a:pt x="85" y="18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8" y="20"/>
                  </a:lnTo>
                  <a:lnTo>
                    <a:pt x="108" y="21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5" y="23"/>
                  </a:lnTo>
                  <a:lnTo>
                    <a:pt x="126" y="23"/>
                  </a:lnTo>
                  <a:lnTo>
                    <a:pt x="127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2" y="17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4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3" y="3"/>
                  </a:lnTo>
                  <a:lnTo>
                    <a:pt x="156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:a16="http://schemas.microsoft.com/office/drawing/2014/main" id="{14B658D5-6B2A-D1C0-87D7-1E6F5529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427" cy="537"/>
            </a:xfrm>
            <a:custGeom>
              <a:avLst/>
              <a:gdLst>
                <a:gd name="T0" fmla="*/ 287 w 427"/>
                <a:gd name="T1" fmla="*/ 2 h 537"/>
                <a:gd name="T2" fmla="*/ 301 w 427"/>
                <a:gd name="T3" fmla="*/ 10 h 537"/>
                <a:gd name="T4" fmla="*/ 305 w 427"/>
                <a:gd name="T5" fmla="*/ 23 h 537"/>
                <a:gd name="T6" fmla="*/ 311 w 427"/>
                <a:gd name="T7" fmla="*/ 34 h 537"/>
                <a:gd name="T8" fmla="*/ 338 w 427"/>
                <a:gd name="T9" fmla="*/ 34 h 537"/>
                <a:gd name="T10" fmla="*/ 337 w 427"/>
                <a:gd name="T11" fmla="*/ 41 h 537"/>
                <a:gd name="T12" fmla="*/ 367 w 427"/>
                <a:gd name="T13" fmla="*/ 52 h 537"/>
                <a:gd name="T14" fmla="*/ 394 w 427"/>
                <a:gd name="T15" fmla="*/ 66 h 537"/>
                <a:gd name="T16" fmla="*/ 406 w 427"/>
                <a:gd name="T17" fmla="*/ 77 h 537"/>
                <a:gd name="T18" fmla="*/ 427 w 427"/>
                <a:gd name="T19" fmla="*/ 109 h 537"/>
                <a:gd name="T20" fmla="*/ 419 w 427"/>
                <a:gd name="T21" fmla="*/ 137 h 537"/>
                <a:gd name="T22" fmla="*/ 416 w 427"/>
                <a:gd name="T23" fmla="*/ 160 h 537"/>
                <a:gd name="T24" fmla="*/ 408 w 427"/>
                <a:gd name="T25" fmla="*/ 178 h 537"/>
                <a:gd name="T26" fmla="*/ 390 w 427"/>
                <a:gd name="T27" fmla="*/ 179 h 537"/>
                <a:gd name="T28" fmla="*/ 382 w 427"/>
                <a:gd name="T29" fmla="*/ 198 h 537"/>
                <a:gd name="T30" fmla="*/ 386 w 427"/>
                <a:gd name="T31" fmla="*/ 204 h 537"/>
                <a:gd name="T32" fmla="*/ 388 w 427"/>
                <a:gd name="T33" fmla="*/ 215 h 537"/>
                <a:gd name="T34" fmla="*/ 388 w 427"/>
                <a:gd name="T35" fmla="*/ 223 h 537"/>
                <a:gd name="T36" fmla="*/ 401 w 427"/>
                <a:gd name="T37" fmla="*/ 232 h 537"/>
                <a:gd name="T38" fmla="*/ 404 w 427"/>
                <a:gd name="T39" fmla="*/ 262 h 537"/>
                <a:gd name="T40" fmla="*/ 403 w 427"/>
                <a:gd name="T41" fmla="*/ 279 h 537"/>
                <a:gd name="T42" fmla="*/ 407 w 427"/>
                <a:gd name="T43" fmla="*/ 305 h 537"/>
                <a:gd name="T44" fmla="*/ 405 w 427"/>
                <a:gd name="T45" fmla="*/ 334 h 537"/>
                <a:gd name="T46" fmla="*/ 404 w 427"/>
                <a:gd name="T47" fmla="*/ 362 h 537"/>
                <a:gd name="T48" fmla="*/ 392 w 427"/>
                <a:gd name="T49" fmla="*/ 381 h 537"/>
                <a:gd name="T50" fmla="*/ 387 w 427"/>
                <a:gd name="T51" fmla="*/ 391 h 537"/>
                <a:gd name="T52" fmla="*/ 384 w 427"/>
                <a:gd name="T53" fmla="*/ 404 h 537"/>
                <a:gd name="T54" fmla="*/ 387 w 427"/>
                <a:gd name="T55" fmla="*/ 422 h 537"/>
                <a:gd name="T56" fmla="*/ 369 w 427"/>
                <a:gd name="T57" fmla="*/ 443 h 537"/>
                <a:gd name="T58" fmla="*/ 351 w 427"/>
                <a:gd name="T59" fmla="*/ 453 h 537"/>
                <a:gd name="T60" fmla="*/ 352 w 427"/>
                <a:gd name="T61" fmla="*/ 485 h 537"/>
                <a:gd name="T62" fmla="*/ 336 w 427"/>
                <a:gd name="T63" fmla="*/ 503 h 537"/>
                <a:gd name="T64" fmla="*/ 334 w 427"/>
                <a:gd name="T65" fmla="*/ 526 h 537"/>
                <a:gd name="T66" fmla="*/ 318 w 427"/>
                <a:gd name="T67" fmla="*/ 537 h 537"/>
                <a:gd name="T68" fmla="*/ 292 w 427"/>
                <a:gd name="T69" fmla="*/ 509 h 537"/>
                <a:gd name="T70" fmla="*/ 269 w 427"/>
                <a:gd name="T71" fmla="*/ 465 h 537"/>
                <a:gd name="T72" fmla="*/ 236 w 427"/>
                <a:gd name="T73" fmla="*/ 454 h 537"/>
                <a:gd name="T74" fmla="*/ 220 w 427"/>
                <a:gd name="T75" fmla="*/ 429 h 537"/>
                <a:gd name="T76" fmla="*/ 191 w 427"/>
                <a:gd name="T77" fmla="*/ 392 h 537"/>
                <a:gd name="T78" fmla="*/ 176 w 427"/>
                <a:gd name="T79" fmla="*/ 366 h 537"/>
                <a:gd name="T80" fmla="*/ 141 w 427"/>
                <a:gd name="T81" fmla="*/ 347 h 537"/>
                <a:gd name="T82" fmla="*/ 117 w 427"/>
                <a:gd name="T83" fmla="*/ 349 h 537"/>
                <a:gd name="T84" fmla="*/ 98 w 427"/>
                <a:gd name="T85" fmla="*/ 322 h 537"/>
                <a:gd name="T86" fmla="*/ 71 w 427"/>
                <a:gd name="T87" fmla="*/ 300 h 537"/>
                <a:gd name="T88" fmla="*/ 66 w 427"/>
                <a:gd name="T89" fmla="*/ 263 h 537"/>
                <a:gd name="T90" fmla="*/ 48 w 427"/>
                <a:gd name="T91" fmla="*/ 242 h 537"/>
                <a:gd name="T92" fmla="*/ 35 w 427"/>
                <a:gd name="T93" fmla="*/ 213 h 537"/>
                <a:gd name="T94" fmla="*/ 32 w 427"/>
                <a:gd name="T95" fmla="*/ 188 h 537"/>
                <a:gd name="T96" fmla="*/ 1 w 427"/>
                <a:gd name="T97" fmla="*/ 160 h 537"/>
                <a:gd name="T98" fmla="*/ 18 w 427"/>
                <a:gd name="T99" fmla="*/ 138 h 537"/>
                <a:gd name="T100" fmla="*/ 35 w 427"/>
                <a:gd name="T101" fmla="*/ 103 h 537"/>
                <a:gd name="T102" fmla="*/ 63 w 427"/>
                <a:gd name="T103" fmla="*/ 87 h 537"/>
                <a:gd name="T104" fmla="*/ 83 w 427"/>
                <a:gd name="T105" fmla="*/ 91 h 537"/>
                <a:gd name="T106" fmla="*/ 95 w 427"/>
                <a:gd name="T107" fmla="*/ 79 h 537"/>
                <a:gd name="T108" fmla="*/ 124 w 427"/>
                <a:gd name="T109" fmla="*/ 74 h 537"/>
                <a:gd name="T110" fmla="*/ 156 w 427"/>
                <a:gd name="T111" fmla="*/ 80 h 537"/>
                <a:gd name="T112" fmla="*/ 170 w 427"/>
                <a:gd name="T113" fmla="*/ 60 h 537"/>
                <a:gd name="T114" fmla="*/ 200 w 427"/>
                <a:gd name="T115" fmla="*/ 41 h 537"/>
                <a:gd name="T116" fmla="*/ 229 w 427"/>
                <a:gd name="T117" fmla="*/ 36 h 537"/>
                <a:gd name="T118" fmla="*/ 250 w 427"/>
                <a:gd name="T119" fmla="*/ 46 h 537"/>
                <a:gd name="T120" fmla="*/ 259 w 427"/>
                <a:gd name="T121" fmla="*/ 24 h 537"/>
                <a:gd name="T122" fmla="*/ 267 w 427"/>
                <a:gd name="T123" fmla="*/ 11 h 537"/>
                <a:gd name="T124" fmla="*/ 278 w 427"/>
                <a:gd name="T125" fmla="*/ 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537">
                  <a:moveTo>
                    <a:pt x="279" y="1"/>
                  </a:moveTo>
                  <a:lnTo>
                    <a:pt x="279" y="1"/>
                  </a:lnTo>
                  <a:lnTo>
                    <a:pt x="279" y="1"/>
                  </a:lnTo>
                  <a:lnTo>
                    <a:pt x="279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80" y="5"/>
                  </a:lnTo>
                  <a:lnTo>
                    <a:pt x="280" y="5"/>
                  </a:lnTo>
                  <a:lnTo>
                    <a:pt x="280" y="6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7" y="2"/>
                  </a:lnTo>
                  <a:lnTo>
                    <a:pt x="288" y="1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9" y="3"/>
                  </a:lnTo>
                  <a:lnTo>
                    <a:pt x="289" y="4"/>
                  </a:lnTo>
                  <a:lnTo>
                    <a:pt x="291" y="6"/>
                  </a:lnTo>
                  <a:lnTo>
                    <a:pt x="292" y="7"/>
                  </a:lnTo>
                  <a:lnTo>
                    <a:pt x="292" y="8"/>
                  </a:lnTo>
                  <a:lnTo>
                    <a:pt x="293" y="10"/>
                  </a:lnTo>
                  <a:lnTo>
                    <a:pt x="293" y="11"/>
                  </a:lnTo>
                  <a:lnTo>
                    <a:pt x="293" y="11"/>
                  </a:lnTo>
                  <a:lnTo>
                    <a:pt x="294" y="11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6" y="12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299" y="11"/>
                  </a:lnTo>
                  <a:lnTo>
                    <a:pt x="301" y="10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3" y="8"/>
                  </a:lnTo>
                  <a:lnTo>
                    <a:pt x="304" y="7"/>
                  </a:lnTo>
                  <a:lnTo>
                    <a:pt x="304" y="8"/>
                  </a:lnTo>
                  <a:lnTo>
                    <a:pt x="304" y="9"/>
                  </a:lnTo>
                  <a:lnTo>
                    <a:pt x="305" y="10"/>
                  </a:lnTo>
                  <a:lnTo>
                    <a:pt x="306" y="11"/>
                  </a:lnTo>
                  <a:lnTo>
                    <a:pt x="307" y="13"/>
                  </a:lnTo>
                  <a:lnTo>
                    <a:pt x="307" y="14"/>
                  </a:lnTo>
                  <a:lnTo>
                    <a:pt x="308" y="14"/>
                  </a:lnTo>
                  <a:lnTo>
                    <a:pt x="308" y="15"/>
                  </a:lnTo>
                  <a:lnTo>
                    <a:pt x="308" y="16"/>
                  </a:lnTo>
                  <a:lnTo>
                    <a:pt x="308" y="17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8" y="19"/>
                  </a:lnTo>
                  <a:lnTo>
                    <a:pt x="307" y="20"/>
                  </a:lnTo>
                  <a:lnTo>
                    <a:pt x="306" y="22"/>
                  </a:lnTo>
                  <a:lnTo>
                    <a:pt x="305" y="23"/>
                  </a:lnTo>
                  <a:lnTo>
                    <a:pt x="304" y="25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2" y="30"/>
                  </a:lnTo>
                  <a:lnTo>
                    <a:pt x="302" y="30"/>
                  </a:lnTo>
                  <a:lnTo>
                    <a:pt x="302" y="31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3" y="33"/>
                  </a:lnTo>
                  <a:lnTo>
                    <a:pt x="303" y="33"/>
                  </a:lnTo>
                  <a:lnTo>
                    <a:pt x="304" y="33"/>
                  </a:lnTo>
                  <a:lnTo>
                    <a:pt x="305" y="33"/>
                  </a:lnTo>
                  <a:lnTo>
                    <a:pt x="308" y="34"/>
                  </a:lnTo>
                  <a:lnTo>
                    <a:pt x="308" y="34"/>
                  </a:lnTo>
                  <a:lnTo>
                    <a:pt x="309" y="34"/>
                  </a:lnTo>
                  <a:lnTo>
                    <a:pt x="309" y="34"/>
                  </a:lnTo>
                  <a:lnTo>
                    <a:pt x="310" y="34"/>
                  </a:lnTo>
                  <a:lnTo>
                    <a:pt x="311" y="34"/>
                  </a:lnTo>
                  <a:lnTo>
                    <a:pt x="312" y="33"/>
                  </a:lnTo>
                  <a:lnTo>
                    <a:pt x="314" y="32"/>
                  </a:lnTo>
                  <a:lnTo>
                    <a:pt x="316" y="32"/>
                  </a:lnTo>
                  <a:lnTo>
                    <a:pt x="317" y="32"/>
                  </a:lnTo>
                  <a:lnTo>
                    <a:pt x="317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2" y="31"/>
                  </a:lnTo>
                  <a:lnTo>
                    <a:pt x="323" y="32"/>
                  </a:lnTo>
                  <a:lnTo>
                    <a:pt x="326" y="32"/>
                  </a:lnTo>
                  <a:lnTo>
                    <a:pt x="327" y="32"/>
                  </a:lnTo>
                  <a:lnTo>
                    <a:pt x="328" y="32"/>
                  </a:lnTo>
                  <a:lnTo>
                    <a:pt x="328" y="32"/>
                  </a:lnTo>
                  <a:lnTo>
                    <a:pt x="331" y="32"/>
                  </a:lnTo>
                  <a:lnTo>
                    <a:pt x="333" y="32"/>
                  </a:lnTo>
                  <a:lnTo>
                    <a:pt x="334" y="32"/>
                  </a:lnTo>
                  <a:lnTo>
                    <a:pt x="334" y="32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7" y="33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38" y="35"/>
                  </a:lnTo>
                  <a:lnTo>
                    <a:pt x="338" y="35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5" y="37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8"/>
                  </a:lnTo>
                  <a:lnTo>
                    <a:pt x="334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0"/>
                  </a:lnTo>
                  <a:lnTo>
                    <a:pt x="336" y="41"/>
                  </a:lnTo>
                  <a:lnTo>
                    <a:pt x="337" y="41"/>
                  </a:lnTo>
                  <a:lnTo>
                    <a:pt x="338" y="42"/>
                  </a:lnTo>
                  <a:lnTo>
                    <a:pt x="339" y="43"/>
                  </a:lnTo>
                  <a:lnTo>
                    <a:pt x="342" y="44"/>
                  </a:lnTo>
                  <a:lnTo>
                    <a:pt x="344" y="45"/>
                  </a:lnTo>
                  <a:lnTo>
                    <a:pt x="346" y="47"/>
                  </a:lnTo>
                  <a:lnTo>
                    <a:pt x="349" y="49"/>
                  </a:lnTo>
                  <a:lnTo>
                    <a:pt x="350" y="50"/>
                  </a:lnTo>
                  <a:lnTo>
                    <a:pt x="352" y="51"/>
                  </a:lnTo>
                  <a:lnTo>
                    <a:pt x="352" y="51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3"/>
                  </a:lnTo>
                  <a:lnTo>
                    <a:pt x="359" y="53"/>
                  </a:lnTo>
                  <a:lnTo>
                    <a:pt x="361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6" y="52"/>
                  </a:lnTo>
                  <a:lnTo>
                    <a:pt x="367" y="52"/>
                  </a:lnTo>
                  <a:lnTo>
                    <a:pt x="370" y="51"/>
                  </a:lnTo>
                  <a:lnTo>
                    <a:pt x="371" y="51"/>
                  </a:lnTo>
                  <a:lnTo>
                    <a:pt x="372" y="51"/>
                  </a:lnTo>
                  <a:lnTo>
                    <a:pt x="374" y="51"/>
                  </a:lnTo>
                  <a:lnTo>
                    <a:pt x="374" y="51"/>
                  </a:lnTo>
                  <a:lnTo>
                    <a:pt x="376" y="51"/>
                  </a:lnTo>
                  <a:lnTo>
                    <a:pt x="376" y="52"/>
                  </a:lnTo>
                  <a:lnTo>
                    <a:pt x="377" y="52"/>
                  </a:lnTo>
                  <a:lnTo>
                    <a:pt x="378" y="52"/>
                  </a:lnTo>
                  <a:lnTo>
                    <a:pt x="378" y="53"/>
                  </a:lnTo>
                  <a:lnTo>
                    <a:pt x="379" y="53"/>
                  </a:lnTo>
                  <a:lnTo>
                    <a:pt x="380" y="54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0"/>
                  </a:lnTo>
                  <a:lnTo>
                    <a:pt x="387" y="62"/>
                  </a:lnTo>
                  <a:lnTo>
                    <a:pt x="390" y="64"/>
                  </a:lnTo>
                  <a:lnTo>
                    <a:pt x="391" y="65"/>
                  </a:lnTo>
                  <a:lnTo>
                    <a:pt x="392" y="66"/>
                  </a:lnTo>
                  <a:lnTo>
                    <a:pt x="393" y="66"/>
                  </a:lnTo>
                  <a:lnTo>
                    <a:pt x="394" y="66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0" y="67"/>
                  </a:lnTo>
                  <a:lnTo>
                    <a:pt x="400" y="68"/>
                  </a:lnTo>
                  <a:lnTo>
                    <a:pt x="401" y="68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3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4" y="75"/>
                  </a:lnTo>
                  <a:lnTo>
                    <a:pt x="404" y="76"/>
                  </a:lnTo>
                  <a:lnTo>
                    <a:pt x="405" y="76"/>
                  </a:lnTo>
                  <a:lnTo>
                    <a:pt x="405" y="76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6" y="77"/>
                  </a:lnTo>
                  <a:lnTo>
                    <a:pt x="406" y="77"/>
                  </a:lnTo>
                  <a:lnTo>
                    <a:pt x="409" y="78"/>
                  </a:lnTo>
                  <a:lnTo>
                    <a:pt x="412" y="79"/>
                  </a:lnTo>
                  <a:lnTo>
                    <a:pt x="414" y="79"/>
                  </a:lnTo>
                  <a:lnTo>
                    <a:pt x="415" y="80"/>
                  </a:lnTo>
                  <a:lnTo>
                    <a:pt x="418" y="81"/>
                  </a:lnTo>
                  <a:lnTo>
                    <a:pt x="424" y="85"/>
                  </a:lnTo>
                  <a:lnTo>
                    <a:pt x="425" y="85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6" y="86"/>
                  </a:lnTo>
                  <a:lnTo>
                    <a:pt x="426" y="87"/>
                  </a:lnTo>
                  <a:lnTo>
                    <a:pt x="426" y="87"/>
                  </a:lnTo>
                  <a:lnTo>
                    <a:pt x="426" y="92"/>
                  </a:lnTo>
                  <a:lnTo>
                    <a:pt x="426" y="94"/>
                  </a:lnTo>
                  <a:lnTo>
                    <a:pt x="427" y="97"/>
                  </a:lnTo>
                  <a:lnTo>
                    <a:pt x="427" y="101"/>
                  </a:lnTo>
                  <a:lnTo>
                    <a:pt x="427" y="103"/>
                  </a:lnTo>
                  <a:lnTo>
                    <a:pt x="427" y="107"/>
                  </a:lnTo>
                  <a:lnTo>
                    <a:pt x="427" y="108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2"/>
                  </a:lnTo>
                  <a:lnTo>
                    <a:pt x="424" y="113"/>
                  </a:lnTo>
                  <a:lnTo>
                    <a:pt x="424" y="114"/>
                  </a:lnTo>
                  <a:lnTo>
                    <a:pt x="423" y="114"/>
                  </a:lnTo>
                  <a:lnTo>
                    <a:pt x="423" y="115"/>
                  </a:lnTo>
                  <a:lnTo>
                    <a:pt x="422" y="116"/>
                  </a:lnTo>
                  <a:lnTo>
                    <a:pt x="422" y="117"/>
                  </a:lnTo>
                  <a:lnTo>
                    <a:pt x="421" y="119"/>
                  </a:lnTo>
                  <a:lnTo>
                    <a:pt x="420" y="122"/>
                  </a:lnTo>
                  <a:lnTo>
                    <a:pt x="420" y="123"/>
                  </a:lnTo>
                  <a:lnTo>
                    <a:pt x="420" y="124"/>
                  </a:lnTo>
                  <a:lnTo>
                    <a:pt x="419" y="129"/>
                  </a:lnTo>
                  <a:lnTo>
                    <a:pt x="419" y="130"/>
                  </a:lnTo>
                  <a:lnTo>
                    <a:pt x="419" y="131"/>
                  </a:lnTo>
                  <a:lnTo>
                    <a:pt x="419" y="134"/>
                  </a:lnTo>
                  <a:lnTo>
                    <a:pt x="419" y="135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8" y="141"/>
                  </a:lnTo>
                  <a:lnTo>
                    <a:pt x="417" y="144"/>
                  </a:lnTo>
                  <a:lnTo>
                    <a:pt x="417" y="144"/>
                  </a:lnTo>
                  <a:lnTo>
                    <a:pt x="417" y="145"/>
                  </a:lnTo>
                  <a:lnTo>
                    <a:pt x="417" y="146"/>
                  </a:lnTo>
                  <a:lnTo>
                    <a:pt x="417" y="147"/>
                  </a:lnTo>
                  <a:lnTo>
                    <a:pt x="417" y="148"/>
                  </a:lnTo>
                  <a:lnTo>
                    <a:pt x="417" y="151"/>
                  </a:lnTo>
                  <a:lnTo>
                    <a:pt x="417" y="152"/>
                  </a:lnTo>
                  <a:lnTo>
                    <a:pt x="416" y="153"/>
                  </a:lnTo>
                  <a:lnTo>
                    <a:pt x="416" y="154"/>
                  </a:lnTo>
                  <a:lnTo>
                    <a:pt x="416" y="155"/>
                  </a:lnTo>
                  <a:lnTo>
                    <a:pt x="416" y="156"/>
                  </a:lnTo>
                  <a:lnTo>
                    <a:pt x="415" y="158"/>
                  </a:lnTo>
                  <a:lnTo>
                    <a:pt x="415" y="159"/>
                  </a:lnTo>
                  <a:lnTo>
                    <a:pt x="415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8" y="161"/>
                  </a:lnTo>
                  <a:lnTo>
                    <a:pt x="418" y="162"/>
                  </a:lnTo>
                  <a:lnTo>
                    <a:pt x="419" y="162"/>
                  </a:lnTo>
                  <a:lnTo>
                    <a:pt x="419" y="163"/>
                  </a:lnTo>
                  <a:lnTo>
                    <a:pt x="420" y="163"/>
                  </a:lnTo>
                  <a:lnTo>
                    <a:pt x="420" y="164"/>
                  </a:lnTo>
                  <a:lnTo>
                    <a:pt x="420" y="165"/>
                  </a:lnTo>
                  <a:lnTo>
                    <a:pt x="420" y="165"/>
                  </a:lnTo>
                  <a:lnTo>
                    <a:pt x="419" y="166"/>
                  </a:lnTo>
                  <a:lnTo>
                    <a:pt x="419" y="166"/>
                  </a:lnTo>
                  <a:lnTo>
                    <a:pt x="419" y="167"/>
                  </a:lnTo>
                  <a:lnTo>
                    <a:pt x="418" y="167"/>
                  </a:lnTo>
                  <a:lnTo>
                    <a:pt x="417" y="168"/>
                  </a:lnTo>
                  <a:lnTo>
                    <a:pt x="414" y="171"/>
                  </a:lnTo>
                  <a:lnTo>
                    <a:pt x="413" y="172"/>
                  </a:lnTo>
                  <a:lnTo>
                    <a:pt x="412" y="173"/>
                  </a:lnTo>
                  <a:lnTo>
                    <a:pt x="411" y="174"/>
                  </a:lnTo>
                  <a:lnTo>
                    <a:pt x="410" y="176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8" y="178"/>
                  </a:lnTo>
                  <a:lnTo>
                    <a:pt x="407" y="178"/>
                  </a:lnTo>
                  <a:lnTo>
                    <a:pt x="407" y="178"/>
                  </a:lnTo>
                  <a:lnTo>
                    <a:pt x="406" y="179"/>
                  </a:lnTo>
                  <a:lnTo>
                    <a:pt x="406" y="179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4" y="178"/>
                  </a:lnTo>
                  <a:lnTo>
                    <a:pt x="403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399" y="176"/>
                  </a:lnTo>
                  <a:lnTo>
                    <a:pt x="398" y="176"/>
                  </a:lnTo>
                  <a:lnTo>
                    <a:pt x="397" y="176"/>
                  </a:lnTo>
                  <a:lnTo>
                    <a:pt x="397" y="176"/>
                  </a:lnTo>
                  <a:lnTo>
                    <a:pt x="396" y="176"/>
                  </a:lnTo>
                  <a:lnTo>
                    <a:pt x="395" y="177"/>
                  </a:lnTo>
                  <a:lnTo>
                    <a:pt x="394" y="177"/>
                  </a:lnTo>
                  <a:lnTo>
                    <a:pt x="392" y="178"/>
                  </a:lnTo>
                  <a:lnTo>
                    <a:pt x="391" y="179"/>
                  </a:lnTo>
                  <a:lnTo>
                    <a:pt x="390" y="179"/>
                  </a:lnTo>
                  <a:lnTo>
                    <a:pt x="389" y="180"/>
                  </a:lnTo>
                  <a:lnTo>
                    <a:pt x="388" y="181"/>
                  </a:lnTo>
                  <a:lnTo>
                    <a:pt x="387" y="182"/>
                  </a:lnTo>
                  <a:lnTo>
                    <a:pt x="386" y="182"/>
                  </a:lnTo>
                  <a:lnTo>
                    <a:pt x="386" y="183"/>
                  </a:lnTo>
                  <a:lnTo>
                    <a:pt x="385" y="185"/>
                  </a:lnTo>
                  <a:lnTo>
                    <a:pt x="382" y="188"/>
                  </a:lnTo>
                  <a:lnTo>
                    <a:pt x="381" y="189"/>
                  </a:lnTo>
                  <a:lnTo>
                    <a:pt x="381" y="190"/>
                  </a:lnTo>
                  <a:lnTo>
                    <a:pt x="381" y="191"/>
                  </a:lnTo>
                  <a:lnTo>
                    <a:pt x="380" y="192"/>
                  </a:lnTo>
                  <a:lnTo>
                    <a:pt x="380" y="193"/>
                  </a:lnTo>
                  <a:lnTo>
                    <a:pt x="380" y="194"/>
                  </a:lnTo>
                  <a:lnTo>
                    <a:pt x="380" y="195"/>
                  </a:lnTo>
                  <a:lnTo>
                    <a:pt x="380" y="195"/>
                  </a:lnTo>
                  <a:lnTo>
                    <a:pt x="380" y="196"/>
                  </a:lnTo>
                  <a:lnTo>
                    <a:pt x="381" y="196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1" y="197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3" y="198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7" y="197"/>
                  </a:lnTo>
                  <a:lnTo>
                    <a:pt x="388" y="197"/>
                  </a:lnTo>
                  <a:lnTo>
                    <a:pt x="390" y="197"/>
                  </a:lnTo>
                  <a:lnTo>
                    <a:pt x="391" y="198"/>
                  </a:lnTo>
                  <a:lnTo>
                    <a:pt x="391" y="198"/>
                  </a:lnTo>
                  <a:lnTo>
                    <a:pt x="392" y="198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199"/>
                  </a:lnTo>
                  <a:lnTo>
                    <a:pt x="393" y="199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2" y="201"/>
                  </a:lnTo>
                  <a:lnTo>
                    <a:pt x="391" y="201"/>
                  </a:lnTo>
                  <a:lnTo>
                    <a:pt x="390" y="202"/>
                  </a:lnTo>
                  <a:lnTo>
                    <a:pt x="386" y="203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6" y="204"/>
                  </a:lnTo>
                  <a:lnTo>
                    <a:pt x="385" y="204"/>
                  </a:lnTo>
                  <a:lnTo>
                    <a:pt x="385" y="205"/>
                  </a:lnTo>
                  <a:lnTo>
                    <a:pt x="385" y="206"/>
                  </a:lnTo>
                  <a:lnTo>
                    <a:pt x="386" y="206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8"/>
                  </a:lnTo>
                  <a:lnTo>
                    <a:pt x="388" y="209"/>
                  </a:lnTo>
                  <a:lnTo>
                    <a:pt x="388" y="210"/>
                  </a:lnTo>
                  <a:lnTo>
                    <a:pt x="389" y="211"/>
                  </a:lnTo>
                  <a:lnTo>
                    <a:pt x="389" y="211"/>
                  </a:lnTo>
                  <a:lnTo>
                    <a:pt x="390" y="212"/>
                  </a:lnTo>
                  <a:lnTo>
                    <a:pt x="390" y="213"/>
                  </a:lnTo>
                  <a:lnTo>
                    <a:pt x="390" y="213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88" y="215"/>
                  </a:lnTo>
                  <a:lnTo>
                    <a:pt x="388" y="215"/>
                  </a:lnTo>
                  <a:lnTo>
                    <a:pt x="387" y="215"/>
                  </a:lnTo>
                  <a:lnTo>
                    <a:pt x="386" y="215"/>
                  </a:lnTo>
                  <a:lnTo>
                    <a:pt x="385" y="215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5" y="217"/>
                  </a:lnTo>
                  <a:lnTo>
                    <a:pt x="386" y="218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88" y="219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1"/>
                  </a:lnTo>
                  <a:lnTo>
                    <a:pt x="388" y="222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9" y="223"/>
                  </a:lnTo>
                  <a:lnTo>
                    <a:pt x="389" y="224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4"/>
                  </a:lnTo>
                  <a:lnTo>
                    <a:pt x="393" y="224"/>
                  </a:lnTo>
                  <a:lnTo>
                    <a:pt x="394" y="224"/>
                  </a:lnTo>
                  <a:lnTo>
                    <a:pt x="395" y="224"/>
                  </a:lnTo>
                  <a:lnTo>
                    <a:pt x="396" y="224"/>
                  </a:lnTo>
                  <a:lnTo>
                    <a:pt x="397" y="225"/>
                  </a:lnTo>
                  <a:lnTo>
                    <a:pt x="398" y="225"/>
                  </a:lnTo>
                  <a:lnTo>
                    <a:pt x="399" y="226"/>
                  </a:lnTo>
                  <a:lnTo>
                    <a:pt x="400" y="226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01" y="229"/>
                  </a:lnTo>
                  <a:lnTo>
                    <a:pt x="401" y="230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1" y="236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42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9" y="249"/>
                  </a:lnTo>
                  <a:lnTo>
                    <a:pt x="399" y="252"/>
                  </a:lnTo>
                  <a:lnTo>
                    <a:pt x="399" y="253"/>
                  </a:lnTo>
                  <a:lnTo>
                    <a:pt x="399" y="257"/>
                  </a:lnTo>
                  <a:lnTo>
                    <a:pt x="399" y="257"/>
                  </a:lnTo>
                  <a:lnTo>
                    <a:pt x="399" y="258"/>
                  </a:lnTo>
                  <a:lnTo>
                    <a:pt x="399" y="258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0" y="259"/>
                  </a:lnTo>
                  <a:lnTo>
                    <a:pt x="401" y="260"/>
                  </a:lnTo>
                  <a:lnTo>
                    <a:pt x="402" y="260"/>
                  </a:lnTo>
                  <a:lnTo>
                    <a:pt x="403" y="261"/>
                  </a:lnTo>
                  <a:lnTo>
                    <a:pt x="404" y="262"/>
                  </a:lnTo>
                  <a:lnTo>
                    <a:pt x="404" y="262"/>
                  </a:lnTo>
                  <a:lnTo>
                    <a:pt x="405" y="263"/>
                  </a:lnTo>
                  <a:lnTo>
                    <a:pt x="405" y="264"/>
                  </a:lnTo>
                  <a:lnTo>
                    <a:pt x="405" y="265"/>
                  </a:lnTo>
                  <a:lnTo>
                    <a:pt x="406" y="267"/>
                  </a:lnTo>
                  <a:lnTo>
                    <a:pt x="406" y="268"/>
                  </a:lnTo>
                  <a:lnTo>
                    <a:pt x="406" y="269"/>
                  </a:lnTo>
                  <a:lnTo>
                    <a:pt x="406" y="270"/>
                  </a:lnTo>
                  <a:lnTo>
                    <a:pt x="406" y="271"/>
                  </a:lnTo>
                  <a:lnTo>
                    <a:pt x="406" y="273"/>
                  </a:lnTo>
                  <a:lnTo>
                    <a:pt x="406" y="274"/>
                  </a:lnTo>
                  <a:lnTo>
                    <a:pt x="406" y="275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5" y="276"/>
                  </a:lnTo>
                  <a:lnTo>
                    <a:pt x="404" y="277"/>
                  </a:lnTo>
                  <a:lnTo>
                    <a:pt x="404" y="278"/>
                  </a:lnTo>
                  <a:lnTo>
                    <a:pt x="404" y="278"/>
                  </a:lnTo>
                  <a:lnTo>
                    <a:pt x="403" y="279"/>
                  </a:lnTo>
                  <a:lnTo>
                    <a:pt x="402" y="284"/>
                  </a:lnTo>
                  <a:lnTo>
                    <a:pt x="402" y="285"/>
                  </a:lnTo>
                  <a:lnTo>
                    <a:pt x="402" y="285"/>
                  </a:lnTo>
                  <a:lnTo>
                    <a:pt x="402" y="286"/>
                  </a:lnTo>
                  <a:lnTo>
                    <a:pt x="402" y="286"/>
                  </a:lnTo>
                  <a:lnTo>
                    <a:pt x="402" y="287"/>
                  </a:lnTo>
                  <a:lnTo>
                    <a:pt x="402" y="287"/>
                  </a:lnTo>
                  <a:lnTo>
                    <a:pt x="402" y="288"/>
                  </a:lnTo>
                  <a:lnTo>
                    <a:pt x="403" y="289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4" y="290"/>
                  </a:lnTo>
                  <a:lnTo>
                    <a:pt x="405" y="291"/>
                  </a:lnTo>
                  <a:lnTo>
                    <a:pt x="405" y="293"/>
                  </a:lnTo>
                  <a:lnTo>
                    <a:pt x="405" y="294"/>
                  </a:lnTo>
                  <a:lnTo>
                    <a:pt x="405" y="295"/>
                  </a:lnTo>
                  <a:lnTo>
                    <a:pt x="405" y="299"/>
                  </a:lnTo>
                  <a:lnTo>
                    <a:pt x="405" y="300"/>
                  </a:lnTo>
                  <a:lnTo>
                    <a:pt x="406" y="303"/>
                  </a:lnTo>
                  <a:lnTo>
                    <a:pt x="406" y="304"/>
                  </a:lnTo>
                  <a:lnTo>
                    <a:pt x="407" y="305"/>
                  </a:lnTo>
                  <a:lnTo>
                    <a:pt x="408" y="307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1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10" y="312"/>
                  </a:lnTo>
                  <a:lnTo>
                    <a:pt x="409" y="313"/>
                  </a:lnTo>
                  <a:lnTo>
                    <a:pt x="407" y="316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4" y="325"/>
                  </a:lnTo>
                  <a:lnTo>
                    <a:pt x="404" y="327"/>
                  </a:lnTo>
                  <a:lnTo>
                    <a:pt x="404" y="328"/>
                  </a:lnTo>
                  <a:lnTo>
                    <a:pt x="404" y="330"/>
                  </a:lnTo>
                  <a:lnTo>
                    <a:pt x="405" y="331"/>
                  </a:lnTo>
                  <a:lnTo>
                    <a:pt x="405" y="333"/>
                  </a:lnTo>
                  <a:lnTo>
                    <a:pt x="405" y="334"/>
                  </a:lnTo>
                  <a:lnTo>
                    <a:pt x="407" y="337"/>
                  </a:lnTo>
                  <a:lnTo>
                    <a:pt x="408" y="338"/>
                  </a:lnTo>
                  <a:lnTo>
                    <a:pt x="408" y="339"/>
                  </a:lnTo>
                  <a:lnTo>
                    <a:pt x="410" y="341"/>
                  </a:lnTo>
                  <a:lnTo>
                    <a:pt x="410" y="342"/>
                  </a:lnTo>
                  <a:lnTo>
                    <a:pt x="411" y="342"/>
                  </a:lnTo>
                  <a:lnTo>
                    <a:pt x="411" y="343"/>
                  </a:lnTo>
                  <a:lnTo>
                    <a:pt x="411" y="344"/>
                  </a:lnTo>
                  <a:lnTo>
                    <a:pt x="411" y="345"/>
                  </a:lnTo>
                  <a:lnTo>
                    <a:pt x="411" y="346"/>
                  </a:lnTo>
                  <a:lnTo>
                    <a:pt x="410" y="348"/>
                  </a:lnTo>
                  <a:lnTo>
                    <a:pt x="410" y="349"/>
                  </a:lnTo>
                  <a:lnTo>
                    <a:pt x="410" y="350"/>
                  </a:lnTo>
                  <a:lnTo>
                    <a:pt x="409" y="351"/>
                  </a:lnTo>
                  <a:lnTo>
                    <a:pt x="408" y="353"/>
                  </a:lnTo>
                  <a:lnTo>
                    <a:pt x="407" y="354"/>
                  </a:lnTo>
                  <a:lnTo>
                    <a:pt x="406" y="356"/>
                  </a:lnTo>
                  <a:lnTo>
                    <a:pt x="405" y="358"/>
                  </a:lnTo>
                  <a:lnTo>
                    <a:pt x="405" y="360"/>
                  </a:lnTo>
                  <a:lnTo>
                    <a:pt x="404" y="361"/>
                  </a:lnTo>
                  <a:lnTo>
                    <a:pt x="404" y="362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0" y="365"/>
                  </a:lnTo>
                  <a:lnTo>
                    <a:pt x="398" y="367"/>
                  </a:lnTo>
                  <a:lnTo>
                    <a:pt x="396" y="367"/>
                  </a:lnTo>
                  <a:lnTo>
                    <a:pt x="396" y="368"/>
                  </a:lnTo>
                  <a:lnTo>
                    <a:pt x="394" y="370"/>
                  </a:lnTo>
                  <a:lnTo>
                    <a:pt x="393" y="371"/>
                  </a:lnTo>
                  <a:lnTo>
                    <a:pt x="393" y="371"/>
                  </a:lnTo>
                  <a:lnTo>
                    <a:pt x="393" y="372"/>
                  </a:lnTo>
                  <a:lnTo>
                    <a:pt x="393" y="373"/>
                  </a:lnTo>
                  <a:lnTo>
                    <a:pt x="392" y="374"/>
                  </a:lnTo>
                  <a:lnTo>
                    <a:pt x="392" y="375"/>
                  </a:lnTo>
                  <a:lnTo>
                    <a:pt x="392" y="376"/>
                  </a:lnTo>
                  <a:lnTo>
                    <a:pt x="392" y="377"/>
                  </a:lnTo>
                  <a:lnTo>
                    <a:pt x="393" y="378"/>
                  </a:lnTo>
                  <a:lnTo>
                    <a:pt x="393" y="379"/>
                  </a:lnTo>
                  <a:lnTo>
                    <a:pt x="393" y="379"/>
                  </a:lnTo>
                  <a:lnTo>
                    <a:pt x="393" y="380"/>
                  </a:lnTo>
                  <a:lnTo>
                    <a:pt x="392" y="381"/>
                  </a:lnTo>
                  <a:lnTo>
                    <a:pt x="392" y="381"/>
                  </a:lnTo>
                  <a:lnTo>
                    <a:pt x="392" y="382"/>
                  </a:lnTo>
                  <a:lnTo>
                    <a:pt x="391" y="382"/>
                  </a:lnTo>
                  <a:lnTo>
                    <a:pt x="391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4"/>
                  </a:lnTo>
                  <a:lnTo>
                    <a:pt x="388" y="385"/>
                  </a:lnTo>
                  <a:lnTo>
                    <a:pt x="387" y="385"/>
                  </a:lnTo>
                  <a:lnTo>
                    <a:pt x="387" y="385"/>
                  </a:lnTo>
                  <a:lnTo>
                    <a:pt x="387" y="386"/>
                  </a:lnTo>
                  <a:lnTo>
                    <a:pt x="386" y="386"/>
                  </a:lnTo>
                  <a:lnTo>
                    <a:pt x="386" y="386"/>
                  </a:lnTo>
                  <a:lnTo>
                    <a:pt x="386" y="387"/>
                  </a:lnTo>
                  <a:lnTo>
                    <a:pt x="386" y="387"/>
                  </a:lnTo>
                  <a:lnTo>
                    <a:pt x="386" y="388"/>
                  </a:lnTo>
                  <a:lnTo>
                    <a:pt x="386" y="388"/>
                  </a:lnTo>
                  <a:lnTo>
                    <a:pt x="386" y="389"/>
                  </a:lnTo>
                  <a:lnTo>
                    <a:pt x="386" y="390"/>
                  </a:lnTo>
                  <a:lnTo>
                    <a:pt x="387" y="390"/>
                  </a:lnTo>
                  <a:lnTo>
                    <a:pt x="387" y="391"/>
                  </a:lnTo>
                  <a:lnTo>
                    <a:pt x="387" y="391"/>
                  </a:lnTo>
                  <a:lnTo>
                    <a:pt x="388" y="392"/>
                  </a:lnTo>
                  <a:lnTo>
                    <a:pt x="388" y="393"/>
                  </a:lnTo>
                  <a:lnTo>
                    <a:pt x="389" y="393"/>
                  </a:lnTo>
                  <a:lnTo>
                    <a:pt x="391" y="394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5"/>
                  </a:lnTo>
                  <a:lnTo>
                    <a:pt x="391" y="396"/>
                  </a:lnTo>
                  <a:lnTo>
                    <a:pt x="391" y="397"/>
                  </a:lnTo>
                  <a:lnTo>
                    <a:pt x="391" y="398"/>
                  </a:lnTo>
                  <a:lnTo>
                    <a:pt x="390" y="398"/>
                  </a:lnTo>
                  <a:lnTo>
                    <a:pt x="390" y="399"/>
                  </a:lnTo>
                  <a:lnTo>
                    <a:pt x="390" y="399"/>
                  </a:lnTo>
                  <a:lnTo>
                    <a:pt x="389" y="399"/>
                  </a:lnTo>
                  <a:lnTo>
                    <a:pt x="389" y="400"/>
                  </a:lnTo>
                  <a:lnTo>
                    <a:pt x="387" y="400"/>
                  </a:lnTo>
                  <a:lnTo>
                    <a:pt x="387" y="401"/>
                  </a:lnTo>
                  <a:lnTo>
                    <a:pt x="386" y="401"/>
                  </a:lnTo>
                  <a:lnTo>
                    <a:pt x="385" y="403"/>
                  </a:lnTo>
                  <a:lnTo>
                    <a:pt x="384" y="404"/>
                  </a:lnTo>
                  <a:lnTo>
                    <a:pt x="383" y="404"/>
                  </a:lnTo>
                  <a:lnTo>
                    <a:pt x="383" y="405"/>
                  </a:lnTo>
                  <a:lnTo>
                    <a:pt x="383" y="406"/>
                  </a:lnTo>
                  <a:lnTo>
                    <a:pt x="382" y="406"/>
                  </a:lnTo>
                  <a:lnTo>
                    <a:pt x="382" y="407"/>
                  </a:lnTo>
                  <a:lnTo>
                    <a:pt x="382" y="408"/>
                  </a:lnTo>
                  <a:lnTo>
                    <a:pt x="382" y="408"/>
                  </a:lnTo>
                  <a:lnTo>
                    <a:pt x="382" y="409"/>
                  </a:lnTo>
                  <a:lnTo>
                    <a:pt x="382" y="410"/>
                  </a:lnTo>
                  <a:lnTo>
                    <a:pt x="383" y="411"/>
                  </a:lnTo>
                  <a:lnTo>
                    <a:pt x="384" y="413"/>
                  </a:lnTo>
                  <a:lnTo>
                    <a:pt x="384" y="414"/>
                  </a:lnTo>
                  <a:lnTo>
                    <a:pt x="386" y="416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87" y="418"/>
                  </a:lnTo>
                  <a:lnTo>
                    <a:pt x="387" y="419"/>
                  </a:lnTo>
                  <a:lnTo>
                    <a:pt x="387" y="420"/>
                  </a:lnTo>
                  <a:lnTo>
                    <a:pt x="387" y="421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3"/>
                  </a:lnTo>
                  <a:lnTo>
                    <a:pt x="386" y="424"/>
                  </a:lnTo>
                  <a:lnTo>
                    <a:pt x="385" y="425"/>
                  </a:lnTo>
                  <a:lnTo>
                    <a:pt x="384" y="426"/>
                  </a:lnTo>
                  <a:lnTo>
                    <a:pt x="383" y="427"/>
                  </a:lnTo>
                  <a:lnTo>
                    <a:pt x="383" y="428"/>
                  </a:lnTo>
                  <a:lnTo>
                    <a:pt x="382" y="429"/>
                  </a:lnTo>
                  <a:lnTo>
                    <a:pt x="382" y="430"/>
                  </a:lnTo>
                  <a:lnTo>
                    <a:pt x="381" y="433"/>
                  </a:lnTo>
                  <a:lnTo>
                    <a:pt x="380" y="436"/>
                  </a:lnTo>
                  <a:lnTo>
                    <a:pt x="380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9" y="437"/>
                  </a:lnTo>
                  <a:lnTo>
                    <a:pt x="378" y="438"/>
                  </a:lnTo>
                  <a:lnTo>
                    <a:pt x="375" y="439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1"/>
                  </a:lnTo>
                  <a:lnTo>
                    <a:pt x="369" y="443"/>
                  </a:lnTo>
                  <a:lnTo>
                    <a:pt x="367" y="444"/>
                  </a:lnTo>
                  <a:lnTo>
                    <a:pt x="366" y="445"/>
                  </a:lnTo>
                  <a:lnTo>
                    <a:pt x="365" y="446"/>
                  </a:lnTo>
                  <a:lnTo>
                    <a:pt x="364" y="446"/>
                  </a:lnTo>
                  <a:lnTo>
                    <a:pt x="363" y="446"/>
                  </a:lnTo>
                  <a:lnTo>
                    <a:pt x="363" y="446"/>
                  </a:lnTo>
                  <a:lnTo>
                    <a:pt x="362" y="447"/>
                  </a:lnTo>
                  <a:lnTo>
                    <a:pt x="361" y="447"/>
                  </a:lnTo>
                  <a:lnTo>
                    <a:pt x="360" y="447"/>
                  </a:lnTo>
                  <a:lnTo>
                    <a:pt x="359" y="447"/>
                  </a:lnTo>
                  <a:lnTo>
                    <a:pt x="358" y="446"/>
                  </a:lnTo>
                  <a:lnTo>
                    <a:pt x="355" y="446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2" y="447"/>
                  </a:lnTo>
                  <a:lnTo>
                    <a:pt x="351" y="451"/>
                  </a:lnTo>
                  <a:lnTo>
                    <a:pt x="351" y="453"/>
                  </a:lnTo>
                  <a:lnTo>
                    <a:pt x="350" y="455"/>
                  </a:lnTo>
                  <a:lnTo>
                    <a:pt x="350" y="458"/>
                  </a:lnTo>
                  <a:lnTo>
                    <a:pt x="350" y="460"/>
                  </a:lnTo>
                  <a:lnTo>
                    <a:pt x="350" y="461"/>
                  </a:lnTo>
                  <a:lnTo>
                    <a:pt x="349" y="464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6"/>
                  </a:lnTo>
                  <a:lnTo>
                    <a:pt x="349" y="467"/>
                  </a:lnTo>
                  <a:lnTo>
                    <a:pt x="349" y="469"/>
                  </a:lnTo>
                  <a:lnTo>
                    <a:pt x="351" y="471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52" y="478"/>
                  </a:lnTo>
                  <a:lnTo>
                    <a:pt x="352" y="480"/>
                  </a:lnTo>
                  <a:lnTo>
                    <a:pt x="352" y="481"/>
                  </a:lnTo>
                  <a:lnTo>
                    <a:pt x="352" y="482"/>
                  </a:lnTo>
                  <a:lnTo>
                    <a:pt x="352" y="483"/>
                  </a:lnTo>
                  <a:lnTo>
                    <a:pt x="352" y="484"/>
                  </a:lnTo>
                  <a:lnTo>
                    <a:pt x="352" y="485"/>
                  </a:lnTo>
                  <a:lnTo>
                    <a:pt x="352" y="485"/>
                  </a:lnTo>
                  <a:lnTo>
                    <a:pt x="351" y="486"/>
                  </a:lnTo>
                  <a:lnTo>
                    <a:pt x="351" y="487"/>
                  </a:lnTo>
                  <a:lnTo>
                    <a:pt x="351" y="487"/>
                  </a:lnTo>
                  <a:lnTo>
                    <a:pt x="350" y="488"/>
                  </a:lnTo>
                  <a:lnTo>
                    <a:pt x="349" y="488"/>
                  </a:lnTo>
                  <a:lnTo>
                    <a:pt x="348" y="489"/>
                  </a:lnTo>
                  <a:lnTo>
                    <a:pt x="348" y="490"/>
                  </a:lnTo>
                  <a:lnTo>
                    <a:pt x="347" y="490"/>
                  </a:lnTo>
                  <a:lnTo>
                    <a:pt x="345" y="491"/>
                  </a:lnTo>
                  <a:lnTo>
                    <a:pt x="344" y="491"/>
                  </a:lnTo>
                  <a:lnTo>
                    <a:pt x="343" y="492"/>
                  </a:lnTo>
                  <a:lnTo>
                    <a:pt x="343" y="492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1" y="494"/>
                  </a:lnTo>
                  <a:lnTo>
                    <a:pt x="340" y="495"/>
                  </a:lnTo>
                  <a:lnTo>
                    <a:pt x="339" y="496"/>
                  </a:lnTo>
                  <a:lnTo>
                    <a:pt x="338" y="498"/>
                  </a:lnTo>
                  <a:lnTo>
                    <a:pt x="337" y="501"/>
                  </a:lnTo>
                  <a:lnTo>
                    <a:pt x="336" y="502"/>
                  </a:lnTo>
                  <a:lnTo>
                    <a:pt x="336" y="503"/>
                  </a:lnTo>
                  <a:lnTo>
                    <a:pt x="336" y="504"/>
                  </a:lnTo>
                  <a:lnTo>
                    <a:pt x="335" y="506"/>
                  </a:lnTo>
                  <a:lnTo>
                    <a:pt x="335" y="508"/>
                  </a:lnTo>
                  <a:lnTo>
                    <a:pt x="334" y="510"/>
                  </a:lnTo>
                  <a:lnTo>
                    <a:pt x="334" y="511"/>
                  </a:lnTo>
                  <a:lnTo>
                    <a:pt x="334" y="513"/>
                  </a:lnTo>
                  <a:lnTo>
                    <a:pt x="334" y="514"/>
                  </a:lnTo>
                  <a:lnTo>
                    <a:pt x="334" y="516"/>
                  </a:lnTo>
                  <a:lnTo>
                    <a:pt x="334" y="517"/>
                  </a:lnTo>
                  <a:lnTo>
                    <a:pt x="334" y="518"/>
                  </a:lnTo>
                  <a:lnTo>
                    <a:pt x="334" y="519"/>
                  </a:lnTo>
                  <a:lnTo>
                    <a:pt x="334" y="520"/>
                  </a:lnTo>
                  <a:lnTo>
                    <a:pt x="334" y="521"/>
                  </a:lnTo>
                  <a:lnTo>
                    <a:pt x="335" y="522"/>
                  </a:lnTo>
                  <a:lnTo>
                    <a:pt x="336" y="526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6" y="527"/>
                  </a:lnTo>
                  <a:lnTo>
                    <a:pt x="335" y="527"/>
                  </a:lnTo>
                  <a:lnTo>
                    <a:pt x="334" y="526"/>
                  </a:lnTo>
                  <a:lnTo>
                    <a:pt x="334" y="526"/>
                  </a:lnTo>
                  <a:lnTo>
                    <a:pt x="333" y="526"/>
                  </a:lnTo>
                  <a:lnTo>
                    <a:pt x="331" y="527"/>
                  </a:lnTo>
                  <a:lnTo>
                    <a:pt x="331" y="527"/>
                  </a:lnTo>
                  <a:lnTo>
                    <a:pt x="329" y="527"/>
                  </a:lnTo>
                  <a:lnTo>
                    <a:pt x="328" y="528"/>
                  </a:lnTo>
                  <a:lnTo>
                    <a:pt x="328" y="528"/>
                  </a:lnTo>
                  <a:lnTo>
                    <a:pt x="327" y="529"/>
                  </a:lnTo>
                  <a:lnTo>
                    <a:pt x="326" y="529"/>
                  </a:lnTo>
                  <a:lnTo>
                    <a:pt x="325" y="530"/>
                  </a:lnTo>
                  <a:lnTo>
                    <a:pt x="325" y="531"/>
                  </a:lnTo>
                  <a:lnTo>
                    <a:pt x="324" y="531"/>
                  </a:lnTo>
                  <a:lnTo>
                    <a:pt x="324" y="532"/>
                  </a:lnTo>
                  <a:lnTo>
                    <a:pt x="322" y="535"/>
                  </a:lnTo>
                  <a:lnTo>
                    <a:pt x="322" y="535"/>
                  </a:lnTo>
                  <a:lnTo>
                    <a:pt x="322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1" y="536"/>
                  </a:lnTo>
                  <a:lnTo>
                    <a:pt x="320" y="537"/>
                  </a:lnTo>
                  <a:lnTo>
                    <a:pt x="319" y="537"/>
                  </a:lnTo>
                  <a:lnTo>
                    <a:pt x="318" y="537"/>
                  </a:lnTo>
                  <a:lnTo>
                    <a:pt x="318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5" y="535"/>
                  </a:lnTo>
                  <a:lnTo>
                    <a:pt x="312" y="533"/>
                  </a:lnTo>
                  <a:lnTo>
                    <a:pt x="311" y="532"/>
                  </a:lnTo>
                  <a:lnTo>
                    <a:pt x="308" y="530"/>
                  </a:lnTo>
                  <a:lnTo>
                    <a:pt x="304" y="527"/>
                  </a:lnTo>
                  <a:lnTo>
                    <a:pt x="302" y="526"/>
                  </a:lnTo>
                  <a:lnTo>
                    <a:pt x="300" y="524"/>
                  </a:lnTo>
                  <a:lnTo>
                    <a:pt x="299" y="523"/>
                  </a:lnTo>
                  <a:lnTo>
                    <a:pt x="298" y="522"/>
                  </a:lnTo>
                  <a:lnTo>
                    <a:pt x="296" y="521"/>
                  </a:lnTo>
                  <a:lnTo>
                    <a:pt x="295" y="520"/>
                  </a:lnTo>
                  <a:lnTo>
                    <a:pt x="295" y="519"/>
                  </a:lnTo>
                  <a:lnTo>
                    <a:pt x="294" y="518"/>
                  </a:lnTo>
                  <a:lnTo>
                    <a:pt x="294" y="517"/>
                  </a:lnTo>
                  <a:lnTo>
                    <a:pt x="293" y="516"/>
                  </a:lnTo>
                  <a:lnTo>
                    <a:pt x="293" y="514"/>
                  </a:lnTo>
                  <a:lnTo>
                    <a:pt x="293" y="513"/>
                  </a:lnTo>
                  <a:lnTo>
                    <a:pt x="292" y="509"/>
                  </a:lnTo>
                  <a:lnTo>
                    <a:pt x="292" y="505"/>
                  </a:lnTo>
                  <a:lnTo>
                    <a:pt x="292" y="501"/>
                  </a:lnTo>
                  <a:lnTo>
                    <a:pt x="291" y="500"/>
                  </a:lnTo>
                  <a:lnTo>
                    <a:pt x="291" y="497"/>
                  </a:lnTo>
                  <a:lnTo>
                    <a:pt x="291" y="496"/>
                  </a:lnTo>
                  <a:lnTo>
                    <a:pt x="290" y="494"/>
                  </a:lnTo>
                  <a:lnTo>
                    <a:pt x="289" y="491"/>
                  </a:lnTo>
                  <a:lnTo>
                    <a:pt x="289" y="489"/>
                  </a:lnTo>
                  <a:lnTo>
                    <a:pt x="289" y="488"/>
                  </a:lnTo>
                  <a:lnTo>
                    <a:pt x="288" y="488"/>
                  </a:lnTo>
                  <a:lnTo>
                    <a:pt x="288" y="487"/>
                  </a:lnTo>
                  <a:lnTo>
                    <a:pt x="287" y="486"/>
                  </a:lnTo>
                  <a:lnTo>
                    <a:pt x="284" y="483"/>
                  </a:lnTo>
                  <a:lnTo>
                    <a:pt x="282" y="480"/>
                  </a:lnTo>
                  <a:lnTo>
                    <a:pt x="279" y="476"/>
                  </a:lnTo>
                  <a:lnTo>
                    <a:pt x="275" y="471"/>
                  </a:lnTo>
                  <a:lnTo>
                    <a:pt x="274" y="470"/>
                  </a:lnTo>
                  <a:lnTo>
                    <a:pt x="272" y="468"/>
                  </a:lnTo>
                  <a:lnTo>
                    <a:pt x="271" y="467"/>
                  </a:lnTo>
                  <a:lnTo>
                    <a:pt x="270" y="466"/>
                  </a:lnTo>
                  <a:lnTo>
                    <a:pt x="269" y="465"/>
                  </a:lnTo>
                  <a:lnTo>
                    <a:pt x="267" y="463"/>
                  </a:lnTo>
                  <a:lnTo>
                    <a:pt x="266" y="462"/>
                  </a:lnTo>
                  <a:lnTo>
                    <a:pt x="265" y="461"/>
                  </a:lnTo>
                  <a:lnTo>
                    <a:pt x="263" y="460"/>
                  </a:lnTo>
                  <a:lnTo>
                    <a:pt x="262" y="459"/>
                  </a:lnTo>
                  <a:lnTo>
                    <a:pt x="260" y="458"/>
                  </a:lnTo>
                  <a:lnTo>
                    <a:pt x="258" y="457"/>
                  </a:lnTo>
                  <a:lnTo>
                    <a:pt x="258" y="457"/>
                  </a:lnTo>
                  <a:lnTo>
                    <a:pt x="256" y="457"/>
                  </a:lnTo>
                  <a:lnTo>
                    <a:pt x="255" y="456"/>
                  </a:lnTo>
                  <a:lnTo>
                    <a:pt x="253" y="456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6" y="456"/>
                  </a:lnTo>
                  <a:lnTo>
                    <a:pt x="243" y="456"/>
                  </a:lnTo>
                  <a:lnTo>
                    <a:pt x="242" y="456"/>
                  </a:lnTo>
                  <a:lnTo>
                    <a:pt x="241" y="456"/>
                  </a:lnTo>
                  <a:lnTo>
                    <a:pt x="240" y="455"/>
                  </a:lnTo>
                  <a:lnTo>
                    <a:pt x="239" y="455"/>
                  </a:lnTo>
                  <a:lnTo>
                    <a:pt x="237" y="454"/>
                  </a:lnTo>
                  <a:lnTo>
                    <a:pt x="236" y="454"/>
                  </a:lnTo>
                  <a:lnTo>
                    <a:pt x="235" y="453"/>
                  </a:lnTo>
                  <a:lnTo>
                    <a:pt x="233" y="452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9" y="449"/>
                  </a:lnTo>
                  <a:lnTo>
                    <a:pt x="228" y="448"/>
                  </a:lnTo>
                  <a:lnTo>
                    <a:pt x="227" y="447"/>
                  </a:lnTo>
                  <a:lnTo>
                    <a:pt x="226" y="446"/>
                  </a:lnTo>
                  <a:lnTo>
                    <a:pt x="226" y="446"/>
                  </a:lnTo>
                  <a:lnTo>
                    <a:pt x="225" y="444"/>
                  </a:lnTo>
                  <a:lnTo>
                    <a:pt x="225" y="443"/>
                  </a:lnTo>
                  <a:lnTo>
                    <a:pt x="224" y="442"/>
                  </a:lnTo>
                  <a:lnTo>
                    <a:pt x="224" y="441"/>
                  </a:lnTo>
                  <a:lnTo>
                    <a:pt x="223" y="436"/>
                  </a:lnTo>
                  <a:lnTo>
                    <a:pt x="223" y="434"/>
                  </a:lnTo>
                  <a:lnTo>
                    <a:pt x="222" y="433"/>
                  </a:lnTo>
                  <a:lnTo>
                    <a:pt x="222" y="432"/>
                  </a:lnTo>
                  <a:lnTo>
                    <a:pt x="222" y="431"/>
                  </a:lnTo>
                  <a:lnTo>
                    <a:pt x="221" y="430"/>
                  </a:lnTo>
                  <a:lnTo>
                    <a:pt x="221" y="430"/>
                  </a:lnTo>
                  <a:lnTo>
                    <a:pt x="220" y="429"/>
                  </a:lnTo>
                  <a:lnTo>
                    <a:pt x="217" y="426"/>
                  </a:lnTo>
                  <a:lnTo>
                    <a:pt x="214" y="422"/>
                  </a:lnTo>
                  <a:lnTo>
                    <a:pt x="209" y="417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7" y="415"/>
                  </a:lnTo>
                  <a:lnTo>
                    <a:pt x="207" y="414"/>
                  </a:lnTo>
                  <a:lnTo>
                    <a:pt x="206" y="413"/>
                  </a:lnTo>
                  <a:lnTo>
                    <a:pt x="205" y="410"/>
                  </a:lnTo>
                  <a:lnTo>
                    <a:pt x="204" y="409"/>
                  </a:lnTo>
                  <a:lnTo>
                    <a:pt x="203" y="407"/>
                  </a:lnTo>
                  <a:lnTo>
                    <a:pt x="201" y="404"/>
                  </a:lnTo>
                  <a:lnTo>
                    <a:pt x="200" y="403"/>
                  </a:lnTo>
                  <a:lnTo>
                    <a:pt x="199" y="402"/>
                  </a:lnTo>
                  <a:lnTo>
                    <a:pt x="197" y="399"/>
                  </a:lnTo>
                  <a:lnTo>
                    <a:pt x="197" y="398"/>
                  </a:lnTo>
                  <a:lnTo>
                    <a:pt x="196" y="397"/>
                  </a:lnTo>
                  <a:lnTo>
                    <a:pt x="196" y="396"/>
                  </a:lnTo>
                  <a:lnTo>
                    <a:pt x="195" y="396"/>
                  </a:lnTo>
                  <a:lnTo>
                    <a:pt x="192" y="393"/>
                  </a:lnTo>
                  <a:lnTo>
                    <a:pt x="191" y="392"/>
                  </a:lnTo>
                  <a:lnTo>
                    <a:pt x="190" y="391"/>
                  </a:lnTo>
                  <a:lnTo>
                    <a:pt x="189" y="389"/>
                  </a:lnTo>
                  <a:lnTo>
                    <a:pt x="188" y="388"/>
                  </a:lnTo>
                  <a:lnTo>
                    <a:pt x="187" y="388"/>
                  </a:lnTo>
                  <a:lnTo>
                    <a:pt x="185" y="385"/>
                  </a:lnTo>
                  <a:lnTo>
                    <a:pt x="184" y="385"/>
                  </a:lnTo>
                  <a:lnTo>
                    <a:pt x="184" y="384"/>
                  </a:lnTo>
                  <a:lnTo>
                    <a:pt x="183" y="383"/>
                  </a:lnTo>
                  <a:lnTo>
                    <a:pt x="183" y="382"/>
                  </a:lnTo>
                  <a:lnTo>
                    <a:pt x="182" y="381"/>
                  </a:lnTo>
                  <a:lnTo>
                    <a:pt x="182" y="380"/>
                  </a:lnTo>
                  <a:lnTo>
                    <a:pt x="182" y="379"/>
                  </a:lnTo>
                  <a:lnTo>
                    <a:pt x="181" y="375"/>
                  </a:lnTo>
                  <a:lnTo>
                    <a:pt x="181" y="373"/>
                  </a:lnTo>
                  <a:lnTo>
                    <a:pt x="181" y="372"/>
                  </a:lnTo>
                  <a:lnTo>
                    <a:pt x="180" y="371"/>
                  </a:lnTo>
                  <a:lnTo>
                    <a:pt x="180" y="370"/>
                  </a:lnTo>
                  <a:lnTo>
                    <a:pt x="179" y="370"/>
                  </a:lnTo>
                  <a:lnTo>
                    <a:pt x="179" y="369"/>
                  </a:lnTo>
                  <a:lnTo>
                    <a:pt x="178" y="368"/>
                  </a:lnTo>
                  <a:lnTo>
                    <a:pt x="176" y="366"/>
                  </a:lnTo>
                  <a:lnTo>
                    <a:pt x="173" y="363"/>
                  </a:lnTo>
                  <a:lnTo>
                    <a:pt x="170" y="359"/>
                  </a:lnTo>
                  <a:lnTo>
                    <a:pt x="168" y="358"/>
                  </a:lnTo>
                  <a:lnTo>
                    <a:pt x="167" y="356"/>
                  </a:lnTo>
                  <a:lnTo>
                    <a:pt x="166" y="355"/>
                  </a:lnTo>
                  <a:lnTo>
                    <a:pt x="164" y="354"/>
                  </a:lnTo>
                  <a:lnTo>
                    <a:pt x="163" y="354"/>
                  </a:lnTo>
                  <a:lnTo>
                    <a:pt x="163" y="353"/>
                  </a:lnTo>
                  <a:lnTo>
                    <a:pt x="161" y="352"/>
                  </a:lnTo>
                  <a:lnTo>
                    <a:pt x="159" y="351"/>
                  </a:lnTo>
                  <a:lnTo>
                    <a:pt x="158" y="351"/>
                  </a:lnTo>
                  <a:lnTo>
                    <a:pt x="157" y="350"/>
                  </a:lnTo>
                  <a:lnTo>
                    <a:pt x="156" y="350"/>
                  </a:lnTo>
                  <a:lnTo>
                    <a:pt x="153" y="349"/>
                  </a:lnTo>
                  <a:lnTo>
                    <a:pt x="151" y="348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2" y="347"/>
                  </a:lnTo>
                  <a:lnTo>
                    <a:pt x="141" y="347"/>
                  </a:lnTo>
                  <a:lnTo>
                    <a:pt x="141" y="347"/>
                  </a:lnTo>
                  <a:lnTo>
                    <a:pt x="140" y="347"/>
                  </a:lnTo>
                  <a:lnTo>
                    <a:pt x="139" y="348"/>
                  </a:lnTo>
                  <a:lnTo>
                    <a:pt x="139" y="348"/>
                  </a:lnTo>
                  <a:lnTo>
                    <a:pt x="139" y="349"/>
                  </a:lnTo>
                  <a:lnTo>
                    <a:pt x="138" y="350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36" y="351"/>
                  </a:lnTo>
                  <a:lnTo>
                    <a:pt x="135" y="352"/>
                  </a:lnTo>
                  <a:lnTo>
                    <a:pt x="135" y="352"/>
                  </a:lnTo>
                  <a:lnTo>
                    <a:pt x="134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8" y="350"/>
                  </a:lnTo>
                  <a:lnTo>
                    <a:pt x="126" y="350"/>
                  </a:lnTo>
                  <a:lnTo>
                    <a:pt x="125" y="349"/>
                  </a:lnTo>
                  <a:lnTo>
                    <a:pt x="122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9"/>
                  </a:lnTo>
                  <a:lnTo>
                    <a:pt x="115" y="348"/>
                  </a:lnTo>
                  <a:lnTo>
                    <a:pt x="114" y="348"/>
                  </a:lnTo>
                  <a:lnTo>
                    <a:pt x="113" y="347"/>
                  </a:lnTo>
                  <a:lnTo>
                    <a:pt x="111" y="347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09" y="345"/>
                  </a:lnTo>
                  <a:lnTo>
                    <a:pt x="108" y="344"/>
                  </a:lnTo>
                  <a:lnTo>
                    <a:pt x="108" y="343"/>
                  </a:lnTo>
                  <a:lnTo>
                    <a:pt x="107" y="343"/>
                  </a:lnTo>
                  <a:lnTo>
                    <a:pt x="106" y="340"/>
                  </a:lnTo>
                  <a:lnTo>
                    <a:pt x="104" y="336"/>
                  </a:lnTo>
                  <a:lnTo>
                    <a:pt x="103" y="335"/>
                  </a:lnTo>
                  <a:lnTo>
                    <a:pt x="102" y="333"/>
                  </a:lnTo>
                  <a:lnTo>
                    <a:pt x="102" y="332"/>
                  </a:lnTo>
                  <a:lnTo>
                    <a:pt x="101" y="329"/>
                  </a:lnTo>
                  <a:lnTo>
                    <a:pt x="100" y="327"/>
                  </a:lnTo>
                  <a:lnTo>
                    <a:pt x="100" y="326"/>
                  </a:lnTo>
                  <a:lnTo>
                    <a:pt x="99" y="325"/>
                  </a:lnTo>
                  <a:lnTo>
                    <a:pt x="99" y="324"/>
                  </a:lnTo>
                  <a:lnTo>
                    <a:pt x="98" y="322"/>
                  </a:lnTo>
                  <a:lnTo>
                    <a:pt x="97" y="321"/>
                  </a:lnTo>
                  <a:lnTo>
                    <a:pt x="96" y="320"/>
                  </a:lnTo>
                  <a:lnTo>
                    <a:pt x="94" y="318"/>
                  </a:lnTo>
                  <a:lnTo>
                    <a:pt x="93" y="317"/>
                  </a:lnTo>
                  <a:lnTo>
                    <a:pt x="87" y="313"/>
                  </a:lnTo>
                  <a:lnTo>
                    <a:pt x="86" y="312"/>
                  </a:lnTo>
                  <a:lnTo>
                    <a:pt x="85" y="311"/>
                  </a:lnTo>
                  <a:lnTo>
                    <a:pt x="84" y="310"/>
                  </a:lnTo>
                  <a:lnTo>
                    <a:pt x="82" y="310"/>
                  </a:lnTo>
                  <a:lnTo>
                    <a:pt x="79" y="308"/>
                  </a:lnTo>
                  <a:lnTo>
                    <a:pt x="77" y="307"/>
                  </a:lnTo>
                  <a:lnTo>
                    <a:pt x="76" y="307"/>
                  </a:lnTo>
                  <a:lnTo>
                    <a:pt x="75" y="306"/>
                  </a:lnTo>
                  <a:lnTo>
                    <a:pt x="74" y="305"/>
                  </a:lnTo>
                  <a:lnTo>
                    <a:pt x="73" y="304"/>
                  </a:lnTo>
                  <a:lnTo>
                    <a:pt x="73" y="304"/>
                  </a:lnTo>
                  <a:lnTo>
                    <a:pt x="73" y="303"/>
                  </a:lnTo>
                  <a:lnTo>
                    <a:pt x="72" y="303"/>
                  </a:lnTo>
                  <a:lnTo>
                    <a:pt x="72" y="302"/>
                  </a:lnTo>
                  <a:lnTo>
                    <a:pt x="72" y="301"/>
                  </a:lnTo>
                  <a:lnTo>
                    <a:pt x="71" y="300"/>
                  </a:lnTo>
                  <a:lnTo>
                    <a:pt x="71" y="299"/>
                  </a:lnTo>
                  <a:lnTo>
                    <a:pt x="70" y="295"/>
                  </a:lnTo>
                  <a:lnTo>
                    <a:pt x="69" y="293"/>
                  </a:lnTo>
                  <a:lnTo>
                    <a:pt x="68" y="291"/>
                  </a:lnTo>
                  <a:lnTo>
                    <a:pt x="67" y="287"/>
                  </a:lnTo>
                  <a:lnTo>
                    <a:pt x="67" y="286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1"/>
                  </a:lnTo>
                  <a:lnTo>
                    <a:pt x="62" y="260"/>
                  </a:lnTo>
                  <a:lnTo>
                    <a:pt x="60" y="260"/>
                  </a:lnTo>
                  <a:lnTo>
                    <a:pt x="58" y="259"/>
                  </a:lnTo>
                  <a:lnTo>
                    <a:pt x="57" y="258"/>
                  </a:lnTo>
                  <a:lnTo>
                    <a:pt x="57" y="258"/>
                  </a:lnTo>
                  <a:lnTo>
                    <a:pt x="56" y="257"/>
                  </a:lnTo>
                  <a:lnTo>
                    <a:pt x="55" y="257"/>
                  </a:lnTo>
                  <a:lnTo>
                    <a:pt x="55" y="256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2"/>
                  </a:lnTo>
                  <a:lnTo>
                    <a:pt x="51" y="250"/>
                  </a:lnTo>
                  <a:lnTo>
                    <a:pt x="50" y="249"/>
                  </a:lnTo>
                  <a:lnTo>
                    <a:pt x="50" y="247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8" y="243"/>
                  </a:lnTo>
                  <a:lnTo>
                    <a:pt x="48" y="242"/>
                  </a:lnTo>
                  <a:lnTo>
                    <a:pt x="48" y="241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5" y="226"/>
                  </a:lnTo>
                  <a:lnTo>
                    <a:pt x="45" y="224"/>
                  </a:lnTo>
                  <a:lnTo>
                    <a:pt x="44" y="223"/>
                  </a:lnTo>
                  <a:lnTo>
                    <a:pt x="43" y="222"/>
                  </a:lnTo>
                  <a:lnTo>
                    <a:pt x="43" y="221"/>
                  </a:lnTo>
                  <a:lnTo>
                    <a:pt x="42" y="220"/>
                  </a:lnTo>
                  <a:lnTo>
                    <a:pt x="42" y="219"/>
                  </a:lnTo>
                  <a:lnTo>
                    <a:pt x="41" y="219"/>
                  </a:lnTo>
                  <a:lnTo>
                    <a:pt x="40" y="218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7" y="217"/>
                  </a:lnTo>
                  <a:lnTo>
                    <a:pt x="37" y="216"/>
                  </a:lnTo>
                  <a:lnTo>
                    <a:pt x="36" y="215"/>
                  </a:lnTo>
                  <a:lnTo>
                    <a:pt x="35" y="214"/>
                  </a:lnTo>
                  <a:lnTo>
                    <a:pt x="35" y="213"/>
                  </a:lnTo>
                  <a:lnTo>
                    <a:pt x="34" y="212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8"/>
                  </a:lnTo>
                  <a:lnTo>
                    <a:pt x="33" y="206"/>
                  </a:lnTo>
                  <a:lnTo>
                    <a:pt x="33" y="206"/>
                  </a:lnTo>
                  <a:lnTo>
                    <a:pt x="33" y="205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199"/>
                  </a:lnTo>
                  <a:lnTo>
                    <a:pt x="35" y="197"/>
                  </a:lnTo>
                  <a:lnTo>
                    <a:pt x="35" y="196"/>
                  </a:lnTo>
                  <a:lnTo>
                    <a:pt x="35" y="195"/>
                  </a:lnTo>
                  <a:lnTo>
                    <a:pt x="35" y="194"/>
                  </a:lnTo>
                  <a:lnTo>
                    <a:pt x="35" y="193"/>
                  </a:lnTo>
                  <a:lnTo>
                    <a:pt x="34" y="192"/>
                  </a:lnTo>
                  <a:lnTo>
                    <a:pt x="34" y="190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31" y="187"/>
                  </a:lnTo>
                  <a:lnTo>
                    <a:pt x="30" y="187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4"/>
                  </a:lnTo>
                  <a:lnTo>
                    <a:pt x="21" y="183"/>
                  </a:lnTo>
                  <a:lnTo>
                    <a:pt x="17" y="180"/>
                  </a:lnTo>
                  <a:lnTo>
                    <a:pt x="14" y="179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1" y="176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9" y="174"/>
                  </a:lnTo>
                  <a:lnTo>
                    <a:pt x="8" y="173"/>
                  </a:ln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:a16="http://schemas.microsoft.com/office/drawing/2014/main" id="{2BE2C606-BF98-D2FD-124B-C22F52B0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3302"/>
              <a:ext cx="419" cy="536"/>
            </a:xfrm>
            <a:custGeom>
              <a:avLst/>
              <a:gdLst>
                <a:gd name="T0" fmla="*/ 277 w 419"/>
                <a:gd name="T1" fmla="*/ 2 h 536"/>
                <a:gd name="T2" fmla="*/ 286 w 419"/>
                <a:gd name="T3" fmla="*/ 11 h 536"/>
                <a:gd name="T4" fmla="*/ 299 w 419"/>
                <a:gd name="T5" fmla="*/ 12 h 536"/>
                <a:gd name="T6" fmla="*/ 294 w 419"/>
                <a:gd name="T7" fmla="*/ 28 h 536"/>
                <a:gd name="T8" fmla="*/ 304 w 419"/>
                <a:gd name="T9" fmla="*/ 32 h 536"/>
                <a:gd name="T10" fmla="*/ 327 w 419"/>
                <a:gd name="T11" fmla="*/ 31 h 536"/>
                <a:gd name="T12" fmla="*/ 326 w 419"/>
                <a:gd name="T13" fmla="*/ 37 h 536"/>
                <a:gd name="T14" fmla="*/ 345 w 419"/>
                <a:gd name="T15" fmla="*/ 51 h 536"/>
                <a:gd name="T16" fmla="*/ 368 w 419"/>
                <a:gd name="T17" fmla="*/ 50 h 536"/>
                <a:gd name="T18" fmla="*/ 390 w 419"/>
                <a:gd name="T19" fmla="*/ 66 h 536"/>
                <a:gd name="T20" fmla="*/ 397 w 419"/>
                <a:gd name="T21" fmla="*/ 76 h 536"/>
                <a:gd name="T22" fmla="*/ 419 w 419"/>
                <a:gd name="T23" fmla="*/ 96 h 536"/>
                <a:gd name="T24" fmla="*/ 413 w 419"/>
                <a:gd name="T25" fmla="*/ 118 h 536"/>
                <a:gd name="T26" fmla="*/ 409 w 419"/>
                <a:gd name="T27" fmla="*/ 145 h 536"/>
                <a:gd name="T28" fmla="*/ 411 w 419"/>
                <a:gd name="T29" fmla="*/ 161 h 536"/>
                <a:gd name="T30" fmla="*/ 400 w 419"/>
                <a:gd name="T31" fmla="*/ 176 h 536"/>
                <a:gd name="T32" fmla="*/ 388 w 419"/>
                <a:gd name="T33" fmla="*/ 175 h 536"/>
                <a:gd name="T34" fmla="*/ 372 w 419"/>
                <a:gd name="T35" fmla="*/ 192 h 536"/>
                <a:gd name="T36" fmla="*/ 383 w 419"/>
                <a:gd name="T37" fmla="*/ 197 h 536"/>
                <a:gd name="T38" fmla="*/ 377 w 419"/>
                <a:gd name="T39" fmla="*/ 204 h 536"/>
                <a:gd name="T40" fmla="*/ 380 w 419"/>
                <a:gd name="T41" fmla="*/ 214 h 536"/>
                <a:gd name="T42" fmla="*/ 380 w 419"/>
                <a:gd name="T43" fmla="*/ 220 h 536"/>
                <a:gd name="T44" fmla="*/ 391 w 419"/>
                <a:gd name="T45" fmla="*/ 225 h 536"/>
                <a:gd name="T46" fmla="*/ 391 w 419"/>
                <a:gd name="T47" fmla="*/ 251 h 536"/>
                <a:gd name="T48" fmla="*/ 398 w 419"/>
                <a:gd name="T49" fmla="*/ 266 h 536"/>
                <a:gd name="T50" fmla="*/ 394 w 419"/>
                <a:gd name="T51" fmla="*/ 283 h 536"/>
                <a:gd name="T52" fmla="*/ 397 w 419"/>
                <a:gd name="T53" fmla="*/ 299 h 536"/>
                <a:gd name="T54" fmla="*/ 397 w 419"/>
                <a:gd name="T55" fmla="*/ 321 h 536"/>
                <a:gd name="T56" fmla="*/ 403 w 419"/>
                <a:gd name="T57" fmla="*/ 345 h 536"/>
                <a:gd name="T58" fmla="*/ 388 w 419"/>
                <a:gd name="T59" fmla="*/ 367 h 536"/>
                <a:gd name="T60" fmla="*/ 383 w 419"/>
                <a:gd name="T61" fmla="*/ 381 h 536"/>
                <a:gd name="T62" fmla="*/ 379 w 419"/>
                <a:gd name="T63" fmla="*/ 389 h 536"/>
                <a:gd name="T64" fmla="*/ 381 w 419"/>
                <a:gd name="T65" fmla="*/ 398 h 536"/>
                <a:gd name="T66" fmla="*/ 376 w 419"/>
                <a:gd name="T67" fmla="*/ 412 h 536"/>
                <a:gd name="T68" fmla="*/ 375 w 419"/>
                <a:gd name="T69" fmla="*/ 427 h 536"/>
                <a:gd name="T70" fmla="*/ 357 w 419"/>
                <a:gd name="T71" fmla="*/ 445 h 536"/>
                <a:gd name="T72" fmla="*/ 343 w 419"/>
                <a:gd name="T73" fmla="*/ 450 h 536"/>
                <a:gd name="T74" fmla="*/ 344 w 419"/>
                <a:gd name="T75" fmla="*/ 480 h 536"/>
                <a:gd name="T76" fmla="*/ 335 w 419"/>
                <a:gd name="T77" fmla="*/ 491 h 536"/>
                <a:gd name="T78" fmla="*/ 326 w 419"/>
                <a:gd name="T79" fmla="*/ 515 h 536"/>
                <a:gd name="T80" fmla="*/ 321 w 419"/>
                <a:gd name="T81" fmla="*/ 526 h 536"/>
                <a:gd name="T82" fmla="*/ 310 w 419"/>
                <a:gd name="T83" fmla="*/ 536 h 536"/>
                <a:gd name="T84" fmla="*/ 286 w 419"/>
                <a:gd name="T85" fmla="*/ 516 h 536"/>
                <a:gd name="T86" fmla="*/ 276 w 419"/>
                <a:gd name="T87" fmla="*/ 482 h 536"/>
                <a:gd name="T88" fmla="*/ 248 w 419"/>
                <a:gd name="T89" fmla="*/ 456 h 536"/>
                <a:gd name="T90" fmla="*/ 221 w 419"/>
                <a:gd name="T91" fmla="*/ 448 h 536"/>
                <a:gd name="T92" fmla="*/ 209 w 419"/>
                <a:gd name="T93" fmla="*/ 425 h 536"/>
                <a:gd name="T94" fmla="*/ 188 w 419"/>
                <a:gd name="T95" fmla="*/ 395 h 536"/>
                <a:gd name="T96" fmla="*/ 173 w 419"/>
                <a:gd name="T97" fmla="*/ 372 h 536"/>
                <a:gd name="T98" fmla="*/ 151 w 419"/>
                <a:gd name="T99" fmla="*/ 350 h 536"/>
                <a:gd name="T100" fmla="*/ 129 w 419"/>
                <a:gd name="T101" fmla="*/ 350 h 536"/>
                <a:gd name="T102" fmla="*/ 106 w 419"/>
                <a:gd name="T103" fmla="*/ 347 h 536"/>
                <a:gd name="T104" fmla="*/ 91 w 419"/>
                <a:gd name="T105" fmla="*/ 324 h 536"/>
                <a:gd name="T106" fmla="*/ 65 w 419"/>
                <a:gd name="T107" fmla="*/ 303 h 536"/>
                <a:gd name="T108" fmla="*/ 59 w 419"/>
                <a:gd name="T109" fmla="*/ 279 h 536"/>
                <a:gd name="T110" fmla="*/ 49 w 419"/>
                <a:gd name="T111" fmla="*/ 257 h 536"/>
                <a:gd name="T112" fmla="*/ 39 w 419"/>
                <a:gd name="T113" fmla="*/ 233 h 536"/>
                <a:gd name="T114" fmla="*/ 27 w 419"/>
                <a:gd name="T115" fmla="*/ 213 h 536"/>
                <a:gd name="T116" fmla="*/ 26 w 419"/>
                <a:gd name="T117" fmla="*/ 191 h 536"/>
                <a:gd name="T118" fmla="*/ 3 w 419"/>
                <a:gd name="T119" fmla="*/ 17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536">
                  <a:moveTo>
                    <a:pt x="271" y="0"/>
                  </a:moveTo>
                  <a:lnTo>
                    <a:pt x="271" y="0"/>
                  </a:lnTo>
                  <a:lnTo>
                    <a:pt x="271" y="0"/>
                  </a:lnTo>
                  <a:lnTo>
                    <a:pt x="271" y="1"/>
                  </a:lnTo>
                  <a:lnTo>
                    <a:pt x="271" y="3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3" y="5"/>
                  </a:lnTo>
                  <a:lnTo>
                    <a:pt x="273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4" y="5"/>
                  </a:lnTo>
                  <a:lnTo>
                    <a:pt x="275" y="4"/>
                  </a:lnTo>
                  <a:lnTo>
                    <a:pt x="275" y="4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1" y="2"/>
                  </a:lnTo>
                  <a:lnTo>
                    <a:pt x="281" y="3"/>
                  </a:lnTo>
                  <a:lnTo>
                    <a:pt x="283" y="5"/>
                  </a:lnTo>
                  <a:lnTo>
                    <a:pt x="284" y="6"/>
                  </a:lnTo>
                  <a:lnTo>
                    <a:pt x="284" y="7"/>
                  </a:lnTo>
                  <a:lnTo>
                    <a:pt x="285" y="9"/>
                  </a:lnTo>
                  <a:lnTo>
                    <a:pt x="285" y="10"/>
                  </a:lnTo>
                  <a:lnTo>
                    <a:pt x="285" y="10"/>
                  </a:lnTo>
                  <a:lnTo>
                    <a:pt x="286" y="10"/>
                  </a:lnTo>
                  <a:lnTo>
                    <a:pt x="286" y="11"/>
                  </a:lnTo>
                  <a:lnTo>
                    <a:pt x="286" y="11"/>
                  </a:lnTo>
                  <a:lnTo>
                    <a:pt x="287" y="11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1" y="10"/>
                  </a:lnTo>
                  <a:lnTo>
                    <a:pt x="293" y="9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5" y="7"/>
                  </a:lnTo>
                  <a:lnTo>
                    <a:pt x="296" y="6"/>
                  </a:lnTo>
                  <a:lnTo>
                    <a:pt x="296" y="7"/>
                  </a:lnTo>
                  <a:lnTo>
                    <a:pt x="296" y="8"/>
                  </a:lnTo>
                  <a:lnTo>
                    <a:pt x="297" y="9"/>
                  </a:lnTo>
                  <a:lnTo>
                    <a:pt x="298" y="10"/>
                  </a:lnTo>
                  <a:lnTo>
                    <a:pt x="299" y="12"/>
                  </a:lnTo>
                  <a:lnTo>
                    <a:pt x="299" y="13"/>
                  </a:lnTo>
                  <a:lnTo>
                    <a:pt x="300" y="13"/>
                  </a:lnTo>
                  <a:lnTo>
                    <a:pt x="300" y="14"/>
                  </a:lnTo>
                  <a:lnTo>
                    <a:pt x="300" y="15"/>
                  </a:lnTo>
                  <a:lnTo>
                    <a:pt x="300" y="16"/>
                  </a:lnTo>
                  <a:lnTo>
                    <a:pt x="300" y="17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299" y="19"/>
                  </a:lnTo>
                  <a:lnTo>
                    <a:pt x="298" y="21"/>
                  </a:lnTo>
                  <a:lnTo>
                    <a:pt x="297" y="22"/>
                  </a:lnTo>
                  <a:lnTo>
                    <a:pt x="296" y="24"/>
                  </a:lnTo>
                  <a:lnTo>
                    <a:pt x="295" y="26"/>
                  </a:lnTo>
                  <a:lnTo>
                    <a:pt x="295" y="27"/>
                  </a:lnTo>
                  <a:lnTo>
                    <a:pt x="294" y="27"/>
                  </a:lnTo>
                  <a:lnTo>
                    <a:pt x="294" y="28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4" y="30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5" y="32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7" y="32"/>
                  </a:lnTo>
                  <a:lnTo>
                    <a:pt x="300" y="33"/>
                  </a:lnTo>
                  <a:lnTo>
                    <a:pt x="300" y="33"/>
                  </a:lnTo>
                  <a:lnTo>
                    <a:pt x="301" y="33"/>
                  </a:lnTo>
                  <a:lnTo>
                    <a:pt x="301" y="33"/>
                  </a:lnTo>
                  <a:lnTo>
                    <a:pt x="302" y="33"/>
                  </a:lnTo>
                  <a:lnTo>
                    <a:pt x="303" y="33"/>
                  </a:lnTo>
                  <a:lnTo>
                    <a:pt x="304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9" y="31"/>
                  </a:lnTo>
                  <a:lnTo>
                    <a:pt x="309" y="30"/>
                  </a:lnTo>
                  <a:lnTo>
                    <a:pt x="311" y="30"/>
                  </a:lnTo>
                  <a:lnTo>
                    <a:pt x="313" y="30"/>
                  </a:lnTo>
                  <a:lnTo>
                    <a:pt x="314" y="30"/>
                  </a:lnTo>
                  <a:lnTo>
                    <a:pt x="315" y="31"/>
                  </a:lnTo>
                  <a:lnTo>
                    <a:pt x="318" y="31"/>
                  </a:lnTo>
                  <a:lnTo>
                    <a:pt x="319" y="31"/>
                  </a:lnTo>
                  <a:lnTo>
                    <a:pt x="320" y="31"/>
                  </a:lnTo>
                  <a:lnTo>
                    <a:pt x="320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7" y="31"/>
                  </a:lnTo>
                  <a:lnTo>
                    <a:pt x="328" y="31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31" y="33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6" y="36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8"/>
                  </a:lnTo>
                  <a:lnTo>
                    <a:pt x="327" y="38"/>
                  </a:lnTo>
                  <a:lnTo>
                    <a:pt x="327" y="38"/>
                  </a:lnTo>
                  <a:lnTo>
                    <a:pt x="327" y="39"/>
                  </a:lnTo>
                  <a:lnTo>
                    <a:pt x="328" y="40"/>
                  </a:lnTo>
                  <a:lnTo>
                    <a:pt x="329" y="40"/>
                  </a:lnTo>
                  <a:lnTo>
                    <a:pt x="330" y="41"/>
                  </a:lnTo>
                  <a:lnTo>
                    <a:pt x="331" y="42"/>
                  </a:lnTo>
                  <a:lnTo>
                    <a:pt x="334" y="43"/>
                  </a:lnTo>
                  <a:lnTo>
                    <a:pt x="336" y="44"/>
                  </a:lnTo>
                  <a:lnTo>
                    <a:pt x="338" y="46"/>
                  </a:lnTo>
                  <a:lnTo>
                    <a:pt x="341" y="48"/>
                  </a:lnTo>
                  <a:lnTo>
                    <a:pt x="342" y="49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8" y="51"/>
                  </a:lnTo>
                  <a:lnTo>
                    <a:pt x="349" y="51"/>
                  </a:lnTo>
                  <a:lnTo>
                    <a:pt x="350" y="52"/>
                  </a:lnTo>
                  <a:lnTo>
                    <a:pt x="351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8" y="51"/>
                  </a:lnTo>
                  <a:lnTo>
                    <a:pt x="359" y="51"/>
                  </a:lnTo>
                  <a:lnTo>
                    <a:pt x="362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8" y="51"/>
                  </a:lnTo>
                  <a:lnTo>
                    <a:pt x="369" y="51"/>
                  </a:lnTo>
                  <a:lnTo>
                    <a:pt x="370" y="51"/>
                  </a:lnTo>
                  <a:lnTo>
                    <a:pt x="370" y="52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4" y="56"/>
                  </a:lnTo>
                  <a:lnTo>
                    <a:pt x="376" y="58"/>
                  </a:lnTo>
                  <a:lnTo>
                    <a:pt x="377" y="59"/>
                  </a:lnTo>
                  <a:lnTo>
                    <a:pt x="379" y="61"/>
                  </a:lnTo>
                  <a:lnTo>
                    <a:pt x="382" y="63"/>
                  </a:lnTo>
                  <a:lnTo>
                    <a:pt x="383" y="64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9" y="66"/>
                  </a:lnTo>
                  <a:lnTo>
                    <a:pt x="390" y="66"/>
                  </a:lnTo>
                  <a:lnTo>
                    <a:pt x="391" y="66"/>
                  </a:lnTo>
                  <a:lnTo>
                    <a:pt x="392" y="66"/>
                  </a:lnTo>
                  <a:lnTo>
                    <a:pt x="392" y="67"/>
                  </a:lnTo>
                  <a:lnTo>
                    <a:pt x="393" y="67"/>
                  </a:lnTo>
                  <a:lnTo>
                    <a:pt x="394" y="68"/>
                  </a:lnTo>
                  <a:lnTo>
                    <a:pt x="394" y="68"/>
                  </a:lnTo>
                  <a:lnTo>
                    <a:pt x="395" y="69"/>
                  </a:lnTo>
                  <a:lnTo>
                    <a:pt x="395" y="69"/>
                  </a:lnTo>
                  <a:lnTo>
                    <a:pt x="395" y="70"/>
                  </a:lnTo>
                  <a:lnTo>
                    <a:pt x="396" y="71"/>
                  </a:lnTo>
                  <a:lnTo>
                    <a:pt x="396" y="71"/>
                  </a:lnTo>
                  <a:lnTo>
                    <a:pt x="396" y="74"/>
                  </a:lnTo>
                  <a:lnTo>
                    <a:pt x="396" y="75"/>
                  </a:lnTo>
                  <a:lnTo>
                    <a:pt x="397" y="75"/>
                  </a:lnTo>
                  <a:lnTo>
                    <a:pt x="397" y="75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401" y="77"/>
                  </a:lnTo>
                  <a:lnTo>
                    <a:pt x="404" y="78"/>
                  </a:lnTo>
                  <a:lnTo>
                    <a:pt x="406" y="78"/>
                  </a:lnTo>
                  <a:lnTo>
                    <a:pt x="407" y="79"/>
                  </a:lnTo>
                  <a:lnTo>
                    <a:pt x="410" y="80"/>
                  </a:lnTo>
                  <a:lnTo>
                    <a:pt x="416" y="84"/>
                  </a:lnTo>
                  <a:lnTo>
                    <a:pt x="417" y="84"/>
                  </a:lnTo>
                  <a:lnTo>
                    <a:pt x="417" y="85"/>
                  </a:lnTo>
                  <a:lnTo>
                    <a:pt x="417" y="85"/>
                  </a:lnTo>
                  <a:lnTo>
                    <a:pt x="418" y="85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91"/>
                  </a:lnTo>
                  <a:lnTo>
                    <a:pt x="418" y="93"/>
                  </a:lnTo>
                  <a:lnTo>
                    <a:pt x="419" y="96"/>
                  </a:lnTo>
                  <a:lnTo>
                    <a:pt x="419" y="100"/>
                  </a:lnTo>
                  <a:lnTo>
                    <a:pt x="419" y="102"/>
                  </a:lnTo>
                  <a:lnTo>
                    <a:pt x="419" y="106"/>
                  </a:lnTo>
                  <a:lnTo>
                    <a:pt x="419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19" y="109"/>
                  </a:lnTo>
                  <a:lnTo>
                    <a:pt x="419" y="110"/>
                  </a:lnTo>
                  <a:lnTo>
                    <a:pt x="418" y="110"/>
                  </a:lnTo>
                  <a:lnTo>
                    <a:pt x="418" y="111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5" y="113"/>
                  </a:lnTo>
                  <a:lnTo>
                    <a:pt x="415" y="114"/>
                  </a:lnTo>
                  <a:lnTo>
                    <a:pt x="414" y="115"/>
                  </a:lnTo>
                  <a:lnTo>
                    <a:pt x="414" y="116"/>
                  </a:lnTo>
                  <a:lnTo>
                    <a:pt x="413" y="118"/>
                  </a:lnTo>
                  <a:lnTo>
                    <a:pt x="412" y="121"/>
                  </a:lnTo>
                  <a:lnTo>
                    <a:pt x="412" y="122"/>
                  </a:lnTo>
                  <a:lnTo>
                    <a:pt x="412" y="123"/>
                  </a:lnTo>
                  <a:lnTo>
                    <a:pt x="411" y="128"/>
                  </a:lnTo>
                  <a:lnTo>
                    <a:pt x="411" y="129"/>
                  </a:lnTo>
                  <a:lnTo>
                    <a:pt x="411" y="130"/>
                  </a:lnTo>
                  <a:lnTo>
                    <a:pt x="411" y="133"/>
                  </a:lnTo>
                  <a:lnTo>
                    <a:pt x="411" y="134"/>
                  </a:lnTo>
                  <a:lnTo>
                    <a:pt x="411" y="135"/>
                  </a:lnTo>
                  <a:lnTo>
                    <a:pt x="411" y="136"/>
                  </a:lnTo>
                  <a:lnTo>
                    <a:pt x="411" y="137"/>
                  </a:lnTo>
                  <a:lnTo>
                    <a:pt x="411" y="138"/>
                  </a:lnTo>
                  <a:lnTo>
                    <a:pt x="410" y="140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09" y="146"/>
                  </a:lnTo>
                  <a:lnTo>
                    <a:pt x="409" y="147"/>
                  </a:lnTo>
                  <a:lnTo>
                    <a:pt x="409" y="150"/>
                  </a:lnTo>
                  <a:lnTo>
                    <a:pt x="409" y="151"/>
                  </a:lnTo>
                  <a:lnTo>
                    <a:pt x="408" y="152"/>
                  </a:lnTo>
                  <a:lnTo>
                    <a:pt x="408" y="153"/>
                  </a:lnTo>
                  <a:lnTo>
                    <a:pt x="408" y="154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7" y="158"/>
                  </a:lnTo>
                  <a:lnTo>
                    <a:pt x="407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08" y="159"/>
                  </a:lnTo>
                  <a:lnTo>
                    <a:pt x="410" y="160"/>
                  </a:lnTo>
                  <a:lnTo>
                    <a:pt x="410" y="161"/>
                  </a:lnTo>
                  <a:lnTo>
                    <a:pt x="411" y="161"/>
                  </a:lnTo>
                  <a:lnTo>
                    <a:pt x="411" y="162"/>
                  </a:lnTo>
                  <a:lnTo>
                    <a:pt x="412" y="162"/>
                  </a:lnTo>
                  <a:lnTo>
                    <a:pt x="412" y="163"/>
                  </a:lnTo>
                  <a:lnTo>
                    <a:pt x="412" y="164"/>
                  </a:lnTo>
                  <a:lnTo>
                    <a:pt x="412" y="164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6"/>
                  </a:lnTo>
                  <a:lnTo>
                    <a:pt x="410" y="166"/>
                  </a:lnTo>
                  <a:lnTo>
                    <a:pt x="409" y="167"/>
                  </a:lnTo>
                  <a:lnTo>
                    <a:pt x="406" y="170"/>
                  </a:lnTo>
                  <a:lnTo>
                    <a:pt x="405" y="171"/>
                  </a:lnTo>
                  <a:lnTo>
                    <a:pt x="404" y="172"/>
                  </a:lnTo>
                  <a:lnTo>
                    <a:pt x="403" y="173"/>
                  </a:lnTo>
                  <a:lnTo>
                    <a:pt x="402" y="175"/>
                  </a:lnTo>
                  <a:lnTo>
                    <a:pt x="401" y="176"/>
                  </a:lnTo>
                  <a:lnTo>
                    <a:pt x="400" y="176"/>
                  </a:lnTo>
                  <a:lnTo>
                    <a:pt x="400" y="177"/>
                  </a:lnTo>
                  <a:lnTo>
                    <a:pt x="399" y="177"/>
                  </a:lnTo>
                  <a:lnTo>
                    <a:pt x="399" y="177"/>
                  </a:lnTo>
                  <a:lnTo>
                    <a:pt x="398" y="178"/>
                  </a:lnTo>
                  <a:lnTo>
                    <a:pt x="398" y="178"/>
                  </a:lnTo>
                  <a:lnTo>
                    <a:pt x="397" y="178"/>
                  </a:lnTo>
                  <a:lnTo>
                    <a:pt x="397" y="178"/>
                  </a:lnTo>
                  <a:lnTo>
                    <a:pt x="396" y="177"/>
                  </a:lnTo>
                  <a:lnTo>
                    <a:pt x="395" y="177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2" y="175"/>
                  </a:lnTo>
                  <a:lnTo>
                    <a:pt x="391" y="175"/>
                  </a:lnTo>
                  <a:lnTo>
                    <a:pt x="390" y="175"/>
                  </a:lnTo>
                  <a:lnTo>
                    <a:pt x="389" y="175"/>
                  </a:lnTo>
                  <a:lnTo>
                    <a:pt x="389" y="175"/>
                  </a:lnTo>
                  <a:lnTo>
                    <a:pt x="388" y="175"/>
                  </a:lnTo>
                  <a:lnTo>
                    <a:pt x="387" y="176"/>
                  </a:lnTo>
                  <a:lnTo>
                    <a:pt x="386" y="176"/>
                  </a:lnTo>
                  <a:lnTo>
                    <a:pt x="384" y="177"/>
                  </a:lnTo>
                  <a:lnTo>
                    <a:pt x="383" y="178"/>
                  </a:lnTo>
                  <a:lnTo>
                    <a:pt x="382" y="178"/>
                  </a:lnTo>
                  <a:lnTo>
                    <a:pt x="381" y="179"/>
                  </a:lnTo>
                  <a:lnTo>
                    <a:pt x="380" y="180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8" y="182"/>
                  </a:lnTo>
                  <a:lnTo>
                    <a:pt x="377" y="184"/>
                  </a:lnTo>
                  <a:lnTo>
                    <a:pt x="374" y="187"/>
                  </a:lnTo>
                  <a:lnTo>
                    <a:pt x="373" y="188"/>
                  </a:lnTo>
                  <a:lnTo>
                    <a:pt x="373" y="189"/>
                  </a:lnTo>
                  <a:lnTo>
                    <a:pt x="373" y="190"/>
                  </a:lnTo>
                  <a:lnTo>
                    <a:pt x="372" y="191"/>
                  </a:lnTo>
                  <a:lnTo>
                    <a:pt x="372" y="192"/>
                  </a:lnTo>
                  <a:lnTo>
                    <a:pt x="372" y="193"/>
                  </a:lnTo>
                  <a:lnTo>
                    <a:pt x="372" y="194"/>
                  </a:lnTo>
                  <a:lnTo>
                    <a:pt x="372" y="194"/>
                  </a:lnTo>
                  <a:lnTo>
                    <a:pt x="372" y="195"/>
                  </a:lnTo>
                  <a:lnTo>
                    <a:pt x="373" y="195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4" y="197"/>
                  </a:lnTo>
                  <a:lnTo>
                    <a:pt x="375" y="197"/>
                  </a:lnTo>
                  <a:lnTo>
                    <a:pt x="377" y="196"/>
                  </a:lnTo>
                  <a:lnTo>
                    <a:pt x="378" y="196"/>
                  </a:lnTo>
                  <a:lnTo>
                    <a:pt x="379" y="196"/>
                  </a:lnTo>
                  <a:lnTo>
                    <a:pt x="380" y="196"/>
                  </a:lnTo>
                  <a:lnTo>
                    <a:pt x="382" y="196"/>
                  </a:lnTo>
                  <a:lnTo>
                    <a:pt x="383" y="197"/>
                  </a:lnTo>
                  <a:lnTo>
                    <a:pt x="383" y="197"/>
                  </a:lnTo>
                  <a:lnTo>
                    <a:pt x="384" y="197"/>
                  </a:lnTo>
                  <a:lnTo>
                    <a:pt x="384" y="197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5" y="198"/>
                  </a:lnTo>
                  <a:lnTo>
                    <a:pt x="384" y="199"/>
                  </a:lnTo>
                  <a:lnTo>
                    <a:pt x="384" y="199"/>
                  </a:lnTo>
                  <a:lnTo>
                    <a:pt x="384" y="200"/>
                  </a:lnTo>
                  <a:lnTo>
                    <a:pt x="383" y="200"/>
                  </a:lnTo>
                  <a:lnTo>
                    <a:pt x="382" y="201"/>
                  </a:lnTo>
                  <a:lnTo>
                    <a:pt x="378" y="202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8" y="203"/>
                  </a:lnTo>
                  <a:lnTo>
                    <a:pt x="377" y="203"/>
                  </a:lnTo>
                  <a:lnTo>
                    <a:pt x="377" y="204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8" y="206"/>
                  </a:lnTo>
                  <a:lnTo>
                    <a:pt x="378" y="206"/>
                  </a:lnTo>
                  <a:lnTo>
                    <a:pt x="378" y="207"/>
                  </a:lnTo>
                  <a:lnTo>
                    <a:pt x="380" y="208"/>
                  </a:lnTo>
                  <a:lnTo>
                    <a:pt x="380" y="209"/>
                  </a:lnTo>
                  <a:lnTo>
                    <a:pt x="381" y="210"/>
                  </a:lnTo>
                  <a:lnTo>
                    <a:pt x="381" y="210"/>
                  </a:lnTo>
                  <a:lnTo>
                    <a:pt x="382" y="211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1" y="213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79" y="214"/>
                  </a:lnTo>
                  <a:lnTo>
                    <a:pt x="378" y="214"/>
                  </a:lnTo>
                  <a:lnTo>
                    <a:pt x="377" y="214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6" y="216"/>
                  </a:lnTo>
                  <a:lnTo>
                    <a:pt x="377" y="216"/>
                  </a:lnTo>
                  <a:lnTo>
                    <a:pt x="378" y="217"/>
                  </a:lnTo>
                  <a:lnTo>
                    <a:pt x="379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9"/>
                  </a:lnTo>
                  <a:lnTo>
                    <a:pt x="380" y="219"/>
                  </a:lnTo>
                  <a:lnTo>
                    <a:pt x="380" y="220"/>
                  </a:lnTo>
                  <a:lnTo>
                    <a:pt x="380" y="221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0" y="222"/>
                  </a:lnTo>
                  <a:lnTo>
                    <a:pt x="381" y="222"/>
                  </a:lnTo>
                  <a:lnTo>
                    <a:pt x="381" y="223"/>
                  </a:lnTo>
                  <a:lnTo>
                    <a:pt x="381" y="223"/>
                  </a:lnTo>
                  <a:lnTo>
                    <a:pt x="382" y="223"/>
                  </a:lnTo>
                  <a:lnTo>
                    <a:pt x="383" y="223"/>
                  </a:lnTo>
                  <a:lnTo>
                    <a:pt x="385" y="223"/>
                  </a:lnTo>
                  <a:lnTo>
                    <a:pt x="386" y="223"/>
                  </a:lnTo>
                  <a:lnTo>
                    <a:pt x="387" y="223"/>
                  </a:lnTo>
                  <a:lnTo>
                    <a:pt x="388" y="223"/>
                  </a:lnTo>
                  <a:lnTo>
                    <a:pt x="389" y="224"/>
                  </a:lnTo>
                  <a:lnTo>
                    <a:pt x="390" y="224"/>
                  </a:lnTo>
                  <a:lnTo>
                    <a:pt x="391" y="225"/>
                  </a:lnTo>
                  <a:lnTo>
                    <a:pt x="392" y="225"/>
                  </a:lnTo>
                  <a:lnTo>
                    <a:pt x="392" y="226"/>
                  </a:lnTo>
                  <a:lnTo>
                    <a:pt x="392" y="226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8"/>
                  </a:lnTo>
                  <a:lnTo>
                    <a:pt x="393" y="229"/>
                  </a:lnTo>
                  <a:lnTo>
                    <a:pt x="393" y="231"/>
                  </a:lnTo>
                  <a:lnTo>
                    <a:pt x="393" y="233"/>
                  </a:lnTo>
                  <a:lnTo>
                    <a:pt x="393" y="235"/>
                  </a:lnTo>
                  <a:lnTo>
                    <a:pt x="393" y="236"/>
                  </a:lnTo>
                  <a:lnTo>
                    <a:pt x="393" y="238"/>
                  </a:lnTo>
                  <a:lnTo>
                    <a:pt x="392" y="241"/>
                  </a:lnTo>
                  <a:lnTo>
                    <a:pt x="392" y="243"/>
                  </a:lnTo>
                  <a:lnTo>
                    <a:pt x="392" y="245"/>
                  </a:lnTo>
                  <a:lnTo>
                    <a:pt x="391" y="248"/>
                  </a:lnTo>
                  <a:lnTo>
                    <a:pt x="391" y="251"/>
                  </a:lnTo>
                  <a:lnTo>
                    <a:pt x="391" y="252"/>
                  </a:lnTo>
                  <a:lnTo>
                    <a:pt x="391" y="256"/>
                  </a:lnTo>
                  <a:lnTo>
                    <a:pt x="391" y="256"/>
                  </a:lnTo>
                  <a:lnTo>
                    <a:pt x="391" y="257"/>
                  </a:lnTo>
                  <a:lnTo>
                    <a:pt x="391" y="257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3" y="259"/>
                  </a:lnTo>
                  <a:lnTo>
                    <a:pt x="394" y="259"/>
                  </a:lnTo>
                  <a:lnTo>
                    <a:pt x="395" y="260"/>
                  </a:lnTo>
                  <a:lnTo>
                    <a:pt x="396" y="261"/>
                  </a:lnTo>
                  <a:lnTo>
                    <a:pt x="396" y="261"/>
                  </a:lnTo>
                  <a:lnTo>
                    <a:pt x="397" y="262"/>
                  </a:lnTo>
                  <a:lnTo>
                    <a:pt x="397" y="263"/>
                  </a:lnTo>
                  <a:lnTo>
                    <a:pt x="397" y="264"/>
                  </a:lnTo>
                  <a:lnTo>
                    <a:pt x="398" y="266"/>
                  </a:lnTo>
                  <a:lnTo>
                    <a:pt x="398" y="267"/>
                  </a:lnTo>
                  <a:lnTo>
                    <a:pt x="398" y="268"/>
                  </a:lnTo>
                  <a:lnTo>
                    <a:pt x="398" y="269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398" y="273"/>
                  </a:lnTo>
                  <a:lnTo>
                    <a:pt x="398" y="274"/>
                  </a:lnTo>
                  <a:lnTo>
                    <a:pt x="398" y="275"/>
                  </a:lnTo>
                  <a:lnTo>
                    <a:pt x="398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7" y="275"/>
                  </a:lnTo>
                  <a:lnTo>
                    <a:pt x="396" y="276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5" y="278"/>
                  </a:lnTo>
                  <a:lnTo>
                    <a:pt x="394" y="283"/>
                  </a:lnTo>
                  <a:lnTo>
                    <a:pt x="394" y="284"/>
                  </a:lnTo>
                  <a:lnTo>
                    <a:pt x="394" y="284"/>
                  </a:lnTo>
                  <a:lnTo>
                    <a:pt x="394" y="285"/>
                  </a:lnTo>
                  <a:lnTo>
                    <a:pt x="394" y="285"/>
                  </a:lnTo>
                  <a:lnTo>
                    <a:pt x="394" y="286"/>
                  </a:lnTo>
                  <a:lnTo>
                    <a:pt x="394" y="286"/>
                  </a:lnTo>
                  <a:lnTo>
                    <a:pt x="394" y="287"/>
                  </a:lnTo>
                  <a:lnTo>
                    <a:pt x="395" y="288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6" y="289"/>
                  </a:lnTo>
                  <a:lnTo>
                    <a:pt x="397" y="290"/>
                  </a:lnTo>
                  <a:lnTo>
                    <a:pt x="397" y="292"/>
                  </a:lnTo>
                  <a:lnTo>
                    <a:pt x="397" y="293"/>
                  </a:lnTo>
                  <a:lnTo>
                    <a:pt x="397" y="294"/>
                  </a:lnTo>
                  <a:lnTo>
                    <a:pt x="397" y="298"/>
                  </a:lnTo>
                  <a:lnTo>
                    <a:pt x="397" y="299"/>
                  </a:lnTo>
                  <a:lnTo>
                    <a:pt x="398" y="302"/>
                  </a:lnTo>
                  <a:lnTo>
                    <a:pt x="398" y="303"/>
                  </a:lnTo>
                  <a:lnTo>
                    <a:pt x="399" y="304"/>
                  </a:lnTo>
                  <a:lnTo>
                    <a:pt x="400" y="306"/>
                  </a:lnTo>
                  <a:lnTo>
                    <a:pt x="401" y="308"/>
                  </a:lnTo>
                  <a:lnTo>
                    <a:pt x="401" y="309"/>
                  </a:lnTo>
                  <a:lnTo>
                    <a:pt x="401" y="310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1" y="312"/>
                  </a:lnTo>
                  <a:lnTo>
                    <a:pt x="399" y="315"/>
                  </a:lnTo>
                  <a:lnTo>
                    <a:pt x="398" y="317"/>
                  </a:lnTo>
                  <a:lnTo>
                    <a:pt x="398" y="318"/>
                  </a:lnTo>
                  <a:lnTo>
                    <a:pt x="397" y="319"/>
                  </a:lnTo>
                  <a:lnTo>
                    <a:pt x="397" y="320"/>
                  </a:lnTo>
                  <a:lnTo>
                    <a:pt x="397" y="321"/>
                  </a:lnTo>
                  <a:lnTo>
                    <a:pt x="396" y="324"/>
                  </a:lnTo>
                  <a:lnTo>
                    <a:pt x="396" y="326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7" y="330"/>
                  </a:lnTo>
                  <a:lnTo>
                    <a:pt x="397" y="332"/>
                  </a:lnTo>
                  <a:lnTo>
                    <a:pt x="397" y="333"/>
                  </a:lnTo>
                  <a:lnTo>
                    <a:pt x="399" y="336"/>
                  </a:lnTo>
                  <a:lnTo>
                    <a:pt x="400" y="337"/>
                  </a:lnTo>
                  <a:lnTo>
                    <a:pt x="400" y="338"/>
                  </a:lnTo>
                  <a:lnTo>
                    <a:pt x="402" y="340"/>
                  </a:lnTo>
                  <a:lnTo>
                    <a:pt x="402" y="341"/>
                  </a:lnTo>
                  <a:lnTo>
                    <a:pt x="403" y="341"/>
                  </a:lnTo>
                  <a:lnTo>
                    <a:pt x="403" y="342"/>
                  </a:lnTo>
                  <a:lnTo>
                    <a:pt x="403" y="343"/>
                  </a:lnTo>
                  <a:lnTo>
                    <a:pt x="403" y="344"/>
                  </a:lnTo>
                  <a:lnTo>
                    <a:pt x="403" y="345"/>
                  </a:lnTo>
                  <a:lnTo>
                    <a:pt x="402" y="347"/>
                  </a:lnTo>
                  <a:lnTo>
                    <a:pt x="402" y="348"/>
                  </a:lnTo>
                  <a:lnTo>
                    <a:pt x="402" y="349"/>
                  </a:lnTo>
                  <a:lnTo>
                    <a:pt x="401" y="350"/>
                  </a:lnTo>
                  <a:lnTo>
                    <a:pt x="400" y="352"/>
                  </a:lnTo>
                  <a:lnTo>
                    <a:pt x="399" y="353"/>
                  </a:lnTo>
                  <a:lnTo>
                    <a:pt x="398" y="355"/>
                  </a:lnTo>
                  <a:lnTo>
                    <a:pt x="397" y="357"/>
                  </a:lnTo>
                  <a:lnTo>
                    <a:pt x="397" y="359"/>
                  </a:lnTo>
                  <a:lnTo>
                    <a:pt x="396" y="360"/>
                  </a:lnTo>
                  <a:lnTo>
                    <a:pt x="396" y="361"/>
                  </a:lnTo>
                  <a:lnTo>
                    <a:pt x="395" y="361"/>
                  </a:lnTo>
                  <a:lnTo>
                    <a:pt x="395" y="362"/>
                  </a:lnTo>
                  <a:lnTo>
                    <a:pt x="392" y="364"/>
                  </a:lnTo>
                  <a:lnTo>
                    <a:pt x="390" y="366"/>
                  </a:lnTo>
                  <a:lnTo>
                    <a:pt x="388" y="366"/>
                  </a:lnTo>
                  <a:lnTo>
                    <a:pt x="388" y="367"/>
                  </a:lnTo>
                  <a:lnTo>
                    <a:pt x="386" y="369"/>
                  </a:lnTo>
                  <a:lnTo>
                    <a:pt x="385" y="370"/>
                  </a:lnTo>
                  <a:lnTo>
                    <a:pt x="385" y="370"/>
                  </a:lnTo>
                  <a:lnTo>
                    <a:pt x="385" y="371"/>
                  </a:lnTo>
                  <a:lnTo>
                    <a:pt x="385" y="372"/>
                  </a:lnTo>
                  <a:lnTo>
                    <a:pt x="384" y="373"/>
                  </a:lnTo>
                  <a:lnTo>
                    <a:pt x="384" y="374"/>
                  </a:lnTo>
                  <a:lnTo>
                    <a:pt x="384" y="375"/>
                  </a:lnTo>
                  <a:lnTo>
                    <a:pt x="384" y="376"/>
                  </a:lnTo>
                  <a:lnTo>
                    <a:pt x="385" y="377"/>
                  </a:lnTo>
                  <a:lnTo>
                    <a:pt x="385" y="378"/>
                  </a:lnTo>
                  <a:lnTo>
                    <a:pt x="385" y="378"/>
                  </a:lnTo>
                  <a:lnTo>
                    <a:pt x="385" y="379"/>
                  </a:lnTo>
                  <a:lnTo>
                    <a:pt x="384" y="380"/>
                  </a:lnTo>
                  <a:lnTo>
                    <a:pt x="384" y="380"/>
                  </a:lnTo>
                  <a:lnTo>
                    <a:pt x="384" y="381"/>
                  </a:lnTo>
                  <a:lnTo>
                    <a:pt x="383" y="381"/>
                  </a:lnTo>
                  <a:lnTo>
                    <a:pt x="383" y="382"/>
                  </a:lnTo>
                  <a:lnTo>
                    <a:pt x="383" y="382"/>
                  </a:lnTo>
                  <a:lnTo>
                    <a:pt x="382" y="382"/>
                  </a:lnTo>
                  <a:lnTo>
                    <a:pt x="382" y="383"/>
                  </a:lnTo>
                  <a:lnTo>
                    <a:pt x="380" y="384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5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78" y="386"/>
                  </a:lnTo>
                  <a:lnTo>
                    <a:pt x="378" y="386"/>
                  </a:lnTo>
                  <a:lnTo>
                    <a:pt x="378" y="387"/>
                  </a:lnTo>
                  <a:lnTo>
                    <a:pt x="378" y="387"/>
                  </a:lnTo>
                  <a:lnTo>
                    <a:pt x="378" y="388"/>
                  </a:lnTo>
                  <a:lnTo>
                    <a:pt x="378" y="389"/>
                  </a:lnTo>
                  <a:lnTo>
                    <a:pt x="379" y="389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80" y="391"/>
                  </a:lnTo>
                  <a:lnTo>
                    <a:pt x="380" y="392"/>
                  </a:lnTo>
                  <a:lnTo>
                    <a:pt x="381" y="392"/>
                  </a:lnTo>
                  <a:lnTo>
                    <a:pt x="383" y="393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4"/>
                  </a:lnTo>
                  <a:lnTo>
                    <a:pt x="383" y="395"/>
                  </a:lnTo>
                  <a:lnTo>
                    <a:pt x="383" y="396"/>
                  </a:lnTo>
                  <a:lnTo>
                    <a:pt x="383" y="397"/>
                  </a:lnTo>
                  <a:lnTo>
                    <a:pt x="382" y="397"/>
                  </a:lnTo>
                  <a:lnTo>
                    <a:pt x="382" y="398"/>
                  </a:lnTo>
                  <a:lnTo>
                    <a:pt x="382" y="398"/>
                  </a:lnTo>
                  <a:lnTo>
                    <a:pt x="381" y="398"/>
                  </a:lnTo>
                  <a:lnTo>
                    <a:pt x="381" y="399"/>
                  </a:lnTo>
                  <a:lnTo>
                    <a:pt x="379" y="399"/>
                  </a:lnTo>
                  <a:lnTo>
                    <a:pt x="379" y="400"/>
                  </a:lnTo>
                  <a:lnTo>
                    <a:pt x="378" y="400"/>
                  </a:lnTo>
                  <a:lnTo>
                    <a:pt x="377" y="402"/>
                  </a:lnTo>
                  <a:lnTo>
                    <a:pt x="376" y="403"/>
                  </a:lnTo>
                  <a:lnTo>
                    <a:pt x="375" y="403"/>
                  </a:lnTo>
                  <a:lnTo>
                    <a:pt x="375" y="404"/>
                  </a:lnTo>
                  <a:lnTo>
                    <a:pt x="375" y="405"/>
                  </a:lnTo>
                  <a:lnTo>
                    <a:pt x="374" y="405"/>
                  </a:lnTo>
                  <a:lnTo>
                    <a:pt x="374" y="406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8"/>
                  </a:lnTo>
                  <a:lnTo>
                    <a:pt x="374" y="409"/>
                  </a:lnTo>
                  <a:lnTo>
                    <a:pt x="375" y="410"/>
                  </a:lnTo>
                  <a:lnTo>
                    <a:pt x="376" y="412"/>
                  </a:lnTo>
                  <a:lnTo>
                    <a:pt x="376" y="413"/>
                  </a:lnTo>
                  <a:lnTo>
                    <a:pt x="378" y="415"/>
                  </a:lnTo>
                  <a:lnTo>
                    <a:pt x="378" y="416"/>
                  </a:lnTo>
                  <a:lnTo>
                    <a:pt x="378" y="416"/>
                  </a:lnTo>
                  <a:lnTo>
                    <a:pt x="379" y="417"/>
                  </a:lnTo>
                  <a:lnTo>
                    <a:pt x="379" y="418"/>
                  </a:lnTo>
                  <a:lnTo>
                    <a:pt x="379" y="419"/>
                  </a:lnTo>
                  <a:lnTo>
                    <a:pt x="379" y="420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2"/>
                  </a:lnTo>
                  <a:lnTo>
                    <a:pt x="378" y="423"/>
                  </a:lnTo>
                  <a:lnTo>
                    <a:pt x="377" y="424"/>
                  </a:lnTo>
                  <a:lnTo>
                    <a:pt x="376" y="425"/>
                  </a:lnTo>
                  <a:lnTo>
                    <a:pt x="375" y="426"/>
                  </a:lnTo>
                  <a:lnTo>
                    <a:pt x="375" y="427"/>
                  </a:lnTo>
                  <a:lnTo>
                    <a:pt x="374" y="428"/>
                  </a:lnTo>
                  <a:lnTo>
                    <a:pt x="374" y="429"/>
                  </a:lnTo>
                  <a:lnTo>
                    <a:pt x="373" y="432"/>
                  </a:lnTo>
                  <a:lnTo>
                    <a:pt x="372" y="435"/>
                  </a:lnTo>
                  <a:lnTo>
                    <a:pt x="372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1" y="436"/>
                  </a:lnTo>
                  <a:lnTo>
                    <a:pt x="370" y="437"/>
                  </a:lnTo>
                  <a:lnTo>
                    <a:pt x="367" y="438"/>
                  </a:lnTo>
                  <a:lnTo>
                    <a:pt x="366" y="439"/>
                  </a:lnTo>
                  <a:lnTo>
                    <a:pt x="364" y="439"/>
                  </a:lnTo>
                  <a:lnTo>
                    <a:pt x="364" y="440"/>
                  </a:lnTo>
                  <a:lnTo>
                    <a:pt x="361" y="442"/>
                  </a:lnTo>
                  <a:lnTo>
                    <a:pt x="359" y="443"/>
                  </a:lnTo>
                  <a:lnTo>
                    <a:pt x="358" y="444"/>
                  </a:lnTo>
                  <a:lnTo>
                    <a:pt x="357" y="445"/>
                  </a:lnTo>
                  <a:lnTo>
                    <a:pt x="356" y="445"/>
                  </a:lnTo>
                  <a:lnTo>
                    <a:pt x="355" y="445"/>
                  </a:lnTo>
                  <a:lnTo>
                    <a:pt x="355" y="445"/>
                  </a:lnTo>
                  <a:lnTo>
                    <a:pt x="354" y="446"/>
                  </a:lnTo>
                  <a:lnTo>
                    <a:pt x="353" y="446"/>
                  </a:lnTo>
                  <a:lnTo>
                    <a:pt x="352" y="446"/>
                  </a:lnTo>
                  <a:lnTo>
                    <a:pt x="351" y="446"/>
                  </a:lnTo>
                  <a:lnTo>
                    <a:pt x="350" y="445"/>
                  </a:lnTo>
                  <a:lnTo>
                    <a:pt x="347" y="445"/>
                  </a:lnTo>
                  <a:lnTo>
                    <a:pt x="346" y="445"/>
                  </a:lnTo>
                  <a:lnTo>
                    <a:pt x="345" y="445"/>
                  </a:lnTo>
                  <a:lnTo>
                    <a:pt x="345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5"/>
                  </a:lnTo>
                  <a:lnTo>
                    <a:pt x="344" y="446"/>
                  </a:lnTo>
                  <a:lnTo>
                    <a:pt x="343" y="450"/>
                  </a:lnTo>
                  <a:lnTo>
                    <a:pt x="343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2" y="459"/>
                  </a:lnTo>
                  <a:lnTo>
                    <a:pt x="342" y="460"/>
                  </a:lnTo>
                  <a:lnTo>
                    <a:pt x="341" y="463"/>
                  </a:lnTo>
                  <a:lnTo>
                    <a:pt x="341" y="464"/>
                  </a:lnTo>
                  <a:lnTo>
                    <a:pt x="341" y="464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3" y="470"/>
                  </a:lnTo>
                  <a:lnTo>
                    <a:pt x="343" y="472"/>
                  </a:lnTo>
                  <a:lnTo>
                    <a:pt x="343" y="473"/>
                  </a:lnTo>
                  <a:lnTo>
                    <a:pt x="344" y="477"/>
                  </a:lnTo>
                  <a:lnTo>
                    <a:pt x="344" y="479"/>
                  </a:lnTo>
                  <a:lnTo>
                    <a:pt x="344" y="480"/>
                  </a:lnTo>
                  <a:lnTo>
                    <a:pt x="344" y="481"/>
                  </a:lnTo>
                  <a:lnTo>
                    <a:pt x="344" y="482"/>
                  </a:lnTo>
                  <a:lnTo>
                    <a:pt x="344" y="483"/>
                  </a:lnTo>
                  <a:lnTo>
                    <a:pt x="344" y="484"/>
                  </a:lnTo>
                  <a:lnTo>
                    <a:pt x="344" y="484"/>
                  </a:lnTo>
                  <a:lnTo>
                    <a:pt x="343" y="485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2" y="487"/>
                  </a:lnTo>
                  <a:lnTo>
                    <a:pt x="341" y="487"/>
                  </a:lnTo>
                  <a:lnTo>
                    <a:pt x="340" y="488"/>
                  </a:lnTo>
                  <a:lnTo>
                    <a:pt x="340" y="489"/>
                  </a:lnTo>
                  <a:lnTo>
                    <a:pt x="339" y="489"/>
                  </a:lnTo>
                  <a:lnTo>
                    <a:pt x="337" y="490"/>
                  </a:lnTo>
                  <a:lnTo>
                    <a:pt x="336" y="490"/>
                  </a:lnTo>
                  <a:lnTo>
                    <a:pt x="335" y="491"/>
                  </a:lnTo>
                  <a:lnTo>
                    <a:pt x="335" y="491"/>
                  </a:lnTo>
                  <a:lnTo>
                    <a:pt x="334" y="492"/>
                  </a:lnTo>
                  <a:lnTo>
                    <a:pt x="334" y="492"/>
                  </a:lnTo>
                  <a:lnTo>
                    <a:pt x="333" y="493"/>
                  </a:lnTo>
                  <a:lnTo>
                    <a:pt x="332" y="494"/>
                  </a:lnTo>
                  <a:lnTo>
                    <a:pt x="331" y="495"/>
                  </a:lnTo>
                  <a:lnTo>
                    <a:pt x="330" y="497"/>
                  </a:lnTo>
                  <a:lnTo>
                    <a:pt x="329" y="500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3"/>
                  </a:lnTo>
                  <a:lnTo>
                    <a:pt x="327" y="505"/>
                  </a:lnTo>
                  <a:lnTo>
                    <a:pt x="327" y="507"/>
                  </a:lnTo>
                  <a:lnTo>
                    <a:pt x="326" y="509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6" y="513"/>
                  </a:lnTo>
                  <a:lnTo>
                    <a:pt x="326" y="515"/>
                  </a:lnTo>
                  <a:lnTo>
                    <a:pt x="326" y="516"/>
                  </a:lnTo>
                  <a:lnTo>
                    <a:pt x="326" y="517"/>
                  </a:lnTo>
                  <a:lnTo>
                    <a:pt x="326" y="518"/>
                  </a:lnTo>
                  <a:lnTo>
                    <a:pt x="326" y="519"/>
                  </a:lnTo>
                  <a:lnTo>
                    <a:pt x="326" y="520"/>
                  </a:lnTo>
                  <a:lnTo>
                    <a:pt x="327" y="521"/>
                  </a:lnTo>
                  <a:lnTo>
                    <a:pt x="328" y="525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8" y="526"/>
                  </a:lnTo>
                  <a:lnTo>
                    <a:pt x="327" y="526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5" y="525"/>
                  </a:lnTo>
                  <a:lnTo>
                    <a:pt x="323" y="526"/>
                  </a:lnTo>
                  <a:lnTo>
                    <a:pt x="323" y="526"/>
                  </a:lnTo>
                  <a:lnTo>
                    <a:pt x="321" y="526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19" y="528"/>
                  </a:lnTo>
                  <a:lnTo>
                    <a:pt x="318" y="528"/>
                  </a:lnTo>
                  <a:lnTo>
                    <a:pt x="317" y="529"/>
                  </a:lnTo>
                  <a:lnTo>
                    <a:pt x="317" y="530"/>
                  </a:lnTo>
                  <a:lnTo>
                    <a:pt x="316" y="530"/>
                  </a:lnTo>
                  <a:lnTo>
                    <a:pt x="316" y="531"/>
                  </a:lnTo>
                  <a:lnTo>
                    <a:pt x="314" y="534"/>
                  </a:lnTo>
                  <a:lnTo>
                    <a:pt x="314" y="534"/>
                  </a:lnTo>
                  <a:lnTo>
                    <a:pt x="314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3" y="535"/>
                  </a:lnTo>
                  <a:lnTo>
                    <a:pt x="312" y="536"/>
                  </a:lnTo>
                  <a:lnTo>
                    <a:pt x="311" y="536"/>
                  </a:lnTo>
                  <a:lnTo>
                    <a:pt x="310" y="536"/>
                  </a:lnTo>
                  <a:lnTo>
                    <a:pt x="310" y="535"/>
                  </a:lnTo>
                  <a:lnTo>
                    <a:pt x="309" y="535"/>
                  </a:lnTo>
                  <a:lnTo>
                    <a:pt x="309" y="535"/>
                  </a:lnTo>
                  <a:lnTo>
                    <a:pt x="307" y="534"/>
                  </a:lnTo>
                  <a:lnTo>
                    <a:pt x="304" y="532"/>
                  </a:lnTo>
                  <a:lnTo>
                    <a:pt x="303" y="531"/>
                  </a:lnTo>
                  <a:lnTo>
                    <a:pt x="300" y="529"/>
                  </a:lnTo>
                  <a:lnTo>
                    <a:pt x="296" y="526"/>
                  </a:lnTo>
                  <a:lnTo>
                    <a:pt x="294" y="525"/>
                  </a:lnTo>
                  <a:lnTo>
                    <a:pt x="292" y="523"/>
                  </a:lnTo>
                  <a:lnTo>
                    <a:pt x="291" y="522"/>
                  </a:lnTo>
                  <a:lnTo>
                    <a:pt x="290" y="521"/>
                  </a:lnTo>
                  <a:lnTo>
                    <a:pt x="288" y="520"/>
                  </a:lnTo>
                  <a:lnTo>
                    <a:pt x="287" y="519"/>
                  </a:lnTo>
                  <a:lnTo>
                    <a:pt x="287" y="518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85" y="515"/>
                  </a:lnTo>
                  <a:lnTo>
                    <a:pt x="285" y="513"/>
                  </a:lnTo>
                  <a:lnTo>
                    <a:pt x="285" y="512"/>
                  </a:lnTo>
                  <a:lnTo>
                    <a:pt x="284" y="508"/>
                  </a:lnTo>
                  <a:lnTo>
                    <a:pt x="284" y="504"/>
                  </a:lnTo>
                  <a:lnTo>
                    <a:pt x="284" y="500"/>
                  </a:lnTo>
                  <a:lnTo>
                    <a:pt x="283" y="499"/>
                  </a:lnTo>
                  <a:lnTo>
                    <a:pt x="283" y="496"/>
                  </a:lnTo>
                  <a:lnTo>
                    <a:pt x="283" y="495"/>
                  </a:lnTo>
                  <a:lnTo>
                    <a:pt x="282" y="493"/>
                  </a:lnTo>
                  <a:lnTo>
                    <a:pt x="281" y="490"/>
                  </a:lnTo>
                  <a:lnTo>
                    <a:pt x="281" y="488"/>
                  </a:lnTo>
                  <a:lnTo>
                    <a:pt x="281" y="487"/>
                  </a:lnTo>
                  <a:lnTo>
                    <a:pt x="280" y="487"/>
                  </a:lnTo>
                  <a:lnTo>
                    <a:pt x="280" y="486"/>
                  </a:lnTo>
                  <a:lnTo>
                    <a:pt x="279" y="485"/>
                  </a:lnTo>
                  <a:lnTo>
                    <a:pt x="276" y="482"/>
                  </a:lnTo>
                  <a:lnTo>
                    <a:pt x="274" y="479"/>
                  </a:lnTo>
                  <a:lnTo>
                    <a:pt x="271" y="475"/>
                  </a:lnTo>
                  <a:lnTo>
                    <a:pt x="267" y="470"/>
                  </a:lnTo>
                  <a:lnTo>
                    <a:pt x="266" y="469"/>
                  </a:lnTo>
                  <a:lnTo>
                    <a:pt x="264" y="467"/>
                  </a:lnTo>
                  <a:lnTo>
                    <a:pt x="263" y="466"/>
                  </a:lnTo>
                  <a:lnTo>
                    <a:pt x="262" y="465"/>
                  </a:lnTo>
                  <a:lnTo>
                    <a:pt x="261" y="464"/>
                  </a:lnTo>
                  <a:lnTo>
                    <a:pt x="259" y="462"/>
                  </a:lnTo>
                  <a:lnTo>
                    <a:pt x="258" y="461"/>
                  </a:lnTo>
                  <a:lnTo>
                    <a:pt x="257" y="460"/>
                  </a:lnTo>
                  <a:lnTo>
                    <a:pt x="255" y="459"/>
                  </a:lnTo>
                  <a:lnTo>
                    <a:pt x="254" y="458"/>
                  </a:lnTo>
                  <a:lnTo>
                    <a:pt x="252" y="457"/>
                  </a:lnTo>
                  <a:lnTo>
                    <a:pt x="250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7" y="455"/>
                  </a:lnTo>
                  <a:lnTo>
                    <a:pt x="245" y="455"/>
                  </a:lnTo>
                  <a:lnTo>
                    <a:pt x="244" y="455"/>
                  </a:lnTo>
                  <a:lnTo>
                    <a:pt x="242" y="455"/>
                  </a:lnTo>
                  <a:lnTo>
                    <a:pt x="238" y="455"/>
                  </a:lnTo>
                  <a:lnTo>
                    <a:pt x="235" y="455"/>
                  </a:lnTo>
                  <a:lnTo>
                    <a:pt x="234" y="455"/>
                  </a:lnTo>
                  <a:lnTo>
                    <a:pt x="233" y="455"/>
                  </a:lnTo>
                  <a:lnTo>
                    <a:pt x="232" y="454"/>
                  </a:lnTo>
                  <a:lnTo>
                    <a:pt x="231" y="454"/>
                  </a:lnTo>
                  <a:lnTo>
                    <a:pt x="229" y="453"/>
                  </a:lnTo>
                  <a:lnTo>
                    <a:pt x="228" y="453"/>
                  </a:lnTo>
                  <a:lnTo>
                    <a:pt x="227" y="452"/>
                  </a:lnTo>
                  <a:lnTo>
                    <a:pt x="225" y="451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48"/>
                  </a:lnTo>
                  <a:lnTo>
                    <a:pt x="220" y="447"/>
                  </a:lnTo>
                  <a:lnTo>
                    <a:pt x="219" y="446"/>
                  </a:lnTo>
                  <a:lnTo>
                    <a:pt x="218" y="445"/>
                  </a:lnTo>
                  <a:lnTo>
                    <a:pt x="218" y="445"/>
                  </a:lnTo>
                  <a:lnTo>
                    <a:pt x="217" y="443"/>
                  </a:lnTo>
                  <a:lnTo>
                    <a:pt x="217" y="442"/>
                  </a:lnTo>
                  <a:lnTo>
                    <a:pt x="216" y="441"/>
                  </a:lnTo>
                  <a:lnTo>
                    <a:pt x="216" y="440"/>
                  </a:lnTo>
                  <a:lnTo>
                    <a:pt x="215" y="435"/>
                  </a:lnTo>
                  <a:lnTo>
                    <a:pt x="215" y="433"/>
                  </a:lnTo>
                  <a:lnTo>
                    <a:pt x="214" y="432"/>
                  </a:lnTo>
                  <a:lnTo>
                    <a:pt x="214" y="431"/>
                  </a:lnTo>
                  <a:lnTo>
                    <a:pt x="214" y="430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2" y="428"/>
                  </a:lnTo>
                  <a:lnTo>
                    <a:pt x="209" y="425"/>
                  </a:lnTo>
                  <a:lnTo>
                    <a:pt x="206" y="421"/>
                  </a:lnTo>
                  <a:lnTo>
                    <a:pt x="201" y="416"/>
                  </a:lnTo>
                  <a:lnTo>
                    <a:pt x="200" y="415"/>
                  </a:lnTo>
                  <a:lnTo>
                    <a:pt x="200" y="415"/>
                  </a:lnTo>
                  <a:lnTo>
                    <a:pt x="199" y="414"/>
                  </a:lnTo>
                  <a:lnTo>
                    <a:pt x="199" y="413"/>
                  </a:lnTo>
                  <a:lnTo>
                    <a:pt x="198" y="412"/>
                  </a:lnTo>
                  <a:lnTo>
                    <a:pt x="197" y="409"/>
                  </a:lnTo>
                  <a:lnTo>
                    <a:pt x="196" y="408"/>
                  </a:lnTo>
                  <a:lnTo>
                    <a:pt x="195" y="406"/>
                  </a:lnTo>
                  <a:lnTo>
                    <a:pt x="193" y="403"/>
                  </a:lnTo>
                  <a:lnTo>
                    <a:pt x="192" y="402"/>
                  </a:lnTo>
                  <a:lnTo>
                    <a:pt x="191" y="401"/>
                  </a:lnTo>
                  <a:lnTo>
                    <a:pt x="189" y="398"/>
                  </a:lnTo>
                  <a:lnTo>
                    <a:pt x="189" y="397"/>
                  </a:lnTo>
                  <a:lnTo>
                    <a:pt x="188" y="396"/>
                  </a:lnTo>
                  <a:lnTo>
                    <a:pt x="188" y="395"/>
                  </a:lnTo>
                  <a:lnTo>
                    <a:pt x="187" y="395"/>
                  </a:lnTo>
                  <a:lnTo>
                    <a:pt x="184" y="392"/>
                  </a:lnTo>
                  <a:lnTo>
                    <a:pt x="183" y="391"/>
                  </a:lnTo>
                  <a:lnTo>
                    <a:pt x="182" y="390"/>
                  </a:lnTo>
                  <a:lnTo>
                    <a:pt x="181" y="388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4"/>
                  </a:lnTo>
                  <a:lnTo>
                    <a:pt x="176" y="384"/>
                  </a:lnTo>
                  <a:lnTo>
                    <a:pt x="176" y="383"/>
                  </a:lnTo>
                  <a:lnTo>
                    <a:pt x="175" y="382"/>
                  </a:lnTo>
                  <a:lnTo>
                    <a:pt x="175" y="381"/>
                  </a:lnTo>
                  <a:lnTo>
                    <a:pt x="174" y="380"/>
                  </a:lnTo>
                  <a:lnTo>
                    <a:pt x="174" y="379"/>
                  </a:lnTo>
                  <a:lnTo>
                    <a:pt x="174" y="378"/>
                  </a:lnTo>
                  <a:lnTo>
                    <a:pt x="173" y="374"/>
                  </a:lnTo>
                  <a:lnTo>
                    <a:pt x="173" y="372"/>
                  </a:lnTo>
                  <a:lnTo>
                    <a:pt x="173" y="371"/>
                  </a:lnTo>
                  <a:lnTo>
                    <a:pt x="172" y="370"/>
                  </a:lnTo>
                  <a:lnTo>
                    <a:pt x="172" y="369"/>
                  </a:lnTo>
                  <a:lnTo>
                    <a:pt x="171" y="369"/>
                  </a:lnTo>
                  <a:lnTo>
                    <a:pt x="171" y="368"/>
                  </a:lnTo>
                  <a:lnTo>
                    <a:pt x="170" y="367"/>
                  </a:lnTo>
                  <a:lnTo>
                    <a:pt x="168" y="365"/>
                  </a:lnTo>
                  <a:lnTo>
                    <a:pt x="165" y="362"/>
                  </a:lnTo>
                  <a:lnTo>
                    <a:pt x="162" y="358"/>
                  </a:lnTo>
                  <a:lnTo>
                    <a:pt x="160" y="357"/>
                  </a:lnTo>
                  <a:lnTo>
                    <a:pt x="159" y="355"/>
                  </a:lnTo>
                  <a:lnTo>
                    <a:pt x="158" y="354"/>
                  </a:lnTo>
                  <a:lnTo>
                    <a:pt x="156" y="353"/>
                  </a:lnTo>
                  <a:lnTo>
                    <a:pt x="155" y="353"/>
                  </a:lnTo>
                  <a:lnTo>
                    <a:pt x="155" y="352"/>
                  </a:lnTo>
                  <a:lnTo>
                    <a:pt x="153" y="351"/>
                  </a:lnTo>
                  <a:lnTo>
                    <a:pt x="151" y="350"/>
                  </a:lnTo>
                  <a:lnTo>
                    <a:pt x="150" y="350"/>
                  </a:lnTo>
                  <a:lnTo>
                    <a:pt x="149" y="349"/>
                  </a:lnTo>
                  <a:lnTo>
                    <a:pt x="148" y="349"/>
                  </a:lnTo>
                  <a:lnTo>
                    <a:pt x="145" y="348"/>
                  </a:lnTo>
                  <a:lnTo>
                    <a:pt x="143" y="347"/>
                  </a:lnTo>
                  <a:lnTo>
                    <a:pt x="138" y="346"/>
                  </a:lnTo>
                  <a:lnTo>
                    <a:pt x="136" y="346"/>
                  </a:lnTo>
                  <a:lnTo>
                    <a:pt x="134" y="346"/>
                  </a:lnTo>
                  <a:lnTo>
                    <a:pt x="134" y="346"/>
                  </a:lnTo>
                  <a:lnTo>
                    <a:pt x="133" y="346"/>
                  </a:lnTo>
                  <a:lnTo>
                    <a:pt x="133" y="346"/>
                  </a:lnTo>
                  <a:lnTo>
                    <a:pt x="132" y="346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8"/>
                  </a:lnTo>
                  <a:lnTo>
                    <a:pt x="130" y="349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9" y="350"/>
                  </a:lnTo>
                  <a:lnTo>
                    <a:pt x="128" y="350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6" y="350"/>
                  </a:lnTo>
                  <a:lnTo>
                    <a:pt x="125" y="350"/>
                  </a:lnTo>
                  <a:lnTo>
                    <a:pt x="122" y="350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7" y="348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0" y="348"/>
                  </a:lnTo>
                  <a:lnTo>
                    <a:pt x="109" y="348"/>
                  </a:lnTo>
                  <a:lnTo>
                    <a:pt x="107" y="347"/>
                  </a:lnTo>
                  <a:lnTo>
                    <a:pt x="106" y="347"/>
                  </a:lnTo>
                  <a:lnTo>
                    <a:pt x="105" y="346"/>
                  </a:lnTo>
                  <a:lnTo>
                    <a:pt x="103" y="346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1" y="344"/>
                  </a:lnTo>
                  <a:lnTo>
                    <a:pt x="100" y="343"/>
                  </a:lnTo>
                  <a:lnTo>
                    <a:pt x="100" y="342"/>
                  </a:lnTo>
                  <a:lnTo>
                    <a:pt x="99" y="342"/>
                  </a:lnTo>
                  <a:lnTo>
                    <a:pt x="98" y="339"/>
                  </a:lnTo>
                  <a:lnTo>
                    <a:pt x="96" y="335"/>
                  </a:lnTo>
                  <a:lnTo>
                    <a:pt x="95" y="334"/>
                  </a:lnTo>
                  <a:lnTo>
                    <a:pt x="94" y="332"/>
                  </a:lnTo>
                  <a:lnTo>
                    <a:pt x="94" y="331"/>
                  </a:lnTo>
                  <a:lnTo>
                    <a:pt x="93" y="328"/>
                  </a:lnTo>
                  <a:lnTo>
                    <a:pt x="92" y="326"/>
                  </a:lnTo>
                  <a:lnTo>
                    <a:pt x="92" y="325"/>
                  </a:lnTo>
                  <a:lnTo>
                    <a:pt x="91" y="324"/>
                  </a:lnTo>
                  <a:lnTo>
                    <a:pt x="91" y="323"/>
                  </a:lnTo>
                  <a:lnTo>
                    <a:pt x="90" y="321"/>
                  </a:lnTo>
                  <a:lnTo>
                    <a:pt x="89" y="320"/>
                  </a:lnTo>
                  <a:lnTo>
                    <a:pt x="88" y="319"/>
                  </a:lnTo>
                  <a:lnTo>
                    <a:pt x="86" y="317"/>
                  </a:lnTo>
                  <a:lnTo>
                    <a:pt x="85" y="316"/>
                  </a:lnTo>
                  <a:lnTo>
                    <a:pt x="79" y="312"/>
                  </a:lnTo>
                  <a:lnTo>
                    <a:pt x="78" y="311"/>
                  </a:lnTo>
                  <a:lnTo>
                    <a:pt x="77" y="310"/>
                  </a:lnTo>
                  <a:lnTo>
                    <a:pt x="76" y="309"/>
                  </a:lnTo>
                  <a:lnTo>
                    <a:pt x="74" y="309"/>
                  </a:lnTo>
                  <a:lnTo>
                    <a:pt x="71" y="307"/>
                  </a:lnTo>
                  <a:lnTo>
                    <a:pt x="69" y="306"/>
                  </a:lnTo>
                  <a:lnTo>
                    <a:pt x="68" y="306"/>
                  </a:lnTo>
                  <a:lnTo>
                    <a:pt x="67" y="305"/>
                  </a:lnTo>
                  <a:lnTo>
                    <a:pt x="66" y="304"/>
                  </a:lnTo>
                  <a:lnTo>
                    <a:pt x="65" y="303"/>
                  </a:lnTo>
                  <a:lnTo>
                    <a:pt x="65" y="303"/>
                  </a:lnTo>
                  <a:lnTo>
                    <a:pt x="65" y="302"/>
                  </a:lnTo>
                  <a:lnTo>
                    <a:pt x="64" y="302"/>
                  </a:lnTo>
                  <a:lnTo>
                    <a:pt x="64" y="301"/>
                  </a:lnTo>
                  <a:lnTo>
                    <a:pt x="64" y="300"/>
                  </a:lnTo>
                  <a:lnTo>
                    <a:pt x="63" y="299"/>
                  </a:lnTo>
                  <a:lnTo>
                    <a:pt x="63" y="298"/>
                  </a:lnTo>
                  <a:lnTo>
                    <a:pt x="62" y="294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59" y="286"/>
                  </a:lnTo>
                  <a:lnTo>
                    <a:pt x="59" y="285"/>
                  </a:lnTo>
                  <a:lnTo>
                    <a:pt x="59" y="284"/>
                  </a:lnTo>
                  <a:lnTo>
                    <a:pt x="59" y="283"/>
                  </a:lnTo>
                  <a:lnTo>
                    <a:pt x="59" y="282"/>
                  </a:lnTo>
                  <a:lnTo>
                    <a:pt x="59" y="281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6"/>
                  </a:lnTo>
                  <a:lnTo>
                    <a:pt x="59" y="265"/>
                  </a:lnTo>
                  <a:lnTo>
                    <a:pt x="59" y="264"/>
                  </a:lnTo>
                  <a:lnTo>
                    <a:pt x="58" y="263"/>
                  </a:lnTo>
                  <a:lnTo>
                    <a:pt x="58" y="262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56" y="260"/>
                  </a:lnTo>
                  <a:lnTo>
                    <a:pt x="54" y="259"/>
                  </a:lnTo>
                  <a:lnTo>
                    <a:pt x="52" y="259"/>
                  </a:lnTo>
                  <a:lnTo>
                    <a:pt x="50" y="258"/>
                  </a:lnTo>
                  <a:lnTo>
                    <a:pt x="49" y="257"/>
                  </a:lnTo>
                  <a:lnTo>
                    <a:pt x="49" y="257"/>
                  </a:lnTo>
                  <a:lnTo>
                    <a:pt x="48" y="256"/>
                  </a:lnTo>
                  <a:lnTo>
                    <a:pt x="47" y="256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0" y="242"/>
                  </a:lnTo>
                  <a:lnTo>
                    <a:pt x="40" y="241"/>
                  </a:lnTo>
                  <a:lnTo>
                    <a:pt x="40" y="240"/>
                  </a:lnTo>
                  <a:lnTo>
                    <a:pt x="39" y="234"/>
                  </a:lnTo>
                  <a:lnTo>
                    <a:pt x="39" y="233"/>
                  </a:lnTo>
                  <a:lnTo>
                    <a:pt x="39" y="231"/>
                  </a:lnTo>
                  <a:lnTo>
                    <a:pt x="39" y="229"/>
                  </a:lnTo>
                  <a:lnTo>
                    <a:pt x="37" y="225"/>
                  </a:lnTo>
                  <a:lnTo>
                    <a:pt x="37" y="223"/>
                  </a:lnTo>
                  <a:lnTo>
                    <a:pt x="36" y="222"/>
                  </a:lnTo>
                  <a:lnTo>
                    <a:pt x="35" y="221"/>
                  </a:lnTo>
                  <a:lnTo>
                    <a:pt x="35" y="220"/>
                  </a:lnTo>
                  <a:lnTo>
                    <a:pt x="34" y="219"/>
                  </a:lnTo>
                  <a:lnTo>
                    <a:pt x="34" y="218"/>
                  </a:lnTo>
                  <a:lnTo>
                    <a:pt x="33" y="218"/>
                  </a:lnTo>
                  <a:lnTo>
                    <a:pt x="32" y="217"/>
                  </a:lnTo>
                  <a:lnTo>
                    <a:pt x="30" y="216"/>
                  </a:lnTo>
                  <a:lnTo>
                    <a:pt x="30" y="216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6" y="207"/>
                  </a:lnTo>
                  <a:lnTo>
                    <a:pt x="25" y="205"/>
                  </a:lnTo>
                  <a:lnTo>
                    <a:pt x="25" y="205"/>
                  </a:lnTo>
                  <a:lnTo>
                    <a:pt x="25" y="204"/>
                  </a:lnTo>
                  <a:lnTo>
                    <a:pt x="26" y="203"/>
                  </a:lnTo>
                  <a:lnTo>
                    <a:pt x="26" y="201"/>
                  </a:lnTo>
                  <a:lnTo>
                    <a:pt x="26" y="198"/>
                  </a:lnTo>
                  <a:lnTo>
                    <a:pt x="27" y="196"/>
                  </a:lnTo>
                  <a:lnTo>
                    <a:pt x="27" y="195"/>
                  </a:lnTo>
                  <a:lnTo>
                    <a:pt x="27" y="194"/>
                  </a:lnTo>
                  <a:lnTo>
                    <a:pt x="27" y="193"/>
                  </a:lnTo>
                  <a:lnTo>
                    <a:pt x="27" y="192"/>
                  </a:lnTo>
                  <a:lnTo>
                    <a:pt x="26" y="191"/>
                  </a:lnTo>
                  <a:lnTo>
                    <a:pt x="26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18" y="184"/>
                  </a:lnTo>
                  <a:lnTo>
                    <a:pt x="17" y="184"/>
                  </a:lnTo>
                  <a:lnTo>
                    <a:pt x="16" y="183"/>
                  </a:lnTo>
                  <a:lnTo>
                    <a:pt x="13" y="182"/>
                  </a:lnTo>
                  <a:lnTo>
                    <a:pt x="9" y="179"/>
                  </a:lnTo>
                  <a:lnTo>
                    <a:pt x="6" y="178"/>
                  </a:lnTo>
                  <a:lnTo>
                    <a:pt x="6" y="177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3" y="175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1" y="173"/>
                  </a:lnTo>
                  <a:lnTo>
                    <a:pt x="0" y="172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:a16="http://schemas.microsoft.com/office/drawing/2014/main" id="{343B9CDF-61A9-C498-702F-B63C3E317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301"/>
              <a:ext cx="279" cy="173"/>
            </a:xfrm>
            <a:custGeom>
              <a:avLst/>
              <a:gdLst>
                <a:gd name="T0" fmla="*/ 2 w 279"/>
                <a:gd name="T1" fmla="*/ 162 h 173"/>
                <a:gd name="T2" fmla="*/ 0 w 279"/>
                <a:gd name="T3" fmla="*/ 155 h 173"/>
                <a:gd name="T4" fmla="*/ 2 w 279"/>
                <a:gd name="T5" fmla="*/ 151 h 173"/>
                <a:gd name="T6" fmla="*/ 9 w 279"/>
                <a:gd name="T7" fmla="*/ 146 h 173"/>
                <a:gd name="T8" fmla="*/ 18 w 279"/>
                <a:gd name="T9" fmla="*/ 140 h 173"/>
                <a:gd name="T10" fmla="*/ 19 w 279"/>
                <a:gd name="T11" fmla="*/ 136 h 173"/>
                <a:gd name="T12" fmla="*/ 23 w 279"/>
                <a:gd name="T13" fmla="*/ 120 h 173"/>
                <a:gd name="T14" fmla="*/ 27 w 279"/>
                <a:gd name="T15" fmla="*/ 114 h 173"/>
                <a:gd name="T16" fmla="*/ 31 w 279"/>
                <a:gd name="T17" fmla="*/ 108 h 173"/>
                <a:gd name="T18" fmla="*/ 38 w 279"/>
                <a:gd name="T19" fmla="*/ 96 h 173"/>
                <a:gd name="T20" fmla="*/ 45 w 279"/>
                <a:gd name="T21" fmla="*/ 87 h 173"/>
                <a:gd name="T22" fmla="*/ 52 w 279"/>
                <a:gd name="T23" fmla="*/ 87 h 173"/>
                <a:gd name="T24" fmla="*/ 60 w 279"/>
                <a:gd name="T25" fmla="*/ 89 h 173"/>
                <a:gd name="T26" fmla="*/ 65 w 279"/>
                <a:gd name="T27" fmla="*/ 86 h 173"/>
                <a:gd name="T28" fmla="*/ 71 w 279"/>
                <a:gd name="T29" fmla="*/ 83 h 173"/>
                <a:gd name="T30" fmla="*/ 76 w 279"/>
                <a:gd name="T31" fmla="*/ 84 h 173"/>
                <a:gd name="T32" fmla="*/ 80 w 279"/>
                <a:gd name="T33" fmla="*/ 87 h 173"/>
                <a:gd name="T34" fmla="*/ 83 w 279"/>
                <a:gd name="T35" fmla="*/ 91 h 173"/>
                <a:gd name="T36" fmla="*/ 84 w 279"/>
                <a:gd name="T37" fmla="*/ 90 h 173"/>
                <a:gd name="T38" fmla="*/ 86 w 279"/>
                <a:gd name="T39" fmla="*/ 86 h 173"/>
                <a:gd name="T40" fmla="*/ 91 w 279"/>
                <a:gd name="T41" fmla="*/ 83 h 173"/>
                <a:gd name="T42" fmla="*/ 94 w 279"/>
                <a:gd name="T43" fmla="*/ 80 h 173"/>
                <a:gd name="T44" fmla="*/ 101 w 279"/>
                <a:gd name="T45" fmla="*/ 77 h 173"/>
                <a:gd name="T46" fmla="*/ 110 w 279"/>
                <a:gd name="T47" fmla="*/ 75 h 173"/>
                <a:gd name="T48" fmla="*/ 118 w 279"/>
                <a:gd name="T49" fmla="*/ 73 h 173"/>
                <a:gd name="T50" fmla="*/ 123 w 279"/>
                <a:gd name="T51" fmla="*/ 73 h 173"/>
                <a:gd name="T52" fmla="*/ 132 w 279"/>
                <a:gd name="T53" fmla="*/ 76 h 173"/>
                <a:gd name="T54" fmla="*/ 139 w 279"/>
                <a:gd name="T55" fmla="*/ 78 h 173"/>
                <a:gd name="T56" fmla="*/ 146 w 279"/>
                <a:gd name="T57" fmla="*/ 78 h 173"/>
                <a:gd name="T58" fmla="*/ 151 w 279"/>
                <a:gd name="T59" fmla="*/ 78 h 173"/>
                <a:gd name="T60" fmla="*/ 157 w 279"/>
                <a:gd name="T61" fmla="*/ 80 h 173"/>
                <a:gd name="T62" fmla="*/ 162 w 279"/>
                <a:gd name="T63" fmla="*/ 78 h 173"/>
                <a:gd name="T64" fmla="*/ 168 w 279"/>
                <a:gd name="T65" fmla="*/ 73 h 173"/>
                <a:gd name="T66" fmla="*/ 170 w 279"/>
                <a:gd name="T67" fmla="*/ 65 h 173"/>
                <a:gd name="T68" fmla="*/ 170 w 279"/>
                <a:gd name="T69" fmla="*/ 60 h 173"/>
                <a:gd name="T70" fmla="*/ 173 w 279"/>
                <a:gd name="T71" fmla="*/ 57 h 173"/>
                <a:gd name="T72" fmla="*/ 182 w 279"/>
                <a:gd name="T73" fmla="*/ 53 h 173"/>
                <a:gd name="T74" fmla="*/ 192 w 279"/>
                <a:gd name="T75" fmla="*/ 47 h 173"/>
                <a:gd name="T76" fmla="*/ 200 w 279"/>
                <a:gd name="T77" fmla="*/ 41 h 173"/>
                <a:gd name="T78" fmla="*/ 207 w 279"/>
                <a:gd name="T79" fmla="*/ 34 h 173"/>
                <a:gd name="T80" fmla="*/ 210 w 279"/>
                <a:gd name="T81" fmla="*/ 33 h 173"/>
                <a:gd name="T82" fmla="*/ 217 w 279"/>
                <a:gd name="T83" fmla="*/ 35 h 173"/>
                <a:gd name="T84" fmla="*/ 228 w 279"/>
                <a:gd name="T85" fmla="*/ 36 h 173"/>
                <a:gd name="T86" fmla="*/ 233 w 279"/>
                <a:gd name="T87" fmla="*/ 39 h 173"/>
                <a:gd name="T88" fmla="*/ 241 w 279"/>
                <a:gd name="T89" fmla="*/ 45 h 173"/>
                <a:gd name="T90" fmla="*/ 245 w 279"/>
                <a:gd name="T91" fmla="*/ 47 h 173"/>
                <a:gd name="T92" fmla="*/ 249 w 279"/>
                <a:gd name="T93" fmla="*/ 47 h 173"/>
                <a:gd name="T94" fmla="*/ 250 w 279"/>
                <a:gd name="T95" fmla="*/ 43 h 173"/>
                <a:gd name="T96" fmla="*/ 252 w 279"/>
                <a:gd name="T97" fmla="*/ 32 h 173"/>
                <a:gd name="T98" fmla="*/ 252 w 279"/>
                <a:gd name="T99" fmla="*/ 27 h 173"/>
                <a:gd name="T100" fmla="*/ 255 w 279"/>
                <a:gd name="T101" fmla="*/ 25 h 173"/>
                <a:gd name="T102" fmla="*/ 263 w 279"/>
                <a:gd name="T103" fmla="*/ 23 h 173"/>
                <a:gd name="T104" fmla="*/ 268 w 279"/>
                <a:gd name="T105" fmla="*/ 20 h 173"/>
                <a:gd name="T106" fmla="*/ 269 w 279"/>
                <a:gd name="T107" fmla="*/ 16 h 173"/>
                <a:gd name="T108" fmla="*/ 268 w 279"/>
                <a:gd name="T109" fmla="*/ 14 h 173"/>
                <a:gd name="T110" fmla="*/ 267 w 279"/>
                <a:gd name="T111" fmla="*/ 10 h 173"/>
                <a:gd name="T112" fmla="*/ 269 w 279"/>
                <a:gd name="T113" fmla="*/ 4 h 173"/>
                <a:gd name="T114" fmla="*/ 271 w 279"/>
                <a:gd name="T115" fmla="*/ 2 h 173"/>
                <a:gd name="T116" fmla="*/ 274 w 279"/>
                <a:gd name="T117" fmla="*/ 2 h 173"/>
                <a:gd name="T118" fmla="*/ 278 w 279"/>
                <a:gd name="T119" fmla="*/ 1 h 173"/>
                <a:gd name="T120" fmla="*/ 279 w 279"/>
                <a:gd name="T12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9" h="173">
                  <a:moveTo>
                    <a:pt x="8" y="173"/>
                  </a:moveTo>
                  <a:lnTo>
                    <a:pt x="7" y="170"/>
                  </a:lnTo>
                  <a:lnTo>
                    <a:pt x="5" y="167"/>
                  </a:lnTo>
                  <a:lnTo>
                    <a:pt x="3" y="163"/>
                  </a:lnTo>
                  <a:lnTo>
                    <a:pt x="2" y="162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6"/>
                  </a:lnTo>
                  <a:lnTo>
                    <a:pt x="0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6" y="147"/>
                  </a:lnTo>
                  <a:lnTo>
                    <a:pt x="9" y="146"/>
                  </a:lnTo>
                  <a:lnTo>
                    <a:pt x="14" y="143"/>
                  </a:lnTo>
                  <a:lnTo>
                    <a:pt x="15" y="142"/>
                  </a:lnTo>
                  <a:lnTo>
                    <a:pt x="16" y="141"/>
                  </a:lnTo>
                  <a:lnTo>
                    <a:pt x="17" y="140"/>
                  </a:lnTo>
                  <a:lnTo>
                    <a:pt x="18" y="140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9" y="138"/>
                  </a:lnTo>
                  <a:lnTo>
                    <a:pt x="19" y="137"/>
                  </a:lnTo>
                  <a:lnTo>
                    <a:pt x="19" y="136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21" y="128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3" y="119"/>
                  </a:lnTo>
                  <a:lnTo>
                    <a:pt x="24" y="118"/>
                  </a:lnTo>
                  <a:lnTo>
                    <a:pt x="25" y="117"/>
                  </a:lnTo>
                  <a:lnTo>
                    <a:pt x="26" y="116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9" y="112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3" y="106"/>
                  </a:lnTo>
                  <a:lnTo>
                    <a:pt x="34" y="105"/>
                  </a:lnTo>
                  <a:lnTo>
                    <a:pt x="35" y="103"/>
                  </a:lnTo>
                  <a:lnTo>
                    <a:pt x="37" y="98"/>
                  </a:lnTo>
                  <a:lnTo>
                    <a:pt x="38" y="96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2"/>
                  </a:lnTo>
                  <a:lnTo>
                    <a:pt x="44" y="88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2" y="87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89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5" y="86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8" y="84"/>
                  </a:lnTo>
                  <a:lnTo>
                    <a:pt x="69" y="84"/>
                  </a:lnTo>
                  <a:lnTo>
                    <a:pt x="71" y="83"/>
                  </a:lnTo>
                  <a:lnTo>
                    <a:pt x="72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5" y="83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8" y="85"/>
                  </a:lnTo>
                  <a:lnTo>
                    <a:pt x="79" y="86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1" y="89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89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7"/>
                  </a:lnTo>
                  <a:lnTo>
                    <a:pt x="86" y="86"/>
                  </a:lnTo>
                  <a:lnTo>
                    <a:pt x="87" y="86"/>
                  </a:lnTo>
                  <a:lnTo>
                    <a:pt x="88" y="85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8" y="78"/>
                  </a:lnTo>
                  <a:lnTo>
                    <a:pt x="100" y="78"/>
                  </a:lnTo>
                  <a:lnTo>
                    <a:pt x="101" y="77"/>
                  </a:lnTo>
                  <a:lnTo>
                    <a:pt x="103" y="77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9" y="75"/>
                  </a:lnTo>
                  <a:lnTo>
                    <a:pt x="110" y="75"/>
                  </a:lnTo>
                  <a:lnTo>
                    <a:pt x="112" y="75"/>
                  </a:lnTo>
                  <a:lnTo>
                    <a:pt x="113" y="75"/>
                  </a:lnTo>
                  <a:lnTo>
                    <a:pt x="114" y="75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20" y="73"/>
                  </a:lnTo>
                  <a:lnTo>
                    <a:pt x="121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4" y="74"/>
                  </a:lnTo>
                  <a:lnTo>
                    <a:pt x="126" y="74"/>
                  </a:lnTo>
                  <a:lnTo>
                    <a:pt x="127" y="75"/>
                  </a:lnTo>
                  <a:lnTo>
                    <a:pt x="132" y="76"/>
                  </a:lnTo>
                  <a:lnTo>
                    <a:pt x="133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40" y="78"/>
                  </a:lnTo>
                  <a:lnTo>
                    <a:pt x="141" y="78"/>
                  </a:lnTo>
                  <a:lnTo>
                    <a:pt x="142" y="78"/>
                  </a:lnTo>
                  <a:lnTo>
                    <a:pt x="144" y="78"/>
                  </a:lnTo>
                  <a:lnTo>
                    <a:pt x="146" y="78"/>
                  </a:lnTo>
                  <a:lnTo>
                    <a:pt x="147" y="78"/>
                  </a:lnTo>
                  <a:lnTo>
                    <a:pt x="148" y="77"/>
                  </a:lnTo>
                  <a:lnTo>
                    <a:pt x="149" y="77"/>
                  </a:lnTo>
                  <a:lnTo>
                    <a:pt x="150" y="78"/>
                  </a:lnTo>
                  <a:lnTo>
                    <a:pt x="151" y="78"/>
                  </a:lnTo>
                  <a:lnTo>
                    <a:pt x="152" y="78"/>
                  </a:lnTo>
                  <a:lnTo>
                    <a:pt x="155" y="79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7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7" y="74"/>
                  </a:lnTo>
                  <a:lnTo>
                    <a:pt x="168" y="73"/>
                  </a:lnTo>
                  <a:lnTo>
                    <a:pt x="168" y="72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70" y="66"/>
                  </a:lnTo>
                  <a:lnTo>
                    <a:pt x="170" y="65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1" y="59"/>
                  </a:lnTo>
                  <a:lnTo>
                    <a:pt x="171" y="58"/>
                  </a:lnTo>
                  <a:lnTo>
                    <a:pt x="172" y="58"/>
                  </a:lnTo>
                  <a:lnTo>
                    <a:pt x="172" y="57"/>
                  </a:lnTo>
                  <a:lnTo>
                    <a:pt x="173" y="57"/>
                  </a:lnTo>
                  <a:lnTo>
                    <a:pt x="174" y="57"/>
                  </a:lnTo>
                  <a:lnTo>
                    <a:pt x="176" y="56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92" y="47"/>
                  </a:lnTo>
                  <a:lnTo>
                    <a:pt x="194" y="45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0" y="42"/>
                  </a:lnTo>
                  <a:lnTo>
                    <a:pt x="200" y="41"/>
                  </a:lnTo>
                  <a:lnTo>
                    <a:pt x="202" y="40"/>
                  </a:lnTo>
                  <a:lnTo>
                    <a:pt x="203" y="38"/>
                  </a:lnTo>
                  <a:lnTo>
                    <a:pt x="205" y="37"/>
                  </a:lnTo>
                  <a:lnTo>
                    <a:pt x="207" y="35"/>
                  </a:lnTo>
                  <a:lnTo>
                    <a:pt x="207" y="34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7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6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2" y="38"/>
                  </a:lnTo>
                  <a:lnTo>
                    <a:pt x="233" y="39"/>
                  </a:lnTo>
                  <a:lnTo>
                    <a:pt x="235" y="41"/>
                  </a:lnTo>
                  <a:lnTo>
                    <a:pt x="236" y="41"/>
                  </a:lnTo>
                  <a:lnTo>
                    <a:pt x="237" y="42"/>
                  </a:lnTo>
                  <a:lnTo>
                    <a:pt x="240" y="44"/>
                  </a:lnTo>
                  <a:lnTo>
                    <a:pt x="241" y="45"/>
                  </a:lnTo>
                  <a:lnTo>
                    <a:pt x="242" y="46"/>
                  </a:lnTo>
                  <a:lnTo>
                    <a:pt x="243" y="46"/>
                  </a:lnTo>
                  <a:lnTo>
                    <a:pt x="244" y="47"/>
                  </a:lnTo>
                  <a:lnTo>
                    <a:pt x="245" y="47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7"/>
                  </a:lnTo>
                  <a:lnTo>
                    <a:pt x="249" y="47"/>
                  </a:lnTo>
                  <a:lnTo>
                    <a:pt x="249" y="46"/>
                  </a:lnTo>
                  <a:lnTo>
                    <a:pt x="250" y="46"/>
                  </a:lnTo>
                  <a:lnTo>
                    <a:pt x="250" y="45"/>
                  </a:lnTo>
                  <a:lnTo>
                    <a:pt x="250" y="44"/>
                  </a:lnTo>
                  <a:lnTo>
                    <a:pt x="250" y="43"/>
                  </a:lnTo>
                  <a:lnTo>
                    <a:pt x="252" y="37"/>
                  </a:lnTo>
                  <a:lnTo>
                    <a:pt x="252" y="36"/>
                  </a:lnTo>
                  <a:lnTo>
                    <a:pt x="252" y="35"/>
                  </a:lnTo>
                  <a:lnTo>
                    <a:pt x="252" y="34"/>
                  </a:lnTo>
                  <a:lnTo>
                    <a:pt x="252" y="32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2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3" y="26"/>
                  </a:lnTo>
                  <a:lnTo>
                    <a:pt x="254" y="26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7" y="25"/>
                  </a:lnTo>
                  <a:lnTo>
                    <a:pt x="259" y="24"/>
                  </a:lnTo>
                  <a:lnTo>
                    <a:pt x="262" y="23"/>
                  </a:lnTo>
                  <a:lnTo>
                    <a:pt x="263" y="23"/>
                  </a:lnTo>
                  <a:lnTo>
                    <a:pt x="264" y="22"/>
                  </a:lnTo>
                  <a:lnTo>
                    <a:pt x="265" y="21"/>
                  </a:lnTo>
                  <a:lnTo>
                    <a:pt x="266" y="21"/>
                  </a:lnTo>
                  <a:lnTo>
                    <a:pt x="267" y="20"/>
                  </a:lnTo>
                  <a:lnTo>
                    <a:pt x="268" y="20"/>
                  </a:lnTo>
                  <a:lnTo>
                    <a:pt x="268" y="19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7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4"/>
                  </a:lnTo>
                  <a:lnTo>
                    <a:pt x="268" y="14"/>
                  </a:lnTo>
                  <a:lnTo>
                    <a:pt x="268" y="12"/>
                  </a:lnTo>
                  <a:lnTo>
                    <a:pt x="267" y="12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7" y="10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8" y="7"/>
                  </a:lnTo>
                  <a:lnTo>
                    <a:pt x="268" y="6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69" y="4"/>
                  </a:lnTo>
                  <a:lnTo>
                    <a:pt x="270" y="3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6" y="2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9" y="1"/>
                  </a:lnTo>
                  <a:lnTo>
                    <a:pt x="279" y="0"/>
                  </a:lnTo>
                  <a:lnTo>
                    <a:pt x="279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C60A51FF-F85E-C2E6-70A6-042AD699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" y="3133"/>
              <a:ext cx="354" cy="259"/>
            </a:xfrm>
            <a:custGeom>
              <a:avLst/>
              <a:gdLst>
                <a:gd name="T0" fmla="*/ 244 w 354"/>
                <a:gd name="T1" fmla="*/ 19 h 259"/>
                <a:gd name="T2" fmla="*/ 262 w 354"/>
                <a:gd name="T3" fmla="*/ 31 h 259"/>
                <a:gd name="T4" fmla="*/ 289 w 354"/>
                <a:gd name="T5" fmla="*/ 36 h 259"/>
                <a:gd name="T6" fmla="*/ 298 w 354"/>
                <a:gd name="T7" fmla="*/ 48 h 259"/>
                <a:gd name="T8" fmla="*/ 305 w 354"/>
                <a:gd name="T9" fmla="*/ 51 h 259"/>
                <a:gd name="T10" fmla="*/ 329 w 354"/>
                <a:gd name="T11" fmla="*/ 51 h 259"/>
                <a:gd name="T12" fmla="*/ 336 w 354"/>
                <a:gd name="T13" fmla="*/ 63 h 259"/>
                <a:gd name="T14" fmla="*/ 333 w 354"/>
                <a:gd name="T15" fmla="*/ 85 h 259"/>
                <a:gd name="T16" fmla="*/ 335 w 354"/>
                <a:gd name="T17" fmla="*/ 104 h 259"/>
                <a:gd name="T18" fmla="*/ 340 w 354"/>
                <a:gd name="T19" fmla="*/ 118 h 259"/>
                <a:gd name="T20" fmla="*/ 349 w 354"/>
                <a:gd name="T21" fmla="*/ 141 h 259"/>
                <a:gd name="T22" fmla="*/ 347 w 354"/>
                <a:gd name="T23" fmla="*/ 150 h 259"/>
                <a:gd name="T24" fmla="*/ 336 w 354"/>
                <a:gd name="T25" fmla="*/ 152 h 259"/>
                <a:gd name="T26" fmla="*/ 345 w 354"/>
                <a:gd name="T27" fmla="*/ 158 h 259"/>
                <a:gd name="T28" fmla="*/ 352 w 354"/>
                <a:gd name="T29" fmla="*/ 171 h 259"/>
                <a:gd name="T30" fmla="*/ 351 w 354"/>
                <a:gd name="T31" fmla="*/ 182 h 259"/>
                <a:gd name="T32" fmla="*/ 344 w 354"/>
                <a:gd name="T33" fmla="*/ 191 h 259"/>
                <a:gd name="T34" fmla="*/ 334 w 354"/>
                <a:gd name="T35" fmla="*/ 202 h 259"/>
                <a:gd name="T36" fmla="*/ 327 w 354"/>
                <a:gd name="T37" fmla="*/ 215 h 259"/>
                <a:gd name="T38" fmla="*/ 308 w 354"/>
                <a:gd name="T39" fmla="*/ 204 h 259"/>
                <a:gd name="T40" fmla="*/ 289 w 354"/>
                <a:gd name="T41" fmla="*/ 203 h 259"/>
                <a:gd name="T42" fmla="*/ 262 w 354"/>
                <a:gd name="T43" fmla="*/ 222 h 259"/>
                <a:gd name="T44" fmla="*/ 252 w 354"/>
                <a:gd name="T45" fmla="*/ 234 h 259"/>
                <a:gd name="T46" fmla="*/ 238 w 354"/>
                <a:gd name="T47" fmla="*/ 248 h 259"/>
                <a:gd name="T48" fmla="*/ 220 w 354"/>
                <a:gd name="T49" fmla="*/ 246 h 259"/>
                <a:gd name="T50" fmla="*/ 199 w 354"/>
                <a:gd name="T51" fmla="*/ 242 h 259"/>
                <a:gd name="T52" fmla="*/ 176 w 354"/>
                <a:gd name="T53" fmla="*/ 248 h 259"/>
                <a:gd name="T54" fmla="*/ 166 w 354"/>
                <a:gd name="T55" fmla="*/ 258 h 259"/>
                <a:gd name="T56" fmla="*/ 157 w 354"/>
                <a:gd name="T57" fmla="*/ 251 h 259"/>
                <a:gd name="T58" fmla="*/ 141 w 354"/>
                <a:gd name="T59" fmla="*/ 257 h 259"/>
                <a:gd name="T60" fmla="*/ 124 w 354"/>
                <a:gd name="T61" fmla="*/ 247 h 259"/>
                <a:gd name="T62" fmla="*/ 107 w 354"/>
                <a:gd name="T63" fmla="*/ 233 h 259"/>
                <a:gd name="T64" fmla="*/ 110 w 354"/>
                <a:gd name="T65" fmla="*/ 220 h 259"/>
                <a:gd name="T66" fmla="*/ 95 w 354"/>
                <a:gd name="T67" fmla="*/ 213 h 259"/>
                <a:gd name="T68" fmla="*/ 80 w 354"/>
                <a:gd name="T69" fmla="*/ 201 h 259"/>
                <a:gd name="T70" fmla="*/ 61 w 354"/>
                <a:gd name="T71" fmla="*/ 187 h 259"/>
                <a:gd name="T72" fmla="*/ 46 w 354"/>
                <a:gd name="T73" fmla="*/ 177 h 259"/>
                <a:gd name="T74" fmla="*/ 39 w 354"/>
                <a:gd name="T75" fmla="*/ 163 h 259"/>
                <a:gd name="T76" fmla="*/ 27 w 354"/>
                <a:gd name="T77" fmla="*/ 150 h 259"/>
                <a:gd name="T78" fmla="*/ 30 w 354"/>
                <a:gd name="T79" fmla="*/ 125 h 259"/>
                <a:gd name="T80" fmla="*/ 18 w 354"/>
                <a:gd name="T81" fmla="*/ 106 h 259"/>
                <a:gd name="T82" fmla="*/ 3 w 354"/>
                <a:gd name="T83" fmla="*/ 94 h 259"/>
                <a:gd name="T84" fmla="*/ 2 w 354"/>
                <a:gd name="T85" fmla="*/ 84 h 259"/>
                <a:gd name="T86" fmla="*/ 9 w 354"/>
                <a:gd name="T87" fmla="*/ 73 h 259"/>
                <a:gd name="T88" fmla="*/ 4 w 354"/>
                <a:gd name="T89" fmla="*/ 58 h 259"/>
                <a:gd name="T90" fmla="*/ 23 w 354"/>
                <a:gd name="T91" fmla="*/ 58 h 259"/>
                <a:gd name="T92" fmla="*/ 32 w 354"/>
                <a:gd name="T93" fmla="*/ 77 h 259"/>
                <a:gd name="T94" fmla="*/ 47 w 354"/>
                <a:gd name="T95" fmla="*/ 87 h 259"/>
                <a:gd name="T96" fmla="*/ 45 w 354"/>
                <a:gd name="T97" fmla="*/ 94 h 259"/>
                <a:gd name="T98" fmla="*/ 54 w 354"/>
                <a:gd name="T99" fmla="*/ 112 h 259"/>
                <a:gd name="T100" fmla="*/ 58 w 354"/>
                <a:gd name="T101" fmla="*/ 126 h 259"/>
                <a:gd name="T102" fmla="*/ 67 w 354"/>
                <a:gd name="T103" fmla="*/ 121 h 259"/>
                <a:gd name="T104" fmla="*/ 69 w 354"/>
                <a:gd name="T105" fmla="*/ 99 h 259"/>
                <a:gd name="T106" fmla="*/ 75 w 354"/>
                <a:gd name="T107" fmla="*/ 90 h 259"/>
                <a:gd name="T108" fmla="*/ 88 w 354"/>
                <a:gd name="T109" fmla="*/ 69 h 259"/>
                <a:gd name="T110" fmla="*/ 100 w 354"/>
                <a:gd name="T111" fmla="*/ 55 h 259"/>
                <a:gd name="T112" fmla="*/ 116 w 354"/>
                <a:gd name="T113" fmla="*/ 43 h 259"/>
                <a:gd name="T114" fmla="*/ 128 w 354"/>
                <a:gd name="T115" fmla="*/ 26 h 259"/>
                <a:gd name="T116" fmla="*/ 171 w 354"/>
                <a:gd name="T117" fmla="*/ 21 h 259"/>
                <a:gd name="T118" fmla="*/ 191 w 354"/>
                <a:gd name="T119" fmla="*/ 14 h 259"/>
                <a:gd name="T120" fmla="*/ 208 w 354"/>
                <a:gd name="T121" fmla="*/ 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4" h="259">
                  <a:moveTo>
                    <a:pt x="217" y="0"/>
                  </a:moveTo>
                  <a:lnTo>
                    <a:pt x="218" y="1"/>
                  </a:lnTo>
                  <a:lnTo>
                    <a:pt x="220" y="2"/>
                  </a:lnTo>
                  <a:lnTo>
                    <a:pt x="221" y="3"/>
                  </a:lnTo>
                  <a:lnTo>
                    <a:pt x="226" y="6"/>
                  </a:lnTo>
                  <a:lnTo>
                    <a:pt x="231" y="10"/>
                  </a:lnTo>
                  <a:lnTo>
                    <a:pt x="233" y="12"/>
                  </a:lnTo>
                  <a:lnTo>
                    <a:pt x="235" y="12"/>
                  </a:lnTo>
                  <a:lnTo>
                    <a:pt x="237" y="14"/>
                  </a:lnTo>
                  <a:lnTo>
                    <a:pt x="239" y="16"/>
                  </a:lnTo>
                  <a:lnTo>
                    <a:pt x="240" y="16"/>
                  </a:lnTo>
                  <a:lnTo>
                    <a:pt x="241" y="17"/>
                  </a:lnTo>
                  <a:lnTo>
                    <a:pt x="242" y="18"/>
                  </a:lnTo>
                  <a:lnTo>
                    <a:pt x="243" y="18"/>
                  </a:lnTo>
                  <a:lnTo>
                    <a:pt x="244" y="19"/>
                  </a:lnTo>
                  <a:lnTo>
                    <a:pt x="246" y="20"/>
                  </a:lnTo>
                  <a:lnTo>
                    <a:pt x="248" y="22"/>
                  </a:lnTo>
                  <a:lnTo>
                    <a:pt x="249" y="23"/>
                  </a:lnTo>
                  <a:lnTo>
                    <a:pt x="251" y="25"/>
                  </a:lnTo>
                  <a:lnTo>
                    <a:pt x="251" y="26"/>
                  </a:lnTo>
                  <a:lnTo>
                    <a:pt x="252" y="26"/>
                  </a:lnTo>
                  <a:lnTo>
                    <a:pt x="252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3" y="26"/>
                  </a:lnTo>
                  <a:lnTo>
                    <a:pt x="257" y="29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5" y="32"/>
                  </a:lnTo>
                  <a:lnTo>
                    <a:pt x="267" y="32"/>
                  </a:lnTo>
                  <a:lnTo>
                    <a:pt x="269" y="32"/>
                  </a:lnTo>
                  <a:lnTo>
                    <a:pt x="272" y="32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78" y="34"/>
                  </a:lnTo>
                  <a:lnTo>
                    <a:pt x="280" y="35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5" y="35"/>
                  </a:lnTo>
                  <a:lnTo>
                    <a:pt x="287" y="35"/>
                  </a:lnTo>
                  <a:lnTo>
                    <a:pt x="288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91" y="37"/>
                  </a:lnTo>
                  <a:lnTo>
                    <a:pt x="294" y="38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6" y="40"/>
                  </a:lnTo>
                  <a:lnTo>
                    <a:pt x="296" y="40"/>
                  </a:lnTo>
                  <a:lnTo>
                    <a:pt x="296" y="41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7" y="42"/>
                  </a:lnTo>
                  <a:lnTo>
                    <a:pt x="297" y="43"/>
                  </a:lnTo>
                  <a:lnTo>
                    <a:pt x="298" y="44"/>
                  </a:lnTo>
                  <a:lnTo>
                    <a:pt x="298" y="46"/>
                  </a:lnTo>
                  <a:lnTo>
                    <a:pt x="298" y="47"/>
                  </a:lnTo>
                  <a:lnTo>
                    <a:pt x="298" y="48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1"/>
                  </a:lnTo>
                  <a:lnTo>
                    <a:pt x="300" y="51"/>
                  </a:lnTo>
                  <a:lnTo>
                    <a:pt x="300" y="51"/>
                  </a:lnTo>
                  <a:lnTo>
                    <a:pt x="301" y="51"/>
                  </a:lnTo>
                  <a:lnTo>
                    <a:pt x="301" y="51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1"/>
                  </a:lnTo>
                  <a:lnTo>
                    <a:pt x="307" y="51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10" y="50"/>
                  </a:lnTo>
                  <a:lnTo>
                    <a:pt x="311" y="51"/>
                  </a:lnTo>
                  <a:lnTo>
                    <a:pt x="315" y="51"/>
                  </a:lnTo>
                  <a:lnTo>
                    <a:pt x="317" y="51"/>
                  </a:lnTo>
                  <a:lnTo>
                    <a:pt x="318" y="51"/>
                  </a:lnTo>
                  <a:lnTo>
                    <a:pt x="321" y="51"/>
                  </a:lnTo>
                  <a:lnTo>
                    <a:pt x="322" y="51"/>
                  </a:lnTo>
                  <a:lnTo>
                    <a:pt x="323" y="51"/>
                  </a:lnTo>
                  <a:lnTo>
                    <a:pt x="327" y="51"/>
                  </a:lnTo>
                  <a:lnTo>
                    <a:pt x="328" y="51"/>
                  </a:lnTo>
                  <a:lnTo>
                    <a:pt x="328" y="51"/>
                  </a:lnTo>
                  <a:lnTo>
                    <a:pt x="329" y="51"/>
                  </a:lnTo>
                  <a:lnTo>
                    <a:pt x="329" y="51"/>
                  </a:lnTo>
                  <a:lnTo>
                    <a:pt x="330" y="51"/>
                  </a:lnTo>
                  <a:lnTo>
                    <a:pt x="331" y="52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3" y="54"/>
                  </a:lnTo>
                  <a:lnTo>
                    <a:pt x="333" y="54"/>
                  </a:lnTo>
                  <a:lnTo>
                    <a:pt x="334" y="55"/>
                  </a:lnTo>
                  <a:lnTo>
                    <a:pt x="334" y="56"/>
                  </a:lnTo>
                  <a:lnTo>
                    <a:pt x="335" y="58"/>
                  </a:lnTo>
                  <a:lnTo>
                    <a:pt x="336" y="59"/>
                  </a:lnTo>
                  <a:lnTo>
                    <a:pt x="336" y="60"/>
                  </a:lnTo>
                  <a:lnTo>
                    <a:pt x="336" y="61"/>
                  </a:lnTo>
                  <a:lnTo>
                    <a:pt x="336" y="62"/>
                  </a:lnTo>
                  <a:lnTo>
                    <a:pt x="336" y="63"/>
                  </a:lnTo>
                  <a:lnTo>
                    <a:pt x="336" y="64"/>
                  </a:lnTo>
                  <a:lnTo>
                    <a:pt x="336" y="66"/>
                  </a:lnTo>
                  <a:lnTo>
                    <a:pt x="336" y="67"/>
                  </a:lnTo>
                  <a:lnTo>
                    <a:pt x="335" y="69"/>
                  </a:lnTo>
                  <a:lnTo>
                    <a:pt x="335" y="70"/>
                  </a:lnTo>
                  <a:lnTo>
                    <a:pt x="335" y="71"/>
                  </a:lnTo>
                  <a:lnTo>
                    <a:pt x="335" y="72"/>
                  </a:lnTo>
                  <a:lnTo>
                    <a:pt x="335" y="73"/>
                  </a:lnTo>
                  <a:lnTo>
                    <a:pt x="335" y="76"/>
                  </a:lnTo>
                  <a:lnTo>
                    <a:pt x="335" y="76"/>
                  </a:lnTo>
                  <a:lnTo>
                    <a:pt x="335" y="77"/>
                  </a:lnTo>
                  <a:lnTo>
                    <a:pt x="334" y="78"/>
                  </a:lnTo>
                  <a:lnTo>
                    <a:pt x="334" y="80"/>
                  </a:lnTo>
                  <a:lnTo>
                    <a:pt x="333" y="84"/>
                  </a:lnTo>
                  <a:lnTo>
                    <a:pt x="333" y="85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3" y="88"/>
                  </a:lnTo>
                  <a:lnTo>
                    <a:pt x="333" y="89"/>
                  </a:lnTo>
                  <a:lnTo>
                    <a:pt x="334" y="91"/>
                  </a:lnTo>
                  <a:lnTo>
                    <a:pt x="334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5" y="98"/>
                  </a:lnTo>
                  <a:lnTo>
                    <a:pt x="335" y="99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5" y="104"/>
                  </a:lnTo>
                  <a:lnTo>
                    <a:pt x="335" y="105"/>
                  </a:lnTo>
                  <a:lnTo>
                    <a:pt x="335" y="105"/>
                  </a:lnTo>
                  <a:lnTo>
                    <a:pt x="335" y="106"/>
                  </a:lnTo>
                  <a:lnTo>
                    <a:pt x="336" y="106"/>
                  </a:lnTo>
                  <a:lnTo>
                    <a:pt x="336" y="107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10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40" y="119"/>
                  </a:lnTo>
                  <a:lnTo>
                    <a:pt x="340" y="119"/>
                  </a:lnTo>
                  <a:lnTo>
                    <a:pt x="342" y="122"/>
                  </a:lnTo>
                  <a:lnTo>
                    <a:pt x="343" y="123"/>
                  </a:lnTo>
                  <a:lnTo>
                    <a:pt x="344" y="125"/>
                  </a:lnTo>
                  <a:lnTo>
                    <a:pt x="345" y="127"/>
                  </a:lnTo>
                  <a:lnTo>
                    <a:pt x="347" y="131"/>
                  </a:lnTo>
                  <a:lnTo>
                    <a:pt x="347" y="133"/>
                  </a:lnTo>
                  <a:lnTo>
                    <a:pt x="348" y="134"/>
                  </a:lnTo>
                  <a:lnTo>
                    <a:pt x="348" y="137"/>
                  </a:lnTo>
                  <a:lnTo>
                    <a:pt x="349" y="138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9" y="140"/>
                  </a:lnTo>
                  <a:lnTo>
                    <a:pt x="349" y="141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7" y="143"/>
                  </a:lnTo>
                  <a:lnTo>
                    <a:pt x="347" y="144"/>
                  </a:lnTo>
                  <a:lnTo>
                    <a:pt x="347" y="144"/>
                  </a:lnTo>
                  <a:lnTo>
                    <a:pt x="347" y="145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0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3" y="150"/>
                  </a:lnTo>
                  <a:lnTo>
                    <a:pt x="342" y="150"/>
                  </a:lnTo>
                  <a:lnTo>
                    <a:pt x="341" y="15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39" y="150"/>
                  </a:lnTo>
                  <a:lnTo>
                    <a:pt x="338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2"/>
                  </a:lnTo>
                  <a:lnTo>
                    <a:pt x="336" y="152"/>
                  </a:lnTo>
                  <a:lnTo>
                    <a:pt x="336" y="153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7" y="156"/>
                  </a:lnTo>
                  <a:lnTo>
                    <a:pt x="338" y="156"/>
                  </a:lnTo>
                  <a:lnTo>
                    <a:pt x="338" y="157"/>
                  </a:lnTo>
                  <a:lnTo>
                    <a:pt x="339" y="157"/>
                  </a:lnTo>
                  <a:lnTo>
                    <a:pt x="343" y="157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5" y="158"/>
                  </a:lnTo>
                  <a:lnTo>
                    <a:pt x="346" y="159"/>
                  </a:lnTo>
                  <a:lnTo>
                    <a:pt x="347" y="159"/>
                  </a:lnTo>
                  <a:lnTo>
                    <a:pt x="348" y="160"/>
                  </a:lnTo>
                  <a:lnTo>
                    <a:pt x="348" y="161"/>
                  </a:lnTo>
                  <a:lnTo>
                    <a:pt x="349" y="162"/>
                  </a:lnTo>
                  <a:lnTo>
                    <a:pt x="351" y="164"/>
                  </a:lnTo>
                  <a:lnTo>
                    <a:pt x="352" y="165"/>
                  </a:lnTo>
                  <a:lnTo>
                    <a:pt x="352" y="166"/>
                  </a:lnTo>
                  <a:lnTo>
                    <a:pt x="353" y="167"/>
                  </a:lnTo>
                  <a:lnTo>
                    <a:pt x="353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3" y="170"/>
                  </a:lnTo>
                  <a:lnTo>
                    <a:pt x="352" y="171"/>
                  </a:lnTo>
                  <a:lnTo>
                    <a:pt x="352" y="171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1" y="172"/>
                  </a:lnTo>
                  <a:lnTo>
                    <a:pt x="350" y="174"/>
                  </a:lnTo>
                  <a:lnTo>
                    <a:pt x="350" y="175"/>
                  </a:lnTo>
                  <a:lnTo>
                    <a:pt x="349" y="177"/>
                  </a:lnTo>
                  <a:lnTo>
                    <a:pt x="349" y="177"/>
                  </a:lnTo>
                  <a:lnTo>
                    <a:pt x="349" y="178"/>
                  </a:lnTo>
                  <a:lnTo>
                    <a:pt x="349" y="179"/>
                  </a:lnTo>
                  <a:lnTo>
                    <a:pt x="349" y="179"/>
                  </a:lnTo>
                  <a:lnTo>
                    <a:pt x="349" y="180"/>
                  </a:lnTo>
                  <a:lnTo>
                    <a:pt x="350" y="180"/>
                  </a:lnTo>
                  <a:lnTo>
                    <a:pt x="350" y="182"/>
                  </a:lnTo>
                  <a:lnTo>
                    <a:pt x="351" y="182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4"/>
                  </a:lnTo>
                  <a:lnTo>
                    <a:pt x="351" y="184"/>
                  </a:lnTo>
                  <a:lnTo>
                    <a:pt x="351" y="185"/>
                  </a:lnTo>
                  <a:lnTo>
                    <a:pt x="351" y="186"/>
                  </a:lnTo>
                  <a:lnTo>
                    <a:pt x="351" y="186"/>
                  </a:lnTo>
                  <a:lnTo>
                    <a:pt x="350" y="187"/>
                  </a:lnTo>
                  <a:lnTo>
                    <a:pt x="350" y="188"/>
                  </a:lnTo>
                  <a:lnTo>
                    <a:pt x="349" y="188"/>
                  </a:lnTo>
                  <a:lnTo>
                    <a:pt x="348" y="189"/>
                  </a:lnTo>
                  <a:lnTo>
                    <a:pt x="347" y="189"/>
                  </a:lnTo>
                  <a:lnTo>
                    <a:pt x="346" y="190"/>
                  </a:lnTo>
                  <a:lnTo>
                    <a:pt x="345" y="191"/>
                  </a:lnTo>
                  <a:lnTo>
                    <a:pt x="344" y="191"/>
                  </a:lnTo>
                  <a:lnTo>
                    <a:pt x="341" y="192"/>
                  </a:lnTo>
                  <a:lnTo>
                    <a:pt x="339" y="193"/>
                  </a:lnTo>
                  <a:lnTo>
                    <a:pt x="339" y="193"/>
                  </a:lnTo>
                  <a:lnTo>
                    <a:pt x="337" y="193"/>
                  </a:lnTo>
                  <a:lnTo>
                    <a:pt x="336" y="194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4" y="195"/>
                  </a:lnTo>
                  <a:lnTo>
                    <a:pt x="334" y="196"/>
                  </a:lnTo>
                  <a:lnTo>
                    <a:pt x="334" y="196"/>
                  </a:lnTo>
                  <a:lnTo>
                    <a:pt x="334" y="197"/>
                  </a:lnTo>
                  <a:lnTo>
                    <a:pt x="334" y="199"/>
                  </a:lnTo>
                  <a:lnTo>
                    <a:pt x="334" y="200"/>
                  </a:lnTo>
                  <a:lnTo>
                    <a:pt x="334" y="202"/>
                  </a:lnTo>
                  <a:lnTo>
                    <a:pt x="334" y="203"/>
                  </a:lnTo>
                  <a:lnTo>
                    <a:pt x="334" y="204"/>
                  </a:lnTo>
                  <a:lnTo>
                    <a:pt x="334" y="205"/>
                  </a:lnTo>
                  <a:lnTo>
                    <a:pt x="332" y="211"/>
                  </a:lnTo>
                  <a:lnTo>
                    <a:pt x="332" y="212"/>
                  </a:lnTo>
                  <a:lnTo>
                    <a:pt x="332" y="213"/>
                  </a:lnTo>
                  <a:lnTo>
                    <a:pt x="332" y="214"/>
                  </a:lnTo>
                  <a:lnTo>
                    <a:pt x="331" y="214"/>
                  </a:lnTo>
                  <a:lnTo>
                    <a:pt x="331" y="215"/>
                  </a:lnTo>
                  <a:lnTo>
                    <a:pt x="330" y="215"/>
                  </a:lnTo>
                  <a:lnTo>
                    <a:pt x="329" y="215"/>
                  </a:lnTo>
                  <a:lnTo>
                    <a:pt x="329" y="215"/>
                  </a:lnTo>
                  <a:lnTo>
                    <a:pt x="328" y="215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6" y="215"/>
                  </a:lnTo>
                  <a:lnTo>
                    <a:pt x="325" y="214"/>
                  </a:lnTo>
                  <a:lnTo>
                    <a:pt x="324" y="214"/>
                  </a:lnTo>
                  <a:lnTo>
                    <a:pt x="323" y="213"/>
                  </a:lnTo>
                  <a:lnTo>
                    <a:pt x="322" y="212"/>
                  </a:lnTo>
                  <a:lnTo>
                    <a:pt x="319" y="210"/>
                  </a:lnTo>
                  <a:lnTo>
                    <a:pt x="318" y="209"/>
                  </a:lnTo>
                  <a:lnTo>
                    <a:pt x="317" y="209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3" y="205"/>
                  </a:lnTo>
                  <a:lnTo>
                    <a:pt x="312" y="205"/>
                  </a:lnTo>
                  <a:lnTo>
                    <a:pt x="311" y="204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7" y="203"/>
                  </a:lnTo>
                  <a:lnTo>
                    <a:pt x="306" y="203"/>
                  </a:lnTo>
                  <a:lnTo>
                    <a:pt x="303" y="203"/>
                  </a:lnTo>
                  <a:lnTo>
                    <a:pt x="299" y="203"/>
                  </a:lnTo>
                  <a:lnTo>
                    <a:pt x="299" y="202"/>
                  </a:lnTo>
                  <a:lnTo>
                    <a:pt x="296" y="202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1" y="201"/>
                  </a:lnTo>
                  <a:lnTo>
                    <a:pt x="291" y="202"/>
                  </a:lnTo>
                  <a:lnTo>
                    <a:pt x="290" y="202"/>
                  </a:lnTo>
                  <a:lnTo>
                    <a:pt x="289" y="202"/>
                  </a:lnTo>
                  <a:lnTo>
                    <a:pt x="289" y="203"/>
                  </a:lnTo>
                  <a:lnTo>
                    <a:pt x="287" y="205"/>
                  </a:lnTo>
                  <a:lnTo>
                    <a:pt x="285" y="206"/>
                  </a:lnTo>
                  <a:lnTo>
                    <a:pt x="284" y="208"/>
                  </a:lnTo>
                  <a:lnTo>
                    <a:pt x="282" y="209"/>
                  </a:lnTo>
                  <a:lnTo>
                    <a:pt x="282" y="210"/>
                  </a:lnTo>
                  <a:lnTo>
                    <a:pt x="279" y="211"/>
                  </a:lnTo>
                  <a:lnTo>
                    <a:pt x="277" y="212"/>
                  </a:lnTo>
                  <a:lnTo>
                    <a:pt x="276" y="213"/>
                  </a:lnTo>
                  <a:lnTo>
                    <a:pt x="274" y="215"/>
                  </a:lnTo>
                  <a:lnTo>
                    <a:pt x="269" y="218"/>
                  </a:lnTo>
                  <a:lnTo>
                    <a:pt x="268" y="218"/>
                  </a:lnTo>
                  <a:lnTo>
                    <a:pt x="266" y="219"/>
                  </a:lnTo>
                  <a:lnTo>
                    <a:pt x="265" y="220"/>
                  </a:lnTo>
                  <a:lnTo>
                    <a:pt x="264" y="221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58" y="224"/>
                  </a:lnTo>
                  <a:lnTo>
                    <a:pt x="256" y="225"/>
                  </a:lnTo>
                  <a:lnTo>
                    <a:pt x="255" y="225"/>
                  </a:lnTo>
                  <a:lnTo>
                    <a:pt x="254" y="225"/>
                  </a:lnTo>
                  <a:lnTo>
                    <a:pt x="254" y="226"/>
                  </a:lnTo>
                  <a:lnTo>
                    <a:pt x="253" y="226"/>
                  </a:lnTo>
                  <a:lnTo>
                    <a:pt x="253" y="227"/>
                  </a:lnTo>
                  <a:lnTo>
                    <a:pt x="252" y="228"/>
                  </a:lnTo>
                  <a:lnTo>
                    <a:pt x="252" y="228"/>
                  </a:lnTo>
                  <a:lnTo>
                    <a:pt x="252" y="229"/>
                  </a:lnTo>
                  <a:lnTo>
                    <a:pt x="252" y="229"/>
                  </a:lnTo>
                  <a:lnTo>
                    <a:pt x="252" y="232"/>
                  </a:lnTo>
                  <a:lnTo>
                    <a:pt x="252" y="233"/>
                  </a:lnTo>
                  <a:lnTo>
                    <a:pt x="252" y="234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1"/>
                  </a:lnTo>
                  <a:lnTo>
                    <a:pt x="249" y="242"/>
                  </a:lnTo>
                  <a:lnTo>
                    <a:pt x="248" y="243"/>
                  </a:lnTo>
                  <a:lnTo>
                    <a:pt x="247" y="244"/>
                  </a:lnTo>
                  <a:lnTo>
                    <a:pt x="245" y="245"/>
                  </a:lnTo>
                  <a:lnTo>
                    <a:pt x="244" y="246"/>
                  </a:lnTo>
                  <a:lnTo>
                    <a:pt x="243" y="247"/>
                  </a:lnTo>
                  <a:lnTo>
                    <a:pt x="242" y="247"/>
                  </a:lnTo>
                  <a:lnTo>
                    <a:pt x="241" y="248"/>
                  </a:lnTo>
                  <a:lnTo>
                    <a:pt x="240" y="248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7" y="247"/>
                  </a:lnTo>
                  <a:lnTo>
                    <a:pt x="234" y="246"/>
                  </a:lnTo>
                  <a:lnTo>
                    <a:pt x="233" y="246"/>
                  </a:lnTo>
                  <a:lnTo>
                    <a:pt x="232" y="246"/>
                  </a:lnTo>
                  <a:lnTo>
                    <a:pt x="231" y="245"/>
                  </a:lnTo>
                  <a:lnTo>
                    <a:pt x="230" y="245"/>
                  </a:lnTo>
                  <a:lnTo>
                    <a:pt x="229" y="246"/>
                  </a:lnTo>
                  <a:lnTo>
                    <a:pt x="228" y="246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3" y="246"/>
                  </a:lnTo>
                  <a:lnTo>
                    <a:pt x="222" y="246"/>
                  </a:lnTo>
                  <a:lnTo>
                    <a:pt x="221" y="246"/>
                  </a:lnTo>
                  <a:lnTo>
                    <a:pt x="220" y="246"/>
                  </a:lnTo>
                  <a:lnTo>
                    <a:pt x="219" y="246"/>
                  </a:lnTo>
                  <a:lnTo>
                    <a:pt x="218" y="246"/>
                  </a:lnTo>
                  <a:lnTo>
                    <a:pt x="215" y="245"/>
                  </a:lnTo>
                  <a:lnTo>
                    <a:pt x="214" y="244"/>
                  </a:lnTo>
                  <a:lnTo>
                    <a:pt x="209" y="243"/>
                  </a:lnTo>
                  <a:lnTo>
                    <a:pt x="208" y="242"/>
                  </a:lnTo>
                  <a:lnTo>
                    <a:pt x="206" y="242"/>
                  </a:lnTo>
                  <a:lnTo>
                    <a:pt x="205" y="241"/>
                  </a:lnTo>
                  <a:lnTo>
                    <a:pt x="205" y="241"/>
                  </a:lnTo>
                  <a:lnTo>
                    <a:pt x="203" y="241"/>
                  </a:lnTo>
                  <a:lnTo>
                    <a:pt x="202" y="241"/>
                  </a:lnTo>
                  <a:lnTo>
                    <a:pt x="201" y="241"/>
                  </a:lnTo>
                  <a:lnTo>
                    <a:pt x="201" y="241"/>
                  </a:lnTo>
                  <a:lnTo>
                    <a:pt x="200" y="241"/>
                  </a:lnTo>
                  <a:lnTo>
                    <a:pt x="199" y="242"/>
                  </a:lnTo>
                  <a:lnTo>
                    <a:pt x="196" y="243"/>
                  </a:lnTo>
                  <a:lnTo>
                    <a:pt x="195" y="243"/>
                  </a:lnTo>
                  <a:lnTo>
                    <a:pt x="194" y="243"/>
                  </a:lnTo>
                  <a:lnTo>
                    <a:pt x="192" y="243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6" y="244"/>
                  </a:lnTo>
                  <a:lnTo>
                    <a:pt x="185" y="245"/>
                  </a:lnTo>
                  <a:lnTo>
                    <a:pt x="183" y="245"/>
                  </a:lnTo>
                  <a:lnTo>
                    <a:pt x="182" y="246"/>
                  </a:lnTo>
                  <a:lnTo>
                    <a:pt x="180" y="246"/>
                  </a:lnTo>
                  <a:lnTo>
                    <a:pt x="178" y="247"/>
                  </a:lnTo>
                  <a:lnTo>
                    <a:pt x="177" y="247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3"/>
                  </a:lnTo>
                  <a:lnTo>
                    <a:pt x="170" y="253"/>
                  </a:lnTo>
                  <a:lnTo>
                    <a:pt x="169" y="254"/>
                  </a:lnTo>
                  <a:lnTo>
                    <a:pt x="168" y="254"/>
                  </a:lnTo>
                  <a:lnTo>
                    <a:pt x="168" y="255"/>
                  </a:lnTo>
                  <a:lnTo>
                    <a:pt x="167" y="255"/>
                  </a:lnTo>
                  <a:lnTo>
                    <a:pt x="167" y="256"/>
                  </a:lnTo>
                  <a:lnTo>
                    <a:pt x="167" y="257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5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1" y="254"/>
                  </a:lnTo>
                  <a:lnTo>
                    <a:pt x="160" y="253"/>
                  </a:lnTo>
                  <a:lnTo>
                    <a:pt x="159" y="252"/>
                  </a:lnTo>
                  <a:lnTo>
                    <a:pt x="158" y="252"/>
                  </a:lnTo>
                  <a:lnTo>
                    <a:pt x="157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4" y="251"/>
                  </a:lnTo>
                  <a:lnTo>
                    <a:pt x="153" y="251"/>
                  </a:lnTo>
                  <a:lnTo>
                    <a:pt x="151" y="252"/>
                  </a:lnTo>
                  <a:lnTo>
                    <a:pt x="150" y="252"/>
                  </a:lnTo>
                  <a:lnTo>
                    <a:pt x="149" y="253"/>
                  </a:lnTo>
                  <a:lnTo>
                    <a:pt x="148" y="253"/>
                  </a:lnTo>
                  <a:lnTo>
                    <a:pt x="147" y="254"/>
                  </a:lnTo>
                  <a:lnTo>
                    <a:pt x="145" y="255"/>
                  </a:lnTo>
                  <a:lnTo>
                    <a:pt x="144" y="256"/>
                  </a:lnTo>
                  <a:lnTo>
                    <a:pt x="144" y="256"/>
                  </a:lnTo>
                  <a:lnTo>
                    <a:pt x="143" y="257"/>
                  </a:lnTo>
                  <a:lnTo>
                    <a:pt x="142" y="257"/>
                  </a:lnTo>
                  <a:lnTo>
                    <a:pt x="141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9" y="257"/>
                  </a:lnTo>
                  <a:lnTo>
                    <a:pt x="134" y="255"/>
                  </a:lnTo>
                  <a:lnTo>
                    <a:pt x="130" y="254"/>
                  </a:lnTo>
                  <a:lnTo>
                    <a:pt x="128" y="254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2"/>
                  </a:lnTo>
                  <a:lnTo>
                    <a:pt x="127" y="251"/>
                  </a:lnTo>
                  <a:lnTo>
                    <a:pt x="127" y="250"/>
                  </a:lnTo>
                  <a:lnTo>
                    <a:pt x="126" y="250"/>
                  </a:lnTo>
                  <a:lnTo>
                    <a:pt x="125" y="249"/>
                  </a:lnTo>
                  <a:lnTo>
                    <a:pt x="125" y="248"/>
                  </a:lnTo>
                  <a:lnTo>
                    <a:pt x="124" y="247"/>
                  </a:lnTo>
                  <a:lnTo>
                    <a:pt x="123" y="246"/>
                  </a:lnTo>
                  <a:lnTo>
                    <a:pt x="120" y="245"/>
                  </a:lnTo>
                  <a:lnTo>
                    <a:pt x="119" y="244"/>
                  </a:lnTo>
                  <a:lnTo>
                    <a:pt x="114" y="241"/>
                  </a:lnTo>
                  <a:lnTo>
                    <a:pt x="112" y="240"/>
                  </a:lnTo>
                  <a:lnTo>
                    <a:pt x="110" y="239"/>
                  </a:lnTo>
                  <a:lnTo>
                    <a:pt x="109" y="238"/>
                  </a:lnTo>
                  <a:lnTo>
                    <a:pt x="108" y="237"/>
                  </a:lnTo>
                  <a:lnTo>
                    <a:pt x="108" y="237"/>
                  </a:lnTo>
                  <a:lnTo>
                    <a:pt x="108" y="236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4"/>
                  </a:lnTo>
                  <a:lnTo>
                    <a:pt x="107" y="233"/>
                  </a:lnTo>
                  <a:lnTo>
                    <a:pt x="107" y="232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10" y="227"/>
                  </a:lnTo>
                  <a:lnTo>
                    <a:pt x="110" y="226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4"/>
                  </a:lnTo>
                  <a:lnTo>
                    <a:pt x="111" y="223"/>
                  </a:lnTo>
                  <a:lnTo>
                    <a:pt x="111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19"/>
                  </a:lnTo>
                  <a:lnTo>
                    <a:pt x="109" y="219"/>
                  </a:lnTo>
                  <a:lnTo>
                    <a:pt x="109" y="218"/>
                  </a:lnTo>
                  <a:lnTo>
                    <a:pt x="107" y="216"/>
                  </a:lnTo>
                  <a:lnTo>
                    <a:pt x="105" y="215"/>
                  </a:lnTo>
                  <a:lnTo>
                    <a:pt x="104" y="215"/>
                  </a:lnTo>
                  <a:lnTo>
                    <a:pt x="104" y="214"/>
                  </a:lnTo>
                  <a:lnTo>
                    <a:pt x="103" y="214"/>
                  </a:lnTo>
                  <a:lnTo>
                    <a:pt x="102" y="214"/>
                  </a:lnTo>
                  <a:lnTo>
                    <a:pt x="101" y="213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7" y="213"/>
                  </a:lnTo>
                  <a:lnTo>
                    <a:pt x="96" y="213"/>
                  </a:lnTo>
                  <a:lnTo>
                    <a:pt x="95" y="213"/>
                  </a:lnTo>
                  <a:lnTo>
                    <a:pt x="95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2" y="209"/>
                  </a:lnTo>
                  <a:lnTo>
                    <a:pt x="91" y="208"/>
                  </a:lnTo>
                  <a:lnTo>
                    <a:pt x="90" y="207"/>
                  </a:lnTo>
                  <a:lnTo>
                    <a:pt x="87" y="205"/>
                  </a:lnTo>
                  <a:lnTo>
                    <a:pt x="85" y="204"/>
                  </a:lnTo>
                  <a:lnTo>
                    <a:pt x="84" y="203"/>
                  </a:lnTo>
                  <a:lnTo>
                    <a:pt x="83" y="203"/>
                  </a:lnTo>
                  <a:lnTo>
                    <a:pt x="83" y="202"/>
                  </a:lnTo>
                  <a:lnTo>
                    <a:pt x="81" y="201"/>
                  </a:lnTo>
                  <a:lnTo>
                    <a:pt x="80" y="201"/>
                  </a:lnTo>
                  <a:lnTo>
                    <a:pt x="79" y="200"/>
                  </a:lnTo>
                  <a:lnTo>
                    <a:pt x="76" y="199"/>
                  </a:lnTo>
                  <a:lnTo>
                    <a:pt x="75" y="198"/>
                  </a:lnTo>
                  <a:lnTo>
                    <a:pt x="73" y="196"/>
                  </a:lnTo>
                  <a:lnTo>
                    <a:pt x="70" y="193"/>
                  </a:lnTo>
                  <a:lnTo>
                    <a:pt x="69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7" y="191"/>
                  </a:lnTo>
                  <a:lnTo>
                    <a:pt x="65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3" y="189"/>
                  </a:lnTo>
                  <a:lnTo>
                    <a:pt x="62" y="188"/>
                  </a:lnTo>
                  <a:lnTo>
                    <a:pt x="61" y="187"/>
                  </a:lnTo>
                  <a:lnTo>
                    <a:pt x="60" y="185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3"/>
                  </a:lnTo>
                  <a:lnTo>
                    <a:pt x="57" y="182"/>
                  </a:lnTo>
                  <a:lnTo>
                    <a:pt x="55" y="182"/>
                  </a:lnTo>
                  <a:lnTo>
                    <a:pt x="54" y="181"/>
                  </a:lnTo>
                  <a:lnTo>
                    <a:pt x="51" y="180"/>
                  </a:lnTo>
                  <a:lnTo>
                    <a:pt x="50" y="180"/>
                  </a:lnTo>
                  <a:lnTo>
                    <a:pt x="48" y="179"/>
                  </a:lnTo>
                  <a:lnTo>
                    <a:pt x="47" y="179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6" y="178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6" y="174"/>
                  </a:lnTo>
                  <a:lnTo>
                    <a:pt x="46" y="173"/>
                  </a:lnTo>
                  <a:lnTo>
                    <a:pt x="46" y="172"/>
                  </a:lnTo>
                  <a:lnTo>
                    <a:pt x="46" y="171"/>
                  </a:lnTo>
                  <a:lnTo>
                    <a:pt x="45" y="170"/>
                  </a:lnTo>
                  <a:lnTo>
                    <a:pt x="44" y="169"/>
                  </a:lnTo>
                  <a:lnTo>
                    <a:pt x="43" y="167"/>
                  </a:lnTo>
                  <a:lnTo>
                    <a:pt x="42" y="166"/>
                  </a:lnTo>
                  <a:lnTo>
                    <a:pt x="41" y="165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39" y="163"/>
                  </a:lnTo>
                  <a:lnTo>
                    <a:pt x="38" y="162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5" y="161"/>
                  </a:lnTo>
                  <a:lnTo>
                    <a:pt x="34" y="160"/>
                  </a:lnTo>
                  <a:lnTo>
                    <a:pt x="32" y="158"/>
                  </a:lnTo>
                  <a:lnTo>
                    <a:pt x="31" y="158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6"/>
                  </a:lnTo>
                  <a:lnTo>
                    <a:pt x="29" y="155"/>
                  </a:lnTo>
                  <a:lnTo>
                    <a:pt x="28" y="154"/>
                  </a:lnTo>
                  <a:lnTo>
                    <a:pt x="28" y="153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7" y="149"/>
                  </a:lnTo>
                  <a:lnTo>
                    <a:pt x="27" y="148"/>
                  </a:lnTo>
                  <a:lnTo>
                    <a:pt x="27" y="146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7" y="141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29"/>
                  </a:lnTo>
                  <a:lnTo>
                    <a:pt x="30" y="128"/>
                  </a:lnTo>
                  <a:lnTo>
                    <a:pt x="30" y="127"/>
                  </a:lnTo>
                  <a:lnTo>
                    <a:pt x="30" y="125"/>
                  </a:lnTo>
                  <a:lnTo>
                    <a:pt x="29" y="124"/>
                  </a:lnTo>
                  <a:lnTo>
                    <a:pt x="29" y="122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7" y="117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4"/>
                  </a:lnTo>
                  <a:lnTo>
                    <a:pt x="24" y="113"/>
                  </a:lnTo>
                  <a:lnTo>
                    <a:pt x="23" y="111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6" y="102"/>
                  </a:lnTo>
                  <a:lnTo>
                    <a:pt x="15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9" y="97"/>
                  </a:lnTo>
                  <a:lnTo>
                    <a:pt x="8" y="97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2" y="93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4" y="82"/>
                  </a:lnTo>
                  <a:lnTo>
                    <a:pt x="5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6" y="60"/>
                  </a:lnTo>
                  <a:lnTo>
                    <a:pt x="27" y="61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2" y="76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7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5" y="84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5" y="94"/>
                  </a:lnTo>
                  <a:lnTo>
                    <a:pt x="45" y="95"/>
                  </a:lnTo>
                  <a:lnTo>
                    <a:pt x="46" y="96"/>
                  </a:lnTo>
                  <a:lnTo>
                    <a:pt x="47" y="97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3" y="103"/>
                  </a:lnTo>
                  <a:lnTo>
                    <a:pt x="54" y="10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6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8"/>
                  </a:lnTo>
                  <a:lnTo>
                    <a:pt x="53" y="119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2" y="127"/>
                  </a:lnTo>
                  <a:lnTo>
                    <a:pt x="63" y="127"/>
                  </a:lnTo>
                  <a:lnTo>
                    <a:pt x="64" y="128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0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7" y="113"/>
                  </a:lnTo>
                  <a:lnTo>
                    <a:pt x="67" y="112"/>
                  </a:lnTo>
                  <a:lnTo>
                    <a:pt x="67" y="110"/>
                  </a:lnTo>
                  <a:lnTo>
                    <a:pt x="67" y="109"/>
                  </a:lnTo>
                  <a:lnTo>
                    <a:pt x="67" y="105"/>
                  </a:lnTo>
                  <a:lnTo>
                    <a:pt x="68" y="102"/>
                  </a:lnTo>
                  <a:lnTo>
                    <a:pt x="68" y="101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2" y="97"/>
                  </a:lnTo>
                  <a:lnTo>
                    <a:pt x="73" y="97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7"/>
                  </a:lnTo>
                  <a:lnTo>
                    <a:pt x="76" y="86"/>
                  </a:lnTo>
                  <a:lnTo>
                    <a:pt x="77" y="84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9" y="80"/>
                  </a:lnTo>
                  <a:lnTo>
                    <a:pt x="80" y="79"/>
                  </a:lnTo>
                  <a:lnTo>
                    <a:pt x="81" y="78"/>
                  </a:lnTo>
                  <a:lnTo>
                    <a:pt x="82" y="76"/>
                  </a:lnTo>
                  <a:lnTo>
                    <a:pt x="86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8" y="70"/>
                  </a:lnTo>
                  <a:lnTo>
                    <a:pt x="88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1" y="63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7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6"/>
                  </a:lnTo>
                  <a:lnTo>
                    <a:pt x="100" y="55"/>
                  </a:lnTo>
                  <a:lnTo>
                    <a:pt x="102" y="53"/>
                  </a:lnTo>
                  <a:lnTo>
                    <a:pt x="103" y="51"/>
                  </a:lnTo>
                  <a:lnTo>
                    <a:pt x="105" y="50"/>
                  </a:lnTo>
                  <a:lnTo>
                    <a:pt x="106" y="49"/>
                  </a:lnTo>
                  <a:lnTo>
                    <a:pt x="108" y="48"/>
                  </a:lnTo>
                  <a:lnTo>
                    <a:pt x="109" y="47"/>
                  </a:lnTo>
                  <a:lnTo>
                    <a:pt x="110" y="47"/>
                  </a:lnTo>
                  <a:lnTo>
                    <a:pt x="112" y="46"/>
                  </a:lnTo>
                  <a:lnTo>
                    <a:pt x="113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4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9" y="35"/>
                  </a:lnTo>
                  <a:lnTo>
                    <a:pt x="120" y="33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5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4"/>
                  </a:lnTo>
                  <a:lnTo>
                    <a:pt x="145" y="22"/>
                  </a:lnTo>
                  <a:lnTo>
                    <a:pt x="150" y="21"/>
                  </a:lnTo>
                  <a:lnTo>
                    <a:pt x="154" y="20"/>
                  </a:lnTo>
                  <a:lnTo>
                    <a:pt x="155" y="20"/>
                  </a:lnTo>
                  <a:lnTo>
                    <a:pt x="156" y="20"/>
                  </a:lnTo>
                  <a:lnTo>
                    <a:pt x="157" y="20"/>
                  </a:lnTo>
                  <a:lnTo>
                    <a:pt x="159" y="20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9" y="20"/>
                  </a:lnTo>
                  <a:lnTo>
                    <a:pt x="171" y="21"/>
                  </a:lnTo>
                  <a:lnTo>
                    <a:pt x="172" y="21"/>
                  </a:lnTo>
                  <a:lnTo>
                    <a:pt x="173" y="21"/>
                  </a:lnTo>
                  <a:lnTo>
                    <a:pt x="174" y="22"/>
                  </a:lnTo>
                  <a:lnTo>
                    <a:pt x="177" y="23"/>
                  </a:lnTo>
                  <a:lnTo>
                    <a:pt x="178" y="24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2" y="13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5" y="11"/>
                  </a:lnTo>
                  <a:lnTo>
                    <a:pt x="197" y="10"/>
                  </a:lnTo>
                  <a:lnTo>
                    <a:pt x="199" y="9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7"/>
                  </a:lnTo>
                  <a:lnTo>
                    <a:pt x="205" y="7"/>
                  </a:lnTo>
                  <a:lnTo>
                    <a:pt x="206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7" y="7"/>
                  </a:lnTo>
                  <a:lnTo>
                    <a:pt x="208" y="7"/>
                  </a:lnTo>
                  <a:lnTo>
                    <a:pt x="210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3" y="7"/>
                  </a:lnTo>
                  <a:lnTo>
                    <a:pt x="215" y="3"/>
                  </a:lnTo>
                  <a:lnTo>
                    <a:pt x="216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595959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65148A5F-12BD-2020-E251-20C3F46B2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34 w 504"/>
                <a:gd name="T1" fmla="*/ 15 h 447"/>
                <a:gd name="T2" fmla="*/ 459 w 504"/>
                <a:gd name="T3" fmla="*/ 8 h 447"/>
                <a:gd name="T4" fmla="*/ 472 w 504"/>
                <a:gd name="T5" fmla="*/ 21 h 447"/>
                <a:gd name="T6" fmla="*/ 486 w 504"/>
                <a:gd name="T7" fmla="*/ 47 h 447"/>
                <a:gd name="T8" fmla="*/ 489 w 504"/>
                <a:gd name="T9" fmla="*/ 63 h 447"/>
                <a:gd name="T10" fmla="*/ 497 w 504"/>
                <a:gd name="T11" fmla="*/ 84 h 447"/>
                <a:gd name="T12" fmla="*/ 479 w 504"/>
                <a:gd name="T13" fmla="*/ 108 h 447"/>
                <a:gd name="T14" fmla="*/ 458 w 504"/>
                <a:gd name="T15" fmla="*/ 114 h 447"/>
                <a:gd name="T16" fmla="*/ 445 w 504"/>
                <a:gd name="T17" fmla="*/ 127 h 447"/>
                <a:gd name="T18" fmla="*/ 436 w 504"/>
                <a:gd name="T19" fmla="*/ 148 h 447"/>
                <a:gd name="T20" fmla="*/ 417 w 504"/>
                <a:gd name="T21" fmla="*/ 176 h 447"/>
                <a:gd name="T22" fmla="*/ 425 w 504"/>
                <a:gd name="T23" fmla="*/ 209 h 447"/>
                <a:gd name="T24" fmla="*/ 450 w 504"/>
                <a:gd name="T25" fmla="*/ 247 h 447"/>
                <a:gd name="T26" fmla="*/ 449 w 504"/>
                <a:gd name="T27" fmla="*/ 259 h 447"/>
                <a:gd name="T28" fmla="*/ 445 w 504"/>
                <a:gd name="T29" fmla="*/ 280 h 447"/>
                <a:gd name="T30" fmla="*/ 423 w 504"/>
                <a:gd name="T31" fmla="*/ 289 h 447"/>
                <a:gd name="T32" fmla="*/ 422 w 504"/>
                <a:gd name="T33" fmla="*/ 308 h 447"/>
                <a:gd name="T34" fmla="*/ 407 w 504"/>
                <a:gd name="T35" fmla="*/ 324 h 447"/>
                <a:gd name="T36" fmla="*/ 370 w 504"/>
                <a:gd name="T37" fmla="*/ 331 h 447"/>
                <a:gd name="T38" fmla="*/ 322 w 504"/>
                <a:gd name="T39" fmla="*/ 328 h 447"/>
                <a:gd name="T40" fmla="*/ 307 w 504"/>
                <a:gd name="T41" fmla="*/ 343 h 447"/>
                <a:gd name="T42" fmla="*/ 292 w 504"/>
                <a:gd name="T43" fmla="*/ 355 h 447"/>
                <a:gd name="T44" fmla="*/ 267 w 504"/>
                <a:gd name="T45" fmla="*/ 371 h 447"/>
                <a:gd name="T46" fmla="*/ 249 w 504"/>
                <a:gd name="T47" fmla="*/ 370 h 447"/>
                <a:gd name="T48" fmla="*/ 218 w 504"/>
                <a:gd name="T49" fmla="*/ 381 h 447"/>
                <a:gd name="T50" fmla="*/ 194 w 504"/>
                <a:gd name="T51" fmla="*/ 393 h 447"/>
                <a:gd name="T52" fmla="*/ 164 w 504"/>
                <a:gd name="T53" fmla="*/ 405 h 447"/>
                <a:gd name="T54" fmla="*/ 155 w 504"/>
                <a:gd name="T55" fmla="*/ 424 h 447"/>
                <a:gd name="T56" fmla="*/ 137 w 504"/>
                <a:gd name="T57" fmla="*/ 437 h 447"/>
                <a:gd name="T58" fmla="*/ 122 w 504"/>
                <a:gd name="T59" fmla="*/ 446 h 447"/>
                <a:gd name="T60" fmla="*/ 109 w 504"/>
                <a:gd name="T61" fmla="*/ 440 h 447"/>
                <a:gd name="T62" fmla="*/ 101 w 504"/>
                <a:gd name="T63" fmla="*/ 437 h 447"/>
                <a:gd name="T64" fmla="*/ 83 w 504"/>
                <a:gd name="T65" fmla="*/ 421 h 447"/>
                <a:gd name="T66" fmla="*/ 95 w 504"/>
                <a:gd name="T67" fmla="*/ 416 h 447"/>
                <a:gd name="T68" fmla="*/ 87 w 504"/>
                <a:gd name="T69" fmla="*/ 386 h 447"/>
                <a:gd name="T70" fmla="*/ 82 w 504"/>
                <a:gd name="T71" fmla="*/ 365 h 447"/>
                <a:gd name="T72" fmla="*/ 83 w 504"/>
                <a:gd name="T73" fmla="*/ 331 h 447"/>
                <a:gd name="T74" fmla="*/ 65 w 504"/>
                <a:gd name="T75" fmla="*/ 318 h 447"/>
                <a:gd name="T76" fmla="*/ 45 w 504"/>
                <a:gd name="T77" fmla="*/ 315 h 447"/>
                <a:gd name="T78" fmla="*/ 25 w 504"/>
                <a:gd name="T79" fmla="*/ 301 h 447"/>
                <a:gd name="T80" fmla="*/ 8 w 504"/>
                <a:gd name="T81" fmla="*/ 287 h 447"/>
                <a:gd name="T82" fmla="*/ 26 w 504"/>
                <a:gd name="T83" fmla="*/ 249 h 447"/>
                <a:gd name="T84" fmla="*/ 54 w 504"/>
                <a:gd name="T85" fmla="*/ 245 h 447"/>
                <a:gd name="T86" fmla="*/ 78 w 504"/>
                <a:gd name="T87" fmla="*/ 240 h 447"/>
                <a:gd name="T88" fmla="*/ 94 w 504"/>
                <a:gd name="T89" fmla="*/ 210 h 447"/>
                <a:gd name="T90" fmla="*/ 111 w 504"/>
                <a:gd name="T91" fmla="*/ 211 h 447"/>
                <a:gd name="T92" fmla="*/ 129 w 504"/>
                <a:gd name="T93" fmla="*/ 186 h 447"/>
                <a:gd name="T94" fmla="*/ 151 w 504"/>
                <a:gd name="T95" fmla="*/ 203 h 447"/>
                <a:gd name="T96" fmla="*/ 171 w 504"/>
                <a:gd name="T97" fmla="*/ 182 h 447"/>
                <a:gd name="T98" fmla="*/ 178 w 504"/>
                <a:gd name="T99" fmla="*/ 158 h 447"/>
                <a:gd name="T100" fmla="*/ 209 w 504"/>
                <a:gd name="T101" fmla="*/ 149 h 447"/>
                <a:gd name="T102" fmla="*/ 232 w 504"/>
                <a:gd name="T103" fmla="*/ 149 h 447"/>
                <a:gd name="T104" fmla="*/ 270 w 504"/>
                <a:gd name="T105" fmla="*/ 148 h 447"/>
                <a:gd name="T106" fmla="*/ 283 w 504"/>
                <a:gd name="T107" fmla="*/ 126 h 447"/>
                <a:gd name="T108" fmla="*/ 308 w 504"/>
                <a:gd name="T109" fmla="*/ 110 h 447"/>
                <a:gd name="T110" fmla="*/ 345 w 504"/>
                <a:gd name="T111" fmla="*/ 104 h 447"/>
                <a:gd name="T112" fmla="*/ 388 w 504"/>
                <a:gd name="T113" fmla="*/ 77 h 447"/>
                <a:gd name="T114" fmla="*/ 423 w 504"/>
                <a:gd name="T115" fmla="*/ 72 h 447"/>
                <a:gd name="T116" fmla="*/ 426 w 504"/>
                <a:gd name="T117" fmla="*/ 54 h 447"/>
                <a:gd name="T118" fmla="*/ 408 w 504"/>
                <a:gd name="T119" fmla="*/ 37 h 447"/>
                <a:gd name="T120" fmla="*/ 393 w 504"/>
                <a:gd name="T121" fmla="*/ 30 h 447"/>
                <a:gd name="T122" fmla="*/ 402 w 504"/>
                <a:gd name="T123" fmla="*/ 1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89" y="213"/>
                  </a:lnTo>
                  <a:lnTo>
                    <a:pt x="89" y="212"/>
                  </a:lnTo>
                  <a:lnTo>
                    <a:pt x="90" y="212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2" y="210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100" y="211"/>
                  </a:lnTo>
                  <a:lnTo>
                    <a:pt x="102" y="213"/>
                  </a:lnTo>
                  <a:lnTo>
                    <a:pt x="103" y="213"/>
                  </a:lnTo>
                  <a:lnTo>
                    <a:pt x="104" y="214"/>
                  </a:lnTo>
                  <a:lnTo>
                    <a:pt x="104" y="214"/>
                  </a:lnTo>
                  <a:lnTo>
                    <a:pt x="105" y="214"/>
                  </a:lnTo>
                  <a:lnTo>
                    <a:pt x="106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8" y="214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1"/>
                  </a:lnTo>
                  <a:lnTo>
                    <a:pt x="112" y="210"/>
                  </a:lnTo>
                  <a:lnTo>
                    <a:pt x="113" y="207"/>
                  </a:lnTo>
                  <a:lnTo>
                    <a:pt x="113" y="206"/>
                  </a:lnTo>
                  <a:lnTo>
                    <a:pt x="114" y="205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6" y="202"/>
                  </a:lnTo>
                  <a:lnTo>
                    <a:pt x="118" y="201"/>
                  </a:lnTo>
                  <a:lnTo>
                    <a:pt x="119" y="200"/>
                  </a:lnTo>
                  <a:lnTo>
                    <a:pt x="122" y="198"/>
                  </a:lnTo>
                  <a:lnTo>
                    <a:pt x="123" y="197"/>
                  </a:lnTo>
                  <a:lnTo>
                    <a:pt x="124" y="196"/>
                  </a:lnTo>
                  <a:lnTo>
                    <a:pt x="125" y="196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7" y="192"/>
                  </a:lnTo>
                  <a:lnTo>
                    <a:pt x="128" y="191"/>
                  </a:lnTo>
                  <a:lnTo>
                    <a:pt x="128" y="188"/>
                  </a:lnTo>
                  <a:lnTo>
                    <a:pt x="129" y="187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7"/>
                  </a:lnTo>
                  <a:lnTo>
                    <a:pt x="135" y="188"/>
                  </a:lnTo>
                  <a:lnTo>
                    <a:pt x="136" y="190"/>
                  </a:lnTo>
                  <a:lnTo>
                    <a:pt x="137" y="191"/>
                  </a:lnTo>
                  <a:lnTo>
                    <a:pt x="139" y="195"/>
                  </a:lnTo>
                  <a:lnTo>
                    <a:pt x="140" y="196"/>
                  </a:lnTo>
                  <a:lnTo>
                    <a:pt x="141" y="197"/>
                  </a:lnTo>
                  <a:lnTo>
                    <a:pt x="142" y="198"/>
                  </a:lnTo>
                  <a:lnTo>
                    <a:pt x="142" y="199"/>
                  </a:lnTo>
                  <a:lnTo>
                    <a:pt x="144" y="200"/>
                  </a:lnTo>
                  <a:lnTo>
                    <a:pt x="145" y="201"/>
                  </a:lnTo>
                  <a:lnTo>
                    <a:pt x="146" y="201"/>
                  </a:lnTo>
                  <a:lnTo>
                    <a:pt x="147" y="201"/>
                  </a:lnTo>
                  <a:lnTo>
                    <a:pt x="149" y="202"/>
                  </a:lnTo>
                  <a:lnTo>
                    <a:pt x="151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3" y="203"/>
                  </a:lnTo>
                  <a:lnTo>
                    <a:pt x="153" y="203"/>
                  </a:lnTo>
                  <a:lnTo>
                    <a:pt x="154" y="203"/>
                  </a:lnTo>
                  <a:lnTo>
                    <a:pt x="154" y="203"/>
                  </a:lnTo>
                  <a:lnTo>
                    <a:pt x="155" y="203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9" y="199"/>
                  </a:lnTo>
                  <a:lnTo>
                    <a:pt x="163" y="196"/>
                  </a:lnTo>
                  <a:lnTo>
                    <a:pt x="166" y="193"/>
                  </a:lnTo>
                  <a:lnTo>
                    <a:pt x="169" y="190"/>
                  </a:lnTo>
                  <a:lnTo>
                    <a:pt x="170" y="189"/>
                  </a:lnTo>
                  <a:lnTo>
                    <a:pt x="170" y="188"/>
                  </a:lnTo>
                  <a:lnTo>
                    <a:pt x="171" y="188"/>
                  </a:lnTo>
                  <a:lnTo>
                    <a:pt x="171" y="187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1" y="182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2" y="180"/>
                  </a:lnTo>
                  <a:lnTo>
                    <a:pt x="173" y="179"/>
                  </a:lnTo>
                  <a:lnTo>
                    <a:pt x="174" y="177"/>
                  </a:lnTo>
                  <a:lnTo>
                    <a:pt x="175" y="175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3"/>
                  </a:lnTo>
                  <a:lnTo>
                    <a:pt x="176" y="172"/>
                  </a:lnTo>
                  <a:lnTo>
                    <a:pt x="177" y="171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7" y="166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6" y="161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8" y="158"/>
                  </a:lnTo>
                  <a:lnTo>
                    <a:pt x="178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80" y="156"/>
                  </a:lnTo>
                  <a:lnTo>
                    <a:pt x="181" y="156"/>
                  </a:lnTo>
                  <a:lnTo>
                    <a:pt x="182" y="156"/>
                  </a:lnTo>
                  <a:lnTo>
                    <a:pt x="183" y="155"/>
                  </a:lnTo>
                  <a:lnTo>
                    <a:pt x="184" y="155"/>
                  </a:lnTo>
                  <a:lnTo>
                    <a:pt x="185" y="155"/>
                  </a:lnTo>
                  <a:lnTo>
                    <a:pt x="187" y="155"/>
                  </a:lnTo>
                  <a:lnTo>
                    <a:pt x="192" y="155"/>
                  </a:lnTo>
                  <a:lnTo>
                    <a:pt x="194" y="155"/>
                  </a:lnTo>
                  <a:lnTo>
                    <a:pt x="196" y="155"/>
                  </a:lnTo>
                  <a:lnTo>
                    <a:pt x="197" y="154"/>
                  </a:lnTo>
                  <a:lnTo>
                    <a:pt x="199" y="154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2" y="152"/>
                  </a:lnTo>
                  <a:lnTo>
                    <a:pt x="204" y="151"/>
                  </a:lnTo>
                  <a:lnTo>
                    <a:pt x="205" y="151"/>
                  </a:lnTo>
                  <a:lnTo>
                    <a:pt x="206" y="150"/>
                  </a:lnTo>
                  <a:lnTo>
                    <a:pt x="208" y="149"/>
                  </a:lnTo>
                  <a:lnTo>
                    <a:pt x="209" y="149"/>
                  </a:lnTo>
                  <a:lnTo>
                    <a:pt x="210" y="148"/>
                  </a:lnTo>
                  <a:lnTo>
                    <a:pt x="211" y="148"/>
                  </a:lnTo>
                  <a:lnTo>
                    <a:pt x="212" y="148"/>
                  </a:lnTo>
                  <a:lnTo>
                    <a:pt x="213" y="148"/>
                  </a:lnTo>
                  <a:lnTo>
                    <a:pt x="214" y="148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6" y="149"/>
                  </a:lnTo>
                  <a:lnTo>
                    <a:pt x="217" y="149"/>
                  </a:lnTo>
                  <a:lnTo>
                    <a:pt x="220" y="151"/>
                  </a:lnTo>
                  <a:lnTo>
                    <a:pt x="222" y="151"/>
                  </a:lnTo>
                  <a:lnTo>
                    <a:pt x="223" y="151"/>
                  </a:lnTo>
                  <a:lnTo>
                    <a:pt x="223" y="152"/>
                  </a:lnTo>
                  <a:lnTo>
                    <a:pt x="224" y="152"/>
                  </a:lnTo>
                  <a:lnTo>
                    <a:pt x="225" y="152"/>
                  </a:lnTo>
                  <a:lnTo>
                    <a:pt x="225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1"/>
                  </a:lnTo>
                  <a:lnTo>
                    <a:pt x="228" y="151"/>
                  </a:lnTo>
                  <a:lnTo>
                    <a:pt x="229" y="150"/>
                  </a:lnTo>
                  <a:lnTo>
                    <a:pt x="231" y="149"/>
                  </a:lnTo>
                  <a:lnTo>
                    <a:pt x="232" y="149"/>
                  </a:lnTo>
                  <a:lnTo>
                    <a:pt x="233" y="148"/>
                  </a:lnTo>
                  <a:lnTo>
                    <a:pt x="234" y="148"/>
                  </a:lnTo>
                  <a:lnTo>
                    <a:pt x="238" y="148"/>
                  </a:lnTo>
                  <a:lnTo>
                    <a:pt x="242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7" y="147"/>
                  </a:lnTo>
                  <a:lnTo>
                    <a:pt x="248" y="147"/>
                  </a:lnTo>
                  <a:lnTo>
                    <a:pt x="250" y="147"/>
                  </a:lnTo>
                  <a:lnTo>
                    <a:pt x="252" y="147"/>
                  </a:lnTo>
                  <a:lnTo>
                    <a:pt x="254" y="147"/>
                  </a:lnTo>
                  <a:lnTo>
                    <a:pt x="255" y="147"/>
                  </a:lnTo>
                  <a:lnTo>
                    <a:pt x="256" y="148"/>
                  </a:lnTo>
                  <a:lnTo>
                    <a:pt x="259" y="149"/>
                  </a:lnTo>
                  <a:lnTo>
                    <a:pt x="260" y="149"/>
                  </a:lnTo>
                  <a:lnTo>
                    <a:pt x="261" y="149"/>
                  </a:lnTo>
                  <a:lnTo>
                    <a:pt x="263" y="150"/>
                  </a:lnTo>
                  <a:lnTo>
                    <a:pt x="264" y="150"/>
                  </a:lnTo>
                  <a:lnTo>
                    <a:pt x="266" y="150"/>
                  </a:lnTo>
                  <a:lnTo>
                    <a:pt x="267" y="149"/>
                  </a:lnTo>
                  <a:lnTo>
                    <a:pt x="268" y="149"/>
                  </a:lnTo>
                  <a:lnTo>
                    <a:pt x="269" y="149"/>
                  </a:lnTo>
                  <a:lnTo>
                    <a:pt x="270" y="148"/>
                  </a:lnTo>
                  <a:lnTo>
                    <a:pt x="271" y="147"/>
                  </a:lnTo>
                  <a:lnTo>
                    <a:pt x="273" y="146"/>
                  </a:lnTo>
                  <a:lnTo>
                    <a:pt x="274" y="145"/>
                  </a:lnTo>
                  <a:lnTo>
                    <a:pt x="275" y="145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0" y="142"/>
                  </a:lnTo>
                  <a:lnTo>
                    <a:pt x="281" y="142"/>
                  </a:lnTo>
                  <a:lnTo>
                    <a:pt x="281" y="141"/>
                  </a:lnTo>
                  <a:lnTo>
                    <a:pt x="282" y="140"/>
                  </a:lnTo>
                  <a:lnTo>
                    <a:pt x="282" y="139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2" y="136"/>
                  </a:lnTo>
                  <a:lnTo>
                    <a:pt x="282" y="133"/>
                  </a:lnTo>
                  <a:lnTo>
                    <a:pt x="282" y="132"/>
                  </a:lnTo>
                  <a:lnTo>
                    <a:pt x="282" y="130"/>
                  </a:lnTo>
                  <a:lnTo>
                    <a:pt x="282" y="129"/>
                  </a:lnTo>
                  <a:lnTo>
                    <a:pt x="282" y="128"/>
                  </a:lnTo>
                  <a:lnTo>
                    <a:pt x="283" y="127"/>
                  </a:lnTo>
                  <a:lnTo>
                    <a:pt x="283" y="126"/>
                  </a:lnTo>
                  <a:lnTo>
                    <a:pt x="283" y="125"/>
                  </a:lnTo>
                  <a:lnTo>
                    <a:pt x="284" y="124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5" y="123"/>
                  </a:lnTo>
                  <a:lnTo>
                    <a:pt x="285" y="122"/>
                  </a:lnTo>
                  <a:lnTo>
                    <a:pt x="286" y="122"/>
                  </a:lnTo>
                  <a:lnTo>
                    <a:pt x="286" y="122"/>
                  </a:lnTo>
                  <a:lnTo>
                    <a:pt x="287" y="121"/>
                  </a:lnTo>
                  <a:lnTo>
                    <a:pt x="288" y="121"/>
                  </a:lnTo>
                  <a:lnTo>
                    <a:pt x="291" y="120"/>
                  </a:lnTo>
                  <a:lnTo>
                    <a:pt x="292" y="120"/>
                  </a:lnTo>
                  <a:lnTo>
                    <a:pt x="294" y="119"/>
                  </a:lnTo>
                  <a:lnTo>
                    <a:pt x="295" y="119"/>
                  </a:lnTo>
                  <a:lnTo>
                    <a:pt x="297" y="118"/>
                  </a:lnTo>
                  <a:lnTo>
                    <a:pt x="298" y="117"/>
                  </a:lnTo>
                  <a:lnTo>
                    <a:pt x="299" y="116"/>
                  </a:lnTo>
                  <a:lnTo>
                    <a:pt x="301" y="114"/>
                  </a:lnTo>
                  <a:lnTo>
                    <a:pt x="302" y="113"/>
                  </a:lnTo>
                  <a:lnTo>
                    <a:pt x="303" y="113"/>
                  </a:lnTo>
                  <a:lnTo>
                    <a:pt x="305" y="112"/>
                  </a:lnTo>
                  <a:lnTo>
                    <a:pt x="306" y="111"/>
                  </a:lnTo>
                  <a:lnTo>
                    <a:pt x="308" y="110"/>
                  </a:lnTo>
                  <a:lnTo>
                    <a:pt x="309" y="110"/>
                  </a:lnTo>
                  <a:lnTo>
                    <a:pt x="310" y="110"/>
                  </a:lnTo>
                  <a:lnTo>
                    <a:pt x="311" y="110"/>
                  </a:lnTo>
                  <a:lnTo>
                    <a:pt x="312" y="110"/>
                  </a:lnTo>
                  <a:lnTo>
                    <a:pt x="313" y="110"/>
                  </a:lnTo>
                  <a:lnTo>
                    <a:pt x="314" y="110"/>
                  </a:lnTo>
                  <a:lnTo>
                    <a:pt x="316" y="111"/>
                  </a:lnTo>
                  <a:lnTo>
                    <a:pt x="319" y="112"/>
                  </a:lnTo>
                  <a:lnTo>
                    <a:pt x="321" y="113"/>
                  </a:lnTo>
                  <a:lnTo>
                    <a:pt x="322" y="113"/>
                  </a:lnTo>
                  <a:lnTo>
                    <a:pt x="323" y="113"/>
                  </a:lnTo>
                  <a:lnTo>
                    <a:pt x="324" y="113"/>
                  </a:lnTo>
                  <a:lnTo>
                    <a:pt x="327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2" y="111"/>
                  </a:lnTo>
                  <a:lnTo>
                    <a:pt x="334" y="111"/>
                  </a:lnTo>
                  <a:lnTo>
                    <a:pt x="335" y="110"/>
                  </a:lnTo>
                  <a:lnTo>
                    <a:pt x="336" y="109"/>
                  </a:lnTo>
                  <a:lnTo>
                    <a:pt x="339" y="107"/>
                  </a:lnTo>
                  <a:lnTo>
                    <a:pt x="340" y="106"/>
                  </a:lnTo>
                  <a:lnTo>
                    <a:pt x="342" y="105"/>
                  </a:lnTo>
                  <a:lnTo>
                    <a:pt x="345" y="104"/>
                  </a:lnTo>
                  <a:lnTo>
                    <a:pt x="352" y="101"/>
                  </a:lnTo>
                  <a:lnTo>
                    <a:pt x="357" y="98"/>
                  </a:lnTo>
                  <a:lnTo>
                    <a:pt x="360" y="97"/>
                  </a:lnTo>
                  <a:lnTo>
                    <a:pt x="362" y="96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2" y="93"/>
                  </a:lnTo>
                  <a:lnTo>
                    <a:pt x="373" y="92"/>
                  </a:lnTo>
                  <a:lnTo>
                    <a:pt x="374" y="92"/>
                  </a:lnTo>
                  <a:lnTo>
                    <a:pt x="375" y="91"/>
                  </a:lnTo>
                  <a:lnTo>
                    <a:pt x="377" y="89"/>
                  </a:lnTo>
                  <a:lnTo>
                    <a:pt x="378" y="88"/>
                  </a:lnTo>
                  <a:lnTo>
                    <a:pt x="379" y="87"/>
                  </a:lnTo>
                  <a:lnTo>
                    <a:pt x="380" y="86"/>
                  </a:lnTo>
                  <a:lnTo>
                    <a:pt x="381" y="85"/>
                  </a:lnTo>
                  <a:lnTo>
                    <a:pt x="382" y="84"/>
                  </a:lnTo>
                  <a:lnTo>
                    <a:pt x="384" y="81"/>
                  </a:lnTo>
                  <a:lnTo>
                    <a:pt x="384" y="80"/>
                  </a:lnTo>
                  <a:lnTo>
                    <a:pt x="384" y="79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8"/>
                  </a:lnTo>
                  <a:lnTo>
                    <a:pt x="388" y="77"/>
                  </a:lnTo>
                  <a:lnTo>
                    <a:pt x="389" y="76"/>
                  </a:lnTo>
                  <a:lnTo>
                    <a:pt x="391" y="76"/>
                  </a:lnTo>
                  <a:lnTo>
                    <a:pt x="392" y="76"/>
                  </a:lnTo>
                  <a:lnTo>
                    <a:pt x="393" y="76"/>
                  </a:lnTo>
                  <a:lnTo>
                    <a:pt x="394" y="76"/>
                  </a:lnTo>
                  <a:lnTo>
                    <a:pt x="395" y="76"/>
                  </a:lnTo>
                  <a:lnTo>
                    <a:pt x="397" y="76"/>
                  </a:lnTo>
                  <a:lnTo>
                    <a:pt x="399" y="77"/>
                  </a:lnTo>
                  <a:lnTo>
                    <a:pt x="401" y="77"/>
                  </a:lnTo>
                  <a:lnTo>
                    <a:pt x="402" y="77"/>
                  </a:lnTo>
                  <a:lnTo>
                    <a:pt x="403" y="77"/>
                  </a:lnTo>
                  <a:lnTo>
                    <a:pt x="404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10" y="76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4" y="75"/>
                  </a:lnTo>
                  <a:lnTo>
                    <a:pt x="417" y="74"/>
                  </a:lnTo>
                  <a:lnTo>
                    <a:pt x="418" y="73"/>
                  </a:lnTo>
                  <a:lnTo>
                    <a:pt x="419" y="73"/>
                  </a:lnTo>
                  <a:lnTo>
                    <a:pt x="422" y="72"/>
                  </a:lnTo>
                  <a:lnTo>
                    <a:pt x="423" y="72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71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8" y="68"/>
                  </a:lnTo>
                  <a:lnTo>
                    <a:pt x="428" y="65"/>
                  </a:lnTo>
                  <a:lnTo>
                    <a:pt x="429" y="63"/>
                  </a:lnTo>
                  <a:lnTo>
                    <a:pt x="430" y="61"/>
                  </a:lnTo>
                  <a:lnTo>
                    <a:pt x="430" y="60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30" y="58"/>
                  </a:lnTo>
                  <a:lnTo>
                    <a:pt x="430" y="57"/>
                  </a:lnTo>
                  <a:lnTo>
                    <a:pt x="429" y="57"/>
                  </a:lnTo>
                  <a:lnTo>
                    <a:pt x="429" y="56"/>
                  </a:lnTo>
                  <a:lnTo>
                    <a:pt x="428" y="55"/>
                  </a:lnTo>
                  <a:lnTo>
                    <a:pt x="428" y="55"/>
                  </a:lnTo>
                  <a:lnTo>
                    <a:pt x="427" y="55"/>
                  </a:lnTo>
                  <a:lnTo>
                    <a:pt x="426" y="54"/>
                  </a:lnTo>
                  <a:lnTo>
                    <a:pt x="425" y="54"/>
                  </a:lnTo>
                  <a:lnTo>
                    <a:pt x="423" y="53"/>
                  </a:lnTo>
                  <a:lnTo>
                    <a:pt x="419" y="51"/>
                  </a:lnTo>
                  <a:lnTo>
                    <a:pt x="417" y="50"/>
                  </a:lnTo>
                  <a:lnTo>
                    <a:pt x="412" y="49"/>
                  </a:lnTo>
                  <a:lnTo>
                    <a:pt x="411" y="48"/>
                  </a:lnTo>
                  <a:lnTo>
                    <a:pt x="410" y="48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8" y="46"/>
                  </a:lnTo>
                  <a:lnTo>
                    <a:pt x="408" y="46"/>
                  </a:lnTo>
                  <a:lnTo>
                    <a:pt x="408" y="45"/>
                  </a:lnTo>
                  <a:lnTo>
                    <a:pt x="407" y="45"/>
                  </a:lnTo>
                  <a:lnTo>
                    <a:pt x="407" y="44"/>
                  </a:lnTo>
                  <a:lnTo>
                    <a:pt x="406" y="43"/>
                  </a:lnTo>
                  <a:lnTo>
                    <a:pt x="406" y="42"/>
                  </a:lnTo>
                  <a:lnTo>
                    <a:pt x="406" y="42"/>
                  </a:lnTo>
                  <a:lnTo>
                    <a:pt x="406" y="41"/>
                  </a:lnTo>
                  <a:lnTo>
                    <a:pt x="406" y="41"/>
                  </a:lnTo>
                  <a:lnTo>
                    <a:pt x="406" y="40"/>
                  </a:lnTo>
                  <a:lnTo>
                    <a:pt x="406" y="40"/>
                  </a:lnTo>
                  <a:lnTo>
                    <a:pt x="407" y="39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7"/>
                  </a:lnTo>
                  <a:lnTo>
                    <a:pt x="408" y="36"/>
                  </a:lnTo>
                  <a:lnTo>
                    <a:pt x="408" y="36"/>
                  </a:lnTo>
                  <a:lnTo>
                    <a:pt x="408" y="35"/>
                  </a:lnTo>
                  <a:lnTo>
                    <a:pt x="407" y="35"/>
                  </a:lnTo>
                  <a:lnTo>
                    <a:pt x="407" y="35"/>
                  </a:lnTo>
                  <a:lnTo>
                    <a:pt x="407" y="34"/>
                  </a:lnTo>
                  <a:lnTo>
                    <a:pt x="406" y="34"/>
                  </a:lnTo>
                  <a:lnTo>
                    <a:pt x="405" y="34"/>
                  </a:lnTo>
                  <a:lnTo>
                    <a:pt x="404" y="34"/>
                  </a:lnTo>
                  <a:lnTo>
                    <a:pt x="401" y="34"/>
                  </a:lnTo>
                  <a:lnTo>
                    <a:pt x="400" y="34"/>
                  </a:lnTo>
                  <a:lnTo>
                    <a:pt x="399" y="34"/>
                  </a:lnTo>
                  <a:lnTo>
                    <a:pt x="398" y="34"/>
                  </a:lnTo>
                  <a:lnTo>
                    <a:pt x="397" y="33"/>
                  </a:lnTo>
                  <a:lnTo>
                    <a:pt x="396" y="33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4" y="31"/>
                  </a:lnTo>
                  <a:lnTo>
                    <a:pt x="393" y="31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2" y="29"/>
                  </a:lnTo>
                  <a:lnTo>
                    <a:pt x="392" y="28"/>
                  </a:lnTo>
                  <a:lnTo>
                    <a:pt x="392" y="28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3"/>
                  </a:lnTo>
                  <a:lnTo>
                    <a:pt x="393" y="22"/>
                  </a:lnTo>
                  <a:lnTo>
                    <a:pt x="393" y="21"/>
                  </a:lnTo>
                  <a:lnTo>
                    <a:pt x="394" y="19"/>
                  </a:lnTo>
                  <a:lnTo>
                    <a:pt x="395" y="18"/>
                  </a:lnTo>
                  <a:lnTo>
                    <a:pt x="395" y="17"/>
                  </a:lnTo>
                  <a:lnTo>
                    <a:pt x="396" y="16"/>
                  </a:lnTo>
                  <a:lnTo>
                    <a:pt x="396" y="14"/>
                  </a:lnTo>
                  <a:lnTo>
                    <a:pt x="396" y="13"/>
                  </a:lnTo>
                  <a:lnTo>
                    <a:pt x="397" y="12"/>
                  </a:lnTo>
                  <a:lnTo>
                    <a:pt x="397" y="9"/>
                  </a:lnTo>
                  <a:lnTo>
                    <a:pt x="398" y="8"/>
                  </a:lnTo>
                  <a:lnTo>
                    <a:pt x="398" y="8"/>
                  </a:lnTo>
                  <a:lnTo>
                    <a:pt x="398" y="7"/>
                  </a:lnTo>
                  <a:lnTo>
                    <a:pt x="398" y="6"/>
                  </a:lnTo>
                  <a:lnTo>
                    <a:pt x="399" y="5"/>
                  </a:lnTo>
                  <a:lnTo>
                    <a:pt x="402" y="1"/>
                  </a:lnTo>
                  <a:lnTo>
                    <a:pt x="403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54">
              <a:extLst>
                <a:ext uri="{FF2B5EF4-FFF2-40B4-BE49-F238E27FC236}">
                  <a16:creationId xmlns:a16="http://schemas.microsoft.com/office/drawing/2014/main" id="{919F6BC6-43AA-6AA3-EEB4-16AE0A3E0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2866"/>
              <a:ext cx="504" cy="447"/>
            </a:xfrm>
            <a:custGeom>
              <a:avLst/>
              <a:gdLst>
                <a:gd name="T0" fmla="*/ 428 w 504"/>
                <a:gd name="T1" fmla="*/ 12 h 447"/>
                <a:gd name="T2" fmla="*/ 449 w 504"/>
                <a:gd name="T3" fmla="*/ 11 h 447"/>
                <a:gd name="T4" fmla="*/ 461 w 504"/>
                <a:gd name="T5" fmla="*/ 8 h 447"/>
                <a:gd name="T6" fmla="*/ 471 w 504"/>
                <a:gd name="T7" fmla="*/ 21 h 447"/>
                <a:gd name="T8" fmla="*/ 488 w 504"/>
                <a:gd name="T9" fmla="*/ 35 h 447"/>
                <a:gd name="T10" fmla="*/ 481 w 504"/>
                <a:gd name="T11" fmla="*/ 60 h 447"/>
                <a:gd name="T12" fmla="*/ 498 w 504"/>
                <a:gd name="T13" fmla="*/ 60 h 447"/>
                <a:gd name="T14" fmla="*/ 502 w 504"/>
                <a:gd name="T15" fmla="*/ 73 h 447"/>
                <a:gd name="T16" fmla="*/ 484 w 504"/>
                <a:gd name="T17" fmla="*/ 101 h 447"/>
                <a:gd name="T18" fmla="*/ 474 w 504"/>
                <a:gd name="T19" fmla="*/ 118 h 447"/>
                <a:gd name="T20" fmla="*/ 454 w 504"/>
                <a:gd name="T21" fmla="*/ 112 h 447"/>
                <a:gd name="T22" fmla="*/ 446 w 504"/>
                <a:gd name="T23" fmla="*/ 122 h 447"/>
                <a:gd name="T24" fmla="*/ 437 w 504"/>
                <a:gd name="T25" fmla="*/ 141 h 447"/>
                <a:gd name="T26" fmla="*/ 425 w 504"/>
                <a:gd name="T27" fmla="*/ 156 h 447"/>
                <a:gd name="T28" fmla="*/ 416 w 504"/>
                <a:gd name="T29" fmla="*/ 177 h 447"/>
                <a:gd name="T30" fmla="*/ 420 w 504"/>
                <a:gd name="T31" fmla="*/ 198 h 447"/>
                <a:gd name="T32" fmla="*/ 437 w 504"/>
                <a:gd name="T33" fmla="*/ 231 h 447"/>
                <a:gd name="T34" fmla="*/ 455 w 504"/>
                <a:gd name="T35" fmla="*/ 254 h 447"/>
                <a:gd name="T36" fmla="*/ 449 w 504"/>
                <a:gd name="T37" fmla="*/ 260 h 447"/>
                <a:gd name="T38" fmla="*/ 449 w 504"/>
                <a:gd name="T39" fmla="*/ 278 h 447"/>
                <a:gd name="T40" fmla="*/ 434 w 504"/>
                <a:gd name="T41" fmla="*/ 291 h 447"/>
                <a:gd name="T42" fmla="*/ 420 w 504"/>
                <a:gd name="T43" fmla="*/ 290 h 447"/>
                <a:gd name="T44" fmla="*/ 422 w 504"/>
                <a:gd name="T45" fmla="*/ 308 h 447"/>
                <a:gd name="T46" fmla="*/ 415 w 504"/>
                <a:gd name="T47" fmla="*/ 325 h 447"/>
                <a:gd name="T48" fmla="*/ 387 w 504"/>
                <a:gd name="T49" fmla="*/ 331 h 447"/>
                <a:gd name="T50" fmla="*/ 365 w 504"/>
                <a:gd name="T51" fmla="*/ 330 h 447"/>
                <a:gd name="T52" fmla="*/ 323 w 504"/>
                <a:gd name="T53" fmla="*/ 328 h 447"/>
                <a:gd name="T54" fmla="*/ 307 w 504"/>
                <a:gd name="T55" fmla="*/ 335 h 447"/>
                <a:gd name="T56" fmla="*/ 301 w 504"/>
                <a:gd name="T57" fmla="*/ 346 h 447"/>
                <a:gd name="T58" fmla="*/ 288 w 504"/>
                <a:gd name="T59" fmla="*/ 358 h 447"/>
                <a:gd name="T60" fmla="*/ 268 w 504"/>
                <a:gd name="T61" fmla="*/ 371 h 447"/>
                <a:gd name="T62" fmla="*/ 256 w 504"/>
                <a:gd name="T63" fmla="*/ 366 h 447"/>
                <a:gd name="T64" fmla="*/ 239 w 504"/>
                <a:gd name="T65" fmla="*/ 377 h 447"/>
                <a:gd name="T66" fmla="*/ 214 w 504"/>
                <a:gd name="T67" fmla="*/ 380 h 447"/>
                <a:gd name="T68" fmla="*/ 197 w 504"/>
                <a:gd name="T69" fmla="*/ 390 h 447"/>
                <a:gd name="T70" fmla="*/ 175 w 504"/>
                <a:gd name="T71" fmla="*/ 397 h 447"/>
                <a:gd name="T72" fmla="*/ 158 w 504"/>
                <a:gd name="T73" fmla="*/ 412 h 447"/>
                <a:gd name="T74" fmla="*/ 153 w 504"/>
                <a:gd name="T75" fmla="*/ 426 h 447"/>
                <a:gd name="T76" fmla="*/ 141 w 504"/>
                <a:gd name="T77" fmla="*/ 435 h 447"/>
                <a:gd name="T78" fmla="*/ 128 w 504"/>
                <a:gd name="T79" fmla="*/ 446 h 447"/>
                <a:gd name="T80" fmla="*/ 117 w 504"/>
                <a:gd name="T81" fmla="*/ 437 h 447"/>
                <a:gd name="T82" fmla="*/ 109 w 504"/>
                <a:gd name="T83" fmla="*/ 440 h 447"/>
                <a:gd name="T84" fmla="*/ 102 w 504"/>
                <a:gd name="T85" fmla="*/ 437 h 447"/>
                <a:gd name="T86" fmla="*/ 91 w 504"/>
                <a:gd name="T87" fmla="*/ 425 h 447"/>
                <a:gd name="T88" fmla="*/ 84 w 504"/>
                <a:gd name="T89" fmla="*/ 418 h 447"/>
                <a:gd name="T90" fmla="*/ 95 w 504"/>
                <a:gd name="T91" fmla="*/ 416 h 447"/>
                <a:gd name="T92" fmla="*/ 94 w 504"/>
                <a:gd name="T93" fmla="*/ 400 h 447"/>
                <a:gd name="T94" fmla="*/ 85 w 504"/>
                <a:gd name="T95" fmla="*/ 376 h 447"/>
                <a:gd name="T96" fmla="*/ 80 w 504"/>
                <a:gd name="T97" fmla="*/ 356 h 447"/>
                <a:gd name="T98" fmla="*/ 83 w 504"/>
                <a:gd name="T99" fmla="*/ 333 h 447"/>
                <a:gd name="T100" fmla="*/ 76 w 504"/>
                <a:gd name="T101" fmla="*/ 318 h 447"/>
                <a:gd name="T102" fmla="*/ 50 w 504"/>
                <a:gd name="T103" fmla="*/ 318 h 447"/>
                <a:gd name="T104" fmla="*/ 44 w 504"/>
                <a:gd name="T105" fmla="*/ 310 h 447"/>
                <a:gd name="T106" fmla="*/ 28 w 504"/>
                <a:gd name="T107" fmla="*/ 302 h 447"/>
                <a:gd name="T108" fmla="*/ 0 w 504"/>
                <a:gd name="T109" fmla="*/ 293 h 447"/>
                <a:gd name="T110" fmla="*/ 21 w 504"/>
                <a:gd name="T111" fmla="*/ 273 h 447"/>
                <a:gd name="T112" fmla="*/ 28 w 504"/>
                <a:gd name="T113" fmla="*/ 248 h 447"/>
                <a:gd name="T114" fmla="*/ 52 w 504"/>
                <a:gd name="T115" fmla="*/ 245 h 447"/>
                <a:gd name="T116" fmla="*/ 72 w 504"/>
                <a:gd name="T117" fmla="*/ 248 h 447"/>
                <a:gd name="T118" fmla="*/ 84 w 504"/>
                <a:gd name="T119" fmla="*/ 22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447">
                  <a:moveTo>
                    <a:pt x="404" y="0"/>
                  </a:moveTo>
                  <a:lnTo>
                    <a:pt x="405" y="0"/>
                  </a:lnTo>
                  <a:lnTo>
                    <a:pt x="405" y="0"/>
                  </a:lnTo>
                  <a:lnTo>
                    <a:pt x="406" y="1"/>
                  </a:lnTo>
                  <a:lnTo>
                    <a:pt x="410" y="3"/>
                  </a:lnTo>
                  <a:lnTo>
                    <a:pt x="411" y="4"/>
                  </a:lnTo>
                  <a:lnTo>
                    <a:pt x="413" y="5"/>
                  </a:lnTo>
                  <a:lnTo>
                    <a:pt x="414" y="5"/>
                  </a:lnTo>
                  <a:lnTo>
                    <a:pt x="415" y="5"/>
                  </a:lnTo>
                  <a:lnTo>
                    <a:pt x="419" y="6"/>
                  </a:lnTo>
                  <a:lnTo>
                    <a:pt x="420" y="6"/>
                  </a:lnTo>
                  <a:lnTo>
                    <a:pt x="421" y="7"/>
                  </a:lnTo>
                  <a:lnTo>
                    <a:pt x="422" y="7"/>
                  </a:lnTo>
                  <a:lnTo>
                    <a:pt x="423" y="8"/>
                  </a:lnTo>
                  <a:lnTo>
                    <a:pt x="425" y="9"/>
                  </a:lnTo>
                  <a:lnTo>
                    <a:pt x="426" y="10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0" y="13"/>
                  </a:lnTo>
                  <a:lnTo>
                    <a:pt x="431" y="14"/>
                  </a:lnTo>
                  <a:lnTo>
                    <a:pt x="432" y="14"/>
                  </a:lnTo>
                  <a:lnTo>
                    <a:pt x="433" y="15"/>
                  </a:lnTo>
                  <a:lnTo>
                    <a:pt x="434" y="15"/>
                  </a:lnTo>
                  <a:lnTo>
                    <a:pt x="435" y="15"/>
                  </a:lnTo>
                  <a:lnTo>
                    <a:pt x="436" y="15"/>
                  </a:lnTo>
                  <a:lnTo>
                    <a:pt x="437" y="15"/>
                  </a:lnTo>
                  <a:lnTo>
                    <a:pt x="438" y="14"/>
                  </a:lnTo>
                  <a:lnTo>
                    <a:pt x="439" y="14"/>
                  </a:lnTo>
                  <a:lnTo>
                    <a:pt x="440" y="14"/>
                  </a:lnTo>
                  <a:lnTo>
                    <a:pt x="444" y="12"/>
                  </a:lnTo>
                  <a:lnTo>
                    <a:pt x="445" y="12"/>
                  </a:lnTo>
                  <a:lnTo>
                    <a:pt x="447" y="11"/>
                  </a:lnTo>
                  <a:lnTo>
                    <a:pt x="448" y="11"/>
                  </a:lnTo>
                  <a:lnTo>
                    <a:pt x="449" y="11"/>
                  </a:lnTo>
                  <a:lnTo>
                    <a:pt x="450" y="11"/>
                  </a:lnTo>
                  <a:lnTo>
                    <a:pt x="451" y="11"/>
                  </a:lnTo>
                  <a:lnTo>
                    <a:pt x="453" y="12"/>
                  </a:lnTo>
                  <a:lnTo>
                    <a:pt x="454" y="12"/>
                  </a:lnTo>
                  <a:lnTo>
                    <a:pt x="455" y="12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7" y="11"/>
                  </a:lnTo>
                  <a:lnTo>
                    <a:pt x="458" y="10"/>
                  </a:lnTo>
                  <a:lnTo>
                    <a:pt x="459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0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62" y="9"/>
                  </a:lnTo>
                  <a:lnTo>
                    <a:pt x="462" y="9"/>
                  </a:lnTo>
                  <a:lnTo>
                    <a:pt x="462" y="11"/>
                  </a:lnTo>
                  <a:lnTo>
                    <a:pt x="462" y="12"/>
                  </a:lnTo>
                  <a:lnTo>
                    <a:pt x="462" y="12"/>
                  </a:lnTo>
                  <a:lnTo>
                    <a:pt x="463" y="13"/>
                  </a:lnTo>
                  <a:lnTo>
                    <a:pt x="463" y="14"/>
                  </a:lnTo>
                  <a:lnTo>
                    <a:pt x="464" y="14"/>
                  </a:lnTo>
                  <a:lnTo>
                    <a:pt x="464" y="15"/>
                  </a:lnTo>
                  <a:lnTo>
                    <a:pt x="465" y="16"/>
                  </a:lnTo>
                  <a:lnTo>
                    <a:pt x="466" y="16"/>
                  </a:lnTo>
                  <a:lnTo>
                    <a:pt x="469" y="18"/>
                  </a:lnTo>
                  <a:lnTo>
                    <a:pt x="470" y="19"/>
                  </a:lnTo>
                  <a:lnTo>
                    <a:pt x="471" y="21"/>
                  </a:lnTo>
                  <a:lnTo>
                    <a:pt x="472" y="21"/>
                  </a:lnTo>
                  <a:lnTo>
                    <a:pt x="473" y="22"/>
                  </a:lnTo>
                  <a:lnTo>
                    <a:pt x="474" y="22"/>
                  </a:lnTo>
                  <a:lnTo>
                    <a:pt x="475" y="22"/>
                  </a:lnTo>
                  <a:lnTo>
                    <a:pt x="478" y="23"/>
                  </a:lnTo>
                  <a:lnTo>
                    <a:pt x="478" y="23"/>
                  </a:lnTo>
                  <a:lnTo>
                    <a:pt x="479" y="24"/>
                  </a:lnTo>
                  <a:lnTo>
                    <a:pt x="480" y="24"/>
                  </a:lnTo>
                  <a:lnTo>
                    <a:pt x="481" y="25"/>
                  </a:lnTo>
                  <a:lnTo>
                    <a:pt x="482" y="26"/>
                  </a:lnTo>
                  <a:lnTo>
                    <a:pt x="483" y="26"/>
                  </a:lnTo>
                  <a:lnTo>
                    <a:pt x="484" y="28"/>
                  </a:lnTo>
                  <a:lnTo>
                    <a:pt x="486" y="30"/>
                  </a:lnTo>
                  <a:lnTo>
                    <a:pt x="487" y="31"/>
                  </a:lnTo>
                  <a:lnTo>
                    <a:pt x="487" y="32"/>
                  </a:lnTo>
                  <a:lnTo>
                    <a:pt x="488" y="34"/>
                  </a:lnTo>
                  <a:lnTo>
                    <a:pt x="488" y="35"/>
                  </a:lnTo>
                  <a:lnTo>
                    <a:pt x="488" y="36"/>
                  </a:lnTo>
                  <a:lnTo>
                    <a:pt x="488" y="38"/>
                  </a:lnTo>
                  <a:lnTo>
                    <a:pt x="488" y="39"/>
                  </a:lnTo>
                  <a:lnTo>
                    <a:pt x="488" y="41"/>
                  </a:lnTo>
                  <a:lnTo>
                    <a:pt x="487" y="43"/>
                  </a:lnTo>
                  <a:lnTo>
                    <a:pt x="487" y="45"/>
                  </a:lnTo>
                  <a:lnTo>
                    <a:pt x="486" y="47"/>
                  </a:lnTo>
                  <a:lnTo>
                    <a:pt x="485" y="50"/>
                  </a:lnTo>
                  <a:lnTo>
                    <a:pt x="484" y="51"/>
                  </a:lnTo>
                  <a:lnTo>
                    <a:pt x="482" y="55"/>
                  </a:lnTo>
                  <a:lnTo>
                    <a:pt x="482" y="56"/>
                  </a:lnTo>
                  <a:lnTo>
                    <a:pt x="481" y="57"/>
                  </a:lnTo>
                  <a:lnTo>
                    <a:pt x="481" y="57"/>
                  </a:lnTo>
                  <a:lnTo>
                    <a:pt x="481" y="59"/>
                  </a:lnTo>
                  <a:lnTo>
                    <a:pt x="481" y="59"/>
                  </a:lnTo>
                  <a:lnTo>
                    <a:pt x="481" y="60"/>
                  </a:lnTo>
                  <a:lnTo>
                    <a:pt x="481" y="60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1" y="61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4" y="63"/>
                  </a:lnTo>
                  <a:lnTo>
                    <a:pt x="485" y="64"/>
                  </a:lnTo>
                  <a:lnTo>
                    <a:pt x="485" y="64"/>
                  </a:lnTo>
                  <a:lnTo>
                    <a:pt x="486" y="64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2"/>
                  </a:lnTo>
                  <a:lnTo>
                    <a:pt x="495" y="61"/>
                  </a:lnTo>
                  <a:lnTo>
                    <a:pt x="497" y="61"/>
                  </a:lnTo>
                  <a:lnTo>
                    <a:pt x="498" y="60"/>
                  </a:lnTo>
                  <a:lnTo>
                    <a:pt x="499" y="60"/>
                  </a:lnTo>
                  <a:lnTo>
                    <a:pt x="500" y="60"/>
                  </a:lnTo>
                  <a:lnTo>
                    <a:pt x="501" y="60"/>
                  </a:lnTo>
                  <a:lnTo>
                    <a:pt x="501" y="60"/>
                  </a:lnTo>
                  <a:lnTo>
                    <a:pt x="502" y="60"/>
                  </a:lnTo>
                  <a:lnTo>
                    <a:pt x="502" y="61"/>
                  </a:lnTo>
                  <a:lnTo>
                    <a:pt x="503" y="61"/>
                  </a:lnTo>
                  <a:lnTo>
                    <a:pt x="503" y="62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4"/>
                  </a:lnTo>
                  <a:lnTo>
                    <a:pt x="504" y="65"/>
                  </a:lnTo>
                  <a:lnTo>
                    <a:pt x="504" y="66"/>
                  </a:lnTo>
                  <a:lnTo>
                    <a:pt x="504" y="68"/>
                  </a:lnTo>
                  <a:lnTo>
                    <a:pt x="504" y="69"/>
                  </a:lnTo>
                  <a:lnTo>
                    <a:pt x="503" y="70"/>
                  </a:lnTo>
                  <a:lnTo>
                    <a:pt x="502" y="73"/>
                  </a:lnTo>
                  <a:lnTo>
                    <a:pt x="501" y="75"/>
                  </a:lnTo>
                  <a:lnTo>
                    <a:pt x="497" y="84"/>
                  </a:lnTo>
                  <a:lnTo>
                    <a:pt x="495" y="90"/>
                  </a:lnTo>
                  <a:lnTo>
                    <a:pt x="495" y="91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5" y="92"/>
                  </a:lnTo>
                  <a:lnTo>
                    <a:pt x="494" y="93"/>
                  </a:lnTo>
                  <a:lnTo>
                    <a:pt x="494" y="93"/>
                  </a:lnTo>
                  <a:lnTo>
                    <a:pt x="493" y="95"/>
                  </a:lnTo>
                  <a:lnTo>
                    <a:pt x="491" y="96"/>
                  </a:lnTo>
                  <a:lnTo>
                    <a:pt x="490" y="97"/>
                  </a:lnTo>
                  <a:lnTo>
                    <a:pt x="489" y="98"/>
                  </a:lnTo>
                  <a:lnTo>
                    <a:pt x="487" y="99"/>
                  </a:lnTo>
                  <a:lnTo>
                    <a:pt x="485" y="100"/>
                  </a:lnTo>
                  <a:lnTo>
                    <a:pt x="484" y="101"/>
                  </a:lnTo>
                  <a:lnTo>
                    <a:pt x="482" y="102"/>
                  </a:lnTo>
                  <a:lnTo>
                    <a:pt x="482" y="102"/>
                  </a:lnTo>
                  <a:lnTo>
                    <a:pt x="482" y="103"/>
                  </a:lnTo>
                  <a:lnTo>
                    <a:pt x="481" y="104"/>
                  </a:lnTo>
                  <a:lnTo>
                    <a:pt x="481" y="104"/>
                  </a:lnTo>
                  <a:lnTo>
                    <a:pt x="480" y="105"/>
                  </a:lnTo>
                  <a:lnTo>
                    <a:pt x="480" y="107"/>
                  </a:lnTo>
                  <a:lnTo>
                    <a:pt x="479" y="108"/>
                  </a:lnTo>
                  <a:lnTo>
                    <a:pt x="478" y="114"/>
                  </a:lnTo>
                  <a:lnTo>
                    <a:pt x="477" y="115"/>
                  </a:lnTo>
                  <a:lnTo>
                    <a:pt x="477" y="115"/>
                  </a:lnTo>
                  <a:lnTo>
                    <a:pt x="476" y="116"/>
                  </a:lnTo>
                  <a:lnTo>
                    <a:pt x="476" y="117"/>
                  </a:lnTo>
                  <a:lnTo>
                    <a:pt x="476" y="117"/>
                  </a:lnTo>
                  <a:lnTo>
                    <a:pt x="475" y="118"/>
                  </a:lnTo>
                  <a:lnTo>
                    <a:pt x="475" y="118"/>
                  </a:lnTo>
                  <a:lnTo>
                    <a:pt x="474" y="118"/>
                  </a:lnTo>
                  <a:lnTo>
                    <a:pt x="474" y="119"/>
                  </a:lnTo>
                  <a:lnTo>
                    <a:pt x="473" y="119"/>
                  </a:lnTo>
                  <a:lnTo>
                    <a:pt x="472" y="119"/>
                  </a:lnTo>
                  <a:lnTo>
                    <a:pt x="471" y="119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69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6" y="118"/>
                  </a:lnTo>
                  <a:lnTo>
                    <a:pt x="464" y="118"/>
                  </a:lnTo>
                  <a:lnTo>
                    <a:pt x="463" y="117"/>
                  </a:lnTo>
                  <a:lnTo>
                    <a:pt x="460" y="115"/>
                  </a:lnTo>
                  <a:lnTo>
                    <a:pt x="458" y="114"/>
                  </a:lnTo>
                  <a:lnTo>
                    <a:pt x="457" y="114"/>
                  </a:lnTo>
                  <a:lnTo>
                    <a:pt x="455" y="113"/>
                  </a:lnTo>
                  <a:lnTo>
                    <a:pt x="454" y="112"/>
                  </a:lnTo>
                  <a:lnTo>
                    <a:pt x="453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1" y="112"/>
                  </a:lnTo>
                  <a:lnTo>
                    <a:pt x="450" y="112"/>
                  </a:lnTo>
                  <a:lnTo>
                    <a:pt x="448" y="113"/>
                  </a:lnTo>
                  <a:lnTo>
                    <a:pt x="447" y="113"/>
                  </a:lnTo>
                  <a:lnTo>
                    <a:pt x="447" y="113"/>
                  </a:lnTo>
                  <a:lnTo>
                    <a:pt x="446" y="113"/>
                  </a:lnTo>
                  <a:lnTo>
                    <a:pt x="446" y="113"/>
                  </a:lnTo>
                  <a:lnTo>
                    <a:pt x="446" y="114"/>
                  </a:lnTo>
                  <a:lnTo>
                    <a:pt x="446" y="114"/>
                  </a:lnTo>
                  <a:lnTo>
                    <a:pt x="446" y="115"/>
                  </a:lnTo>
                  <a:lnTo>
                    <a:pt x="446" y="116"/>
                  </a:lnTo>
                  <a:lnTo>
                    <a:pt x="446" y="119"/>
                  </a:lnTo>
                  <a:lnTo>
                    <a:pt x="446" y="121"/>
                  </a:lnTo>
                  <a:lnTo>
                    <a:pt x="446" y="122"/>
                  </a:lnTo>
                  <a:lnTo>
                    <a:pt x="446" y="123"/>
                  </a:lnTo>
                  <a:lnTo>
                    <a:pt x="446" y="126"/>
                  </a:lnTo>
                  <a:lnTo>
                    <a:pt x="445" y="127"/>
                  </a:lnTo>
                  <a:lnTo>
                    <a:pt x="445" y="128"/>
                  </a:lnTo>
                  <a:lnTo>
                    <a:pt x="445" y="128"/>
                  </a:lnTo>
                  <a:lnTo>
                    <a:pt x="444" y="129"/>
                  </a:lnTo>
                  <a:lnTo>
                    <a:pt x="444" y="130"/>
                  </a:lnTo>
                  <a:lnTo>
                    <a:pt x="442" y="132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0" y="134"/>
                  </a:lnTo>
                  <a:lnTo>
                    <a:pt x="440" y="135"/>
                  </a:lnTo>
                  <a:lnTo>
                    <a:pt x="439" y="136"/>
                  </a:lnTo>
                  <a:lnTo>
                    <a:pt x="439" y="137"/>
                  </a:lnTo>
                  <a:lnTo>
                    <a:pt x="438" y="138"/>
                  </a:lnTo>
                  <a:lnTo>
                    <a:pt x="438" y="140"/>
                  </a:lnTo>
                  <a:lnTo>
                    <a:pt x="437" y="141"/>
                  </a:lnTo>
                  <a:lnTo>
                    <a:pt x="437" y="142"/>
                  </a:lnTo>
                  <a:lnTo>
                    <a:pt x="437" y="143"/>
                  </a:lnTo>
                  <a:lnTo>
                    <a:pt x="437" y="144"/>
                  </a:lnTo>
                  <a:lnTo>
                    <a:pt x="437" y="146"/>
                  </a:lnTo>
                  <a:lnTo>
                    <a:pt x="437" y="146"/>
                  </a:lnTo>
                  <a:lnTo>
                    <a:pt x="437" y="147"/>
                  </a:lnTo>
                  <a:lnTo>
                    <a:pt x="436" y="147"/>
                  </a:lnTo>
                  <a:lnTo>
                    <a:pt x="436" y="147"/>
                  </a:lnTo>
                  <a:lnTo>
                    <a:pt x="436" y="148"/>
                  </a:lnTo>
                  <a:lnTo>
                    <a:pt x="435" y="148"/>
                  </a:lnTo>
                  <a:lnTo>
                    <a:pt x="434" y="149"/>
                  </a:lnTo>
                  <a:lnTo>
                    <a:pt x="433" y="149"/>
                  </a:lnTo>
                  <a:lnTo>
                    <a:pt x="433" y="149"/>
                  </a:lnTo>
                  <a:lnTo>
                    <a:pt x="430" y="152"/>
                  </a:lnTo>
                  <a:lnTo>
                    <a:pt x="427" y="154"/>
                  </a:lnTo>
                  <a:lnTo>
                    <a:pt x="426" y="155"/>
                  </a:lnTo>
                  <a:lnTo>
                    <a:pt x="425" y="156"/>
                  </a:lnTo>
                  <a:lnTo>
                    <a:pt x="425" y="156"/>
                  </a:lnTo>
                  <a:lnTo>
                    <a:pt x="424" y="157"/>
                  </a:lnTo>
                  <a:lnTo>
                    <a:pt x="424" y="158"/>
                  </a:lnTo>
                  <a:lnTo>
                    <a:pt x="423" y="159"/>
                  </a:lnTo>
                  <a:lnTo>
                    <a:pt x="423" y="160"/>
                  </a:lnTo>
                  <a:lnTo>
                    <a:pt x="422" y="162"/>
                  </a:lnTo>
                  <a:lnTo>
                    <a:pt x="422" y="163"/>
                  </a:lnTo>
                  <a:lnTo>
                    <a:pt x="422" y="164"/>
                  </a:lnTo>
                  <a:lnTo>
                    <a:pt x="421" y="167"/>
                  </a:lnTo>
                  <a:lnTo>
                    <a:pt x="421" y="168"/>
                  </a:lnTo>
                  <a:lnTo>
                    <a:pt x="421" y="169"/>
                  </a:lnTo>
                  <a:lnTo>
                    <a:pt x="420" y="170"/>
                  </a:lnTo>
                  <a:lnTo>
                    <a:pt x="420" y="171"/>
                  </a:lnTo>
                  <a:lnTo>
                    <a:pt x="418" y="174"/>
                  </a:lnTo>
                  <a:lnTo>
                    <a:pt x="417" y="176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8"/>
                  </a:lnTo>
                  <a:lnTo>
                    <a:pt x="415" y="178"/>
                  </a:lnTo>
                  <a:lnTo>
                    <a:pt x="415" y="179"/>
                  </a:lnTo>
                  <a:lnTo>
                    <a:pt x="415" y="180"/>
                  </a:lnTo>
                  <a:lnTo>
                    <a:pt x="415" y="181"/>
                  </a:lnTo>
                  <a:lnTo>
                    <a:pt x="415" y="182"/>
                  </a:lnTo>
                  <a:lnTo>
                    <a:pt x="416" y="182"/>
                  </a:lnTo>
                  <a:lnTo>
                    <a:pt x="416" y="183"/>
                  </a:lnTo>
                  <a:lnTo>
                    <a:pt x="417" y="185"/>
                  </a:lnTo>
                  <a:lnTo>
                    <a:pt x="417" y="186"/>
                  </a:lnTo>
                  <a:lnTo>
                    <a:pt x="418" y="187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19" y="193"/>
                  </a:lnTo>
                  <a:lnTo>
                    <a:pt x="419" y="196"/>
                  </a:lnTo>
                  <a:lnTo>
                    <a:pt x="420" y="196"/>
                  </a:lnTo>
                  <a:lnTo>
                    <a:pt x="420" y="198"/>
                  </a:lnTo>
                  <a:lnTo>
                    <a:pt x="421" y="199"/>
                  </a:lnTo>
                  <a:lnTo>
                    <a:pt x="422" y="201"/>
                  </a:lnTo>
                  <a:lnTo>
                    <a:pt x="423" y="205"/>
                  </a:lnTo>
                  <a:lnTo>
                    <a:pt x="425" y="209"/>
                  </a:lnTo>
                  <a:lnTo>
                    <a:pt x="426" y="210"/>
                  </a:lnTo>
                  <a:lnTo>
                    <a:pt x="427" y="211"/>
                  </a:lnTo>
                  <a:lnTo>
                    <a:pt x="428" y="213"/>
                  </a:lnTo>
                  <a:lnTo>
                    <a:pt x="428" y="214"/>
                  </a:lnTo>
                  <a:lnTo>
                    <a:pt x="430" y="216"/>
                  </a:lnTo>
                  <a:lnTo>
                    <a:pt x="430" y="217"/>
                  </a:lnTo>
                  <a:lnTo>
                    <a:pt x="431" y="218"/>
                  </a:lnTo>
                  <a:lnTo>
                    <a:pt x="432" y="220"/>
                  </a:lnTo>
                  <a:lnTo>
                    <a:pt x="433" y="222"/>
                  </a:lnTo>
                  <a:lnTo>
                    <a:pt x="433" y="223"/>
                  </a:lnTo>
                  <a:lnTo>
                    <a:pt x="436" y="230"/>
                  </a:lnTo>
                  <a:lnTo>
                    <a:pt x="436" y="230"/>
                  </a:lnTo>
                  <a:lnTo>
                    <a:pt x="437" y="231"/>
                  </a:lnTo>
                  <a:lnTo>
                    <a:pt x="439" y="236"/>
                  </a:lnTo>
                  <a:lnTo>
                    <a:pt x="441" y="240"/>
                  </a:lnTo>
                  <a:lnTo>
                    <a:pt x="442" y="240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44" y="243"/>
                  </a:lnTo>
                  <a:lnTo>
                    <a:pt x="445" y="243"/>
                  </a:lnTo>
                  <a:lnTo>
                    <a:pt x="447" y="245"/>
                  </a:lnTo>
                  <a:lnTo>
                    <a:pt x="448" y="246"/>
                  </a:lnTo>
                  <a:lnTo>
                    <a:pt x="450" y="247"/>
                  </a:lnTo>
                  <a:lnTo>
                    <a:pt x="451" y="248"/>
                  </a:lnTo>
                  <a:lnTo>
                    <a:pt x="451" y="249"/>
                  </a:lnTo>
                  <a:lnTo>
                    <a:pt x="452" y="249"/>
                  </a:lnTo>
                  <a:lnTo>
                    <a:pt x="453" y="250"/>
                  </a:lnTo>
                  <a:lnTo>
                    <a:pt x="453" y="251"/>
                  </a:lnTo>
                  <a:lnTo>
                    <a:pt x="454" y="252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4"/>
                  </a:lnTo>
                  <a:lnTo>
                    <a:pt x="455" y="255"/>
                  </a:lnTo>
                  <a:lnTo>
                    <a:pt x="455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4" y="254"/>
                  </a:lnTo>
                  <a:lnTo>
                    <a:pt x="453" y="254"/>
                  </a:lnTo>
                  <a:lnTo>
                    <a:pt x="453" y="255"/>
                  </a:lnTo>
                  <a:lnTo>
                    <a:pt x="452" y="255"/>
                  </a:lnTo>
                  <a:lnTo>
                    <a:pt x="452" y="256"/>
                  </a:lnTo>
                  <a:lnTo>
                    <a:pt x="451" y="256"/>
                  </a:lnTo>
                  <a:lnTo>
                    <a:pt x="450" y="257"/>
                  </a:lnTo>
                  <a:lnTo>
                    <a:pt x="450" y="258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60"/>
                  </a:lnTo>
                  <a:lnTo>
                    <a:pt x="449" y="260"/>
                  </a:lnTo>
                  <a:lnTo>
                    <a:pt x="449" y="261"/>
                  </a:lnTo>
                  <a:lnTo>
                    <a:pt x="449" y="262"/>
                  </a:lnTo>
                  <a:lnTo>
                    <a:pt x="449" y="262"/>
                  </a:lnTo>
                  <a:lnTo>
                    <a:pt x="449" y="264"/>
                  </a:lnTo>
                  <a:lnTo>
                    <a:pt x="450" y="267"/>
                  </a:lnTo>
                  <a:lnTo>
                    <a:pt x="450" y="269"/>
                  </a:lnTo>
                  <a:lnTo>
                    <a:pt x="450" y="270"/>
                  </a:lnTo>
                  <a:lnTo>
                    <a:pt x="450" y="273"/>
                  </a:lnTo>
                  <a:lnTo>
                    <a:pt x="450" y="274"/>
                  </a:lnTo>
                  <a:lnTo>
                    <a:pt x="450" y="275"/>
                  </a:lnTo>
                  <a:lnTo>
                    <a:pt x="450" y="275"/>
                  </a:lnTo>
                  <a:lnTo>
                    <a:pt x="450" y="276"/>
                  </a:lnTo>
                  <a:lnTo>
                    <a:pt x="450" y="277"/>
                  </a:lnTo>
                  <a:lnTo>
                    <a:pt x="449" y="277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7" y="279"/>
                  </a:lnTo>
                  <a:lnTo>
                    <a:pt x="445" y="280"/>
                  </a:lnTo>
                  <a:lnTo>
                    <a:pt x="442" y="281"/>
                  </a:lnTo>
                  <a:lnTo>
                    <a:pt x="439" y="281"/>
                  </a:lnTo>
                  <a:lnTo>
                    <a:pt x="438" y="282"/>
                  </a:lnTo>
                  <a:lnTo>
                    <a:pt x="438" y="282"/>
                  </a:lnTo>
                  <a:lnTo>
                    <a:pt x="437" y="282"/>
                  </a:lnTo>
                  <a:lnTo>
                    <a:pt x="437" y="283"/>
                  </a:lnTo>
                  <a:lnTo>
                    <a:pt x="436" y="286"/>
                  </a:lnTo>
                  <a:lnTo>
                    <a:pt x="434" y="288"/>
                  </a:lnTo>
                  <a:lnTo>
                    <a:pt x="434" y="289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3" y="291"/>
                  </a:lnTo>
                  <a:lnTo>
                    <a:pt x="432" y="291"/>
                  </a:lnTo>
                  <a:lnTo>
                    <a:pt x="431" y="291"/>
                  </a:lnTo>
                  <a:lnTo>
                    <a:pt x="430" y="291"/>
                  </a:lnTo>
                  <a:lnTo>
                    <a:pt x="429" y="291"/>
                  </a:lnTo>
                  <a:lnTo>
                    <a:pt x="428" y="291"/>
                  </a:lnTo>
                  <a:lnTo>
                    <a:pt x="424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2" y="289"/>
                  </a:lnTo>
                  <a:lnTo>
                    <a:pt x="422" y="289"/>
                  </a:lnTo>
                  <a:lnTo>
                    <a:pt x="421" y="289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1"/>
                  </a:lnTo>
                  <a:lnTo>
                    <a:pt x="420" y="292"/>
                  </a:lnTo>
                  <a:lnTo>
                    <a:pt x="420" y="294"/>
                  </a:lnTo>
                  <a:lnTo>
                    <a:pt x="420" y="296"/>
                  </a:lnTo>
                  <a:lnTo>
                    <a:pt x="420" y="297"/>
                  </a:lnTo>
                  <a:lnTo>
                    <a:pt x="420" y="298"/>
                  </a:lnTo>
                  <a:lnTo>
                    <a:pt x="420" y="299"/>
                  </a:lnTo>
                  <a:lnTo>
                    <a:pt x="420" y="300"/>
                  </a:lnTo>
                  <a:lnTo>
                    <a:pt x="420" y="301"/>
                  </a:lnTo>
                  <a:lnTo>
                    <a:pt x="421" y="302"/>
                  </a:lnTo>
                  <a:lnTo>
                    <a:pt x="421" y="305"/>
                  </a:lnTo>
                  <a:lnTo>
                    <a:pt x="422" y="306"/>
                  </a:lnTo>
                  <a:lnTo>
                    <a:pt x="422" y="307"/>
                  </a:lnTo>
                  <a:lnTo>
                    <a:pt x="422" y="308"/>
                  </a:lnTo>
                  <a:lnTo>
                    <a:pt x="422" y="309"/>
                  </a:lnTo>
                  <a:lnTo>
                    <a:pt x="422" y="311"/>
                  </a:lnTo>
                  <a:lnTo>
                    <a:pt x="422" y="312"/>
                  </a:lnTo>
                  <a:lnTo>
                    <a:pt x="421" y="313"/>
                  </a:lnTo>
                  <a:lnTo>
                    <a:pt x="421" y="315"/>
                  </a:lnTo>
                  <a:lnTo>
                    <a:pt x="420" y="319"/>
                  </a:lnTo>
                  <a:lnTo>
                    <a:pt x="420" y="320"/>
                  </a:lnTo>
                  <a:lnTo>
                    <a:pt x="420" y="321"/>
                  </a:lnTo>
                  <a:lnTo>
                    <a:pt x="419" y="322"/>
                  </a:lnTo>
                  <a:lnTo>
                    <a:pt x="419" y="323"/>
                  </a:lnTo>
                  <a:lnTo>
                    <a:pt x="418" y="323"/>
                  </a:lnTo>
                  <a:lnTo>
                    <a:pt x="418" y="324"/>
                  </a:lnTo>
                  <a:lnTo>
                    <a:pt x="418" y="324"/>
                  </a:lnTo>
                  <a:lnTo>
                    <a:pt x="417" y="324"/>
                  </a:lnTo>
                  <a:lnTo>
                    <a:pt x="417" y="325"/>
                  </a:lnTo>
                  <a:lnTo>
                    <a:pt x="416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3" y="325"/>
                  </a:lnTo>
                  <a:lnTo>
                    <a:pt x="411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4"/>
                  </a:lnTo>
                  <a:lnTo>
                    <a:pt x="401" y="325"/>
                  </a:lnTo>
                  <a:lnTo>
                    <a:pt x="395" y="326"/>
                  </a:lnTo>
                  <a:lnTo>
                    <a:pt x="394" y="326"/>
                  </a:lnTo>
                  <a:lnTo>
                    <a:pt x="393" y="326"/>
                  </a:lnTo>
                  <a:lnTo>
                    <a:pt x="392" y="327"/>
                  </a:lnTo>
                  <a:lnTo>
                    <a:pt x="391" y="327"/>
                  </a:lnTo>
                  <a:lnTo>
                    <a:pt x="391" y="327"/>
                  </a:lnTo>
                  <a:lnTo>
                    <a:pt x="390" y="328"/>
                  </a:lnTo>
                  <a:lnTo>
                    <a:pt x="388" y="330"/>
                  </a:lnTo>
                  <a:lnTo>
                    <a:pt x="387" y="331"/>
                  </a:lnTo>
                  <a:lnTo>
                    <a:pt x="386" y="332"/>
                  </a:lnTo>
                  <a:lnTo>
                    <a:pt x="385" y="332"/>
                  </a:lnTo>
                  <a:lnTo>
                    <a:pt x="384" y="333"/>
                  </a:lnTo>
                  <a:lnTo>
                    <a:pt x="384" y="333"/>
                  </a:lnTo>
                  <a:lnTo>
                    <a:pt x="383" y="333"/>
                  </a:lnTo>
                  <a:lnTo>
                    <a:pt x="383" y="333"/>
                  </a:lnTo>
                  <a:lnTo>
                    <a:pt x="382" y="333"/>
                  </a:lnTo>
                  <a:lnTo>
                    <a:pt x="381" y="333"/>
                  </a:lnTo>
                  <a:lnTo>
                    <a:pt x="379" y="333"/>
                  </a:lnTo>
                  <a:lnTo>
                    <a:pt x="376" y="332"/>
                  </a:lnTo>
                  <a:lnTo>
                    <a:pt x="372" y="331"/>
                  </a:lnTo>
                  <a:lnTo>
                    <a:pt x="370" y="331"/>
                  </a:lnTo>
                  <a:lnTo>
                    <a:pt x="368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6" y="330"/>
                  </a:lnTo>
                  <a:lnTo>
                    <a:pt x="365" y="330"/>
                  </a:lnTo>
                  <a:lnTo>
                    <a:pt x="365" y="331"/>
                  </a:lnTo>
                  <a:lnTo>
                    <a:pt x="363" y="332"/>
                  </a:lnTo>
                  <a:lnTo>
                    <a:pt x="361" y="332"/>
                  </a:lnTo>
                  <a:lnTo>
                    <a:pt x="359" y="332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3" y="333"/>
                  </a:lnTo>
                  <a:lnTo>
                    <a:pt x="350" y="333"/>
                  </a:lnTo>
                  <a:lnTo>
                    <a:pt x="348" y="333"/>
                  </a:lnTo>
                  <a:lnTo>
                    <a:pt x="346" y="333"/>
                  </a:lnTo>
                  <a:lnTo>
                    <a:pt x="340" y="332"/>
                  </a:lnTo>
                  <a:lnTo>
                    <a:pt x="338" y="332"/>
                  </a:lnTo>
                  <a:lnTo>
                    <a:pt x="336" y="332"/>
                  </a:lnTo>
                  <a:lnTo>
                    <a:pt x="333" y="331"/>
                  </a:lnTo>
                  <a:lnTo>
                    <a:pt x="329" y="330"/>
                  </a:lnTo>
                  <a:lnTo>
                    <a:pt x="325" y="329"/>
                  </a:lnTo>
                  <a:lnTo>
                    <a:pt x="323" y="328"/>
                  </a:lnTo>
                  <a:lnTo>
                    <a:pt x="322" y="328"/>
                  </a:lnTo>
                  <a:lnTo>
                    <a:pt x="317" y="328"/>
                  </a:lnTo>
                  <a:lnTo>
                    <a:pt x="316" y="328"/>
                  </a:lnTo>
                  <a:lnTo>
                    <a:pt x="315" y="328"/>
                  </a:lnTo>
                  <a:lnTo>
                    <a:pt x="314" y="328"/>
                  </a:lnTo>
                  <a:lnTo>
                    <a:pt x="313" y="328"/>
                  </a:lnTo>
                  <a:lnTo>
                    <a:pt x="313" y="328"/>
                  </a:lnTo>
                  <a:lnTo>
                    <a:pt x="312" y="329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09" y="331"/>
                  </a:lnTo>
                  <a:lnTo>
                    <a:pt x="309" y="331"/>
                  </a:lnTo>
                  <a:lnTo>
                    <a:pt x="308" y="332"/>
                  </a:lnTo>
                  <a:lnTo>
                    <a:pt x="307" y="333"/>
                  </a:lnTo>
                  <a:lnTo>
                    <a:pt x="307" y="333"/>
                  </a:lnTo>
                  <a:lnTo>
                    <a:pt x="307" y="334"/>
                  </a:lnTo>
                  <a:lnTo>
                    <a:pt x="307" y="335"/>
                  </a:lnTo>
                  <a:lnTo>
                    <a:pt x="307" y="335"/>
                  </a:lnTo>
                  <a:lnTo>
                    <a:pt x="307" y="336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4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4" y="346"/>
                  </a:lnTo>
                  <a:lnTo>
                    <a:pt x="304" y="346"/>
                  </a:lnTo>
                  <a:lnTo>
                    <a:pt x="302" y="346"/>
                  </a:lnTo>
                  <a:lnTo>
                    <a:pt x="301" y="346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298" y="347"/>
                  </a:lnTo>
                  <a:lnTo>
                    <a:pt x="298" y="347"/>
                  </a:lnTo>
                  <a:lnTo>
                    <a:pt x="297" y="347"/>
                  </a:lnTo>
                  <a:lnTo>
                    <a:pt x="297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2"/>
                  </a:lnTo>
                  <a:lnTo>
                    <a:pt x="295" y="353"/>
                  </a:lnTo>
                  <a:lnTo>
                    <a:pt x="294" y="353"/>
                  </a:lnTo>
                  <a:lnTo>
                    <a:pt x="292" y="355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89" y="357"/>
                  </a:lnTo>
                  <a:lnTo>
                    <a:pt x="288" y="358"/>
                  </a:lnTo>
                  <a:lnTo>
                    <a:pt x="287" y="359"/>
                  </a:lnTo>
                  <a:lnTo>
                    <a:pt x="286" y="359"/>
                  </a:lnTo>
                  <a:lnTo>
                    <a:pt x="285" y="359"/>
                  </a:lnTo>
                  <a:lnTo>
                    <a:pt x="282" y="360"/>
                  </a:lnTo>
                  <a:lnTo>
                    <a:pt x="281" y="361"/>
                  </a:lnTo>
                  <a:lnTo>
                    <a:pt x="280" y="361"/>
                  </a:lnTo>
                  <a:lnTo>
                    <a:pt x="278" y="361"/>
                  </a:lnTo>
                  <a:lnTo>
                    <a:pt x="278" y="362"/>
                  </a:lnTo>
                  <a:lnTo>
                    <a:pt x="277" y="362"/>
                  </a:lnTo>
                  <a:lnTo>
                    <a:pt x="276" y="363"/>
                  </a:lnTo>
                  <a:lnTo>
                    <a:pt x="275" y="364"/>
                  </a:lnTo>
                  <a:lnTo>
                    <a:pt x="274" y="364"/>
                  </a:lnTo>
                  <a:lnTo>
                    <a:pt x="273" y="365"/>
                  </a:lnTo>
                  <a:lnTo>
                    <a:pt x="272" y="367"/>
                  </a:lnTo>
                  <a:lnTo>
                    <a:pt x="270" y="369"/>
                  </a:lnTo>
                  <a:lnTo>
                    <a:pt x="269" y="370"/>
                  </a:lnTo>
                  <a:lnTo>
                    <a:pt x="268" y="371"/>
                  </a:lnTo>
                  <a:lnTo>
                    <a:pt x="268" y="371"/>
                  </a:lnTo>
                  <a:lnTo>
                    <a:pt x="267" y="371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5" y="372"/>
                  </a:lnTo>
                  <a:lnTo>
                    <a:pt x="265" y="372"/>
                  </a:lnTo>
                  <a:lnTo>
                    <a:pt x="264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3" y="371"/>
                  </a:lnTo>
                  <a:lnTo>
                    <a:pt x="262" y="371"/>
                  </a:lnTo>
                  <a:lnTo>
                    <a:pt x="261" y="370"/>
                  </a:lnTo>
                  <a:lnTo>
                    <a:pt x="259" y="368"/>
                  </a:lnTo>
                  <a:lnTo>
                    <a:pt x="259" y="368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4" y="366"/>
                  </a:lnTo>
                  <a:lnTo>
                    <a:pt x="253" y="366"/>
                  </a:lnTo>
                  <a:lnTo>
                    <a:pt x="253" y="367"/>
                  </a:lnTo>
                  <a:lnTo>
                    <a:pt x="252" y="367"/>
                  </a:lnTo>
                  <a:lnTo>
                    <a:pt x="251" y="368"/>
                  </a:lnTo>
                  <a:lnTo>
                    <a:pt x="250" y="369"/>
                  </a:lnTo>
                  <a:lnTo>
                    <a:pt x="249" y="370"/>
                  </a:lnTo>
                  <a:lnTo>
                    <a:pt x="246" y="373"/>
                  </a:lnTo>
                  <a:lnTo>
                    <a:pt x="244" y="374"/>
                  </a:lnTo>
                  <a:lnTo>
                    <a:pt x="244" y="375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8" y="378"/>
                  </a:lnTo>
                  <a:lnTo>
                    <a:pt x="236" y="380"/>
                  </a:lnTo>
                  <a:lnTo>
                    <a:pt x="235" y="380"/>
                  </a:lnTo>
                  <a:lnTo>
                    <a:pt x="234" y="381"/>
                  </a:lnTo>
                  <a:lnTo>
                    <a:pt x="233" y="381"/>
                  </a:lnTo>
                  <a:lnTo>
                    <a:pt x="232" y="381"/>
                  </a:lnTo>
                  <a:lnTo>
                    <a:pt x="231" y="381"/>
                  </a:lnTo>
                  <a:lnTo>
                    <a:pt x="230" y="381"/>
                  </a:lnTo>
                  <a:lnTo>
                    <a:pt x="228" y="381"/>
                  </a:lnTo>
                  <a:lnTo>
                    <a:pt x="224" y="382"/>
                  </a:lnTo>
                  <a:lnTo>
                    <a:pt x="222" y="382"/>
                  </a:lnTo>
                  <a:lnTo>
                    <a:pt x="221" y="382"/>
                  </a:lnTo>
                  <a:lnTo>
                    <a:pt x="220" y="382"/>
                  </a:lnTo>
                  <a:lnTo>
                    <a:pt x="218" y="381"/>
                  </a:lnTo>
                  <a:lnTo>
                    <a:pt x="217" y="381"/>
                  </a:lnTo>
                  <a:lnTo>
                    <a:pt x="215" y="381"/>
                  </a:lnTo>
                  <a:lnTo>
                    <a:pt x="214" y="380"/>
                  </a:lnTo>
                  <a:lnTo>
                    <a:pt x="214" y="380"/>
                  </a:lnTo>
                  <a:lnTo>
                    <a:pt x="213" y="380"/>
                  </a:lnTo>
                  <a:lnTo>
                    <a:pt x="212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09" y="379"/>
                  </a:lnTo>
                  <a:lnTo>
                    <a:pt x="208" y="380"/>
                  </a:lnTo>
                  <a:lnTo>
                    <a:pt x="207" y="381"/>
                  </a:lnTo>
                  <a:lnTo>
                    <a:pt x="203" y="385"/>
                  </a:lnTo>
                  <a:lnTo>
                    <a:pt x="200" y="387"/>
                  </a:lnTo>
                  <a:lnTo>
                    <a:pt x="198" y="389"/>
                  </a:lnTo>
                  <a:lnTo>
                    <a:pt x="198" y="389"/>
                  </a:lnTo>
                  <a:lnTo>
                    <a:pt x="197" y="390"/>
                  </a:lnTo>
                  <a:lnTo>
                    <a:pt x="196" y="391"/>
                  </a:lnTo>
                  <a:lnTo>
                    <a:pt x="195" y="393"/>
                  </a:lnTo>
                  <a:lnTo>
                    <a:pt x="194" y="393"/>
                  </a:lnTo>
                  <a:lnTo>
                    <a:pt x="193" y="394"/>
                  </a:lnTo>
                  <a:lnTo>
                    <a:pt x="192" y="395"/>
                  </a:lnTo>
                  <a:lnTo>
                    <a:pt x="191" y="395"/>
                  </a:lnTo>
                  <a:lnTo>
                    <a:pt x="190" y="396"/>
                  </a:lnTo>
                  <a:lnTo>
                    <a:pt x="188" y="396"/>
                  </a:lnTo>
                  <a:lnTo>
                    <a:pt x="186" y="397"/>
                  </a:lnTo>
                  <a:lnTo>
                    <a:pt x="185" y="397"/>
                  </a:lnTo>
                  <a:lnTo>
                    <a:pt x="183" y="397"/>
                  </a:lnTo>
                  <a:lnTo>
                    <a:pt x="182" y="397"/>
                  </a:lnTo>
                  <a:lnTo>
                    <a:pt x="181" y="397"/>
                  </a:lnTo>
                  <a:lnTo>
                    <a:pt x="179" y="397"/>
                  </a:lnTo>
                  <a:lnTo>
                    <a:pt x="178" y="397"/>
                  </a:lnTo>
                  <a:lnTo>
                    <a:pt x="176" y="397"/>
                  </a:lnTo>
                  <a:lnTo>
                    <a:pt x="175" y="397"/>
                  </a:lnTo>
                  <a:lnTo>
                    <a:pt x="174" y="398"/>
                  </a:lnTo>
                  <a:lnTo>
                    <a:pt x="173" y="398"/>
                  </a:lnTo>
                  <a:lnTo>
                    <a:pt x="172" y="399"/>
                  </a:lnTo>
                  <a:lnTo>
                    <a:pt x="171" y="400"/>
                  </a:lnTo>
                  <a:lnTo>
                    <a:pt x="169" y="401"/>
                  </a:lnTo>
                  <a:lnTo>
                    <a:pt x="167" y="402"/>
                  </a:lnTo>
                  <a:lnTo>
                    <a:pt x="167" y="403"/>
                  </a:lnTo>
                  <a:lnTo>
                    <a:pt x="165" y="404"/>
                  </a:lnTo>
                  <a:lnTo>
                    <a:pt x="164" y="405"/>
                  </a:lnTo>
                  <a:lnTo>
                    <a:pt x="162" y="406"/>
                  </a:lnTo>
                  <a:lnTo>
                    <a:pt x="160" y="408"/>
                  </a:lnTo>
                  <a:lnTo>
                    <a:pt x="160" y="409"/>
                  </a:lnTo>
                  <a:lnTo>
                    <a:pt x="159" y="409"/>
                  </a:lnTo>
                  <a:lnTo>
                    <a:pt x="159" y="410"/>
                  </a:lnTo>
                  <a:lnTo>
                    <a:pt x="159" y="410"/>
                  </a:lnTo>
                  <a:lnTo>
                    <a:pt x="158" y="411"/>
                  </a:lnTo>
                  <a:lnTo>
                    <a:pt x="158" y="412"/>
                  </a:lnTo>
                  <a:lnTo>
                    <a:pt x="158" y="415"/>
                  </a:lnTo>
                  <a:lnTo>
                    <a:pt x="158" y="415"/>
                  </a:lnTo>
                  <a:lnTo>
                    <a:pt x="157" y="416"/>
                  </a:lnTo>
                  <a:lnTo>
                    <a:pt x="157" y="418"/>
                  </a:lnTo>
                  <a:lnTo>
                    <a:pt x="157" y="418"/>
                  </a:lnTo>
                  <a:lnTo>
                    <a:pt x="157" y="419"/>
                  </a:lnTo>
                  <a:lnTo>
                    <a:pt x="157" y="420"/>
                  </a:lnTo>
                  <a:lnTo>
                    <a:pt x="157" y="421"/>
                  </a:lnTo>
                  <a:lnTo>
                    <a:pt x="157" y="422"/>
                  </a:lnTo>
                  <a:lnTo>
                    <a:pt x="156" y="423"/>
                  </a:lnTo>
                  <a:lnTo>
                    <a:pt x="156" y="423"/>
                  </a:lnTo>
                  <a:lnTo>
                    <a:pt x="156" y="424"/>
                  </a:lnTo>
                  <a:lnTo>
                    <a:pt x="156" y="424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3" y="425"/>
                  </a:lnTo>
                  <a:lnTo>
                    <a:pt x="153" y="426"/>
                  </a:lnTo>
                  <a:lnTo>
                    <a:pt x="152" y="426"/>
                  </a:lnTo>
                  <a:lnTo>
                    <a:pt x="152" y="426"/>
                  </a:lnTo>
                  <a:lnTo>
                    <a:pt x="152" y="427"/>
                  </a:lnTo>
                  <a:lnTo>
                    <a:pt x="151" y="429"/>
                  </a:lnTo>
                  <a:lnTo>
                    <a:pt x="150" y="430"/>
                  </a:lnTo>
                  <a:lnTo>
                    <a:pt x="150" y="431"/>
                  </a:lnTo>
                  <a:lnTo>
                    <a:pt x="149" y="433"/>
                  </a:lnTo>
                  <a:lnTo>
                    <a:pt x="148" y="433"/>
                  </a:lnTo>
                  <a:lnTo>
                    <a:pt x="148" y="434"/>
                  </a:lnTo>
                  <a:lnTo>
                    <a:pt x="147" y="434"/>
                  </a:lnTo>
                  <a:lnTo>
                    <a:pt x="147" y="434"/>
                  </a:lnTo>
                  <a:lnTo>
                    <a:pt x="146" y="434"/>
                  </a:lnTo>
                  <a:lnTo>
                    <a:pt x="145" y="434"/>
                  </a:lnTo>
                  <a:lnTo>
                    <a:pt x="144" y="434"/>
                  </a:lnTo>
                  <a:lnTo>
                    <a:pt x="143" y="434"/>
                  </a:lnTo>
                  <a:lnTo>
                    <a:pt x="142" y="435"/>
                  </a:lnTo>
                  <a:lnTo>
                    <a:pt x="141" y="435"/>
                  </a:lnTo>
                  <a:lnTo>
                    <a:pt x="140" y="435"/>
                  </a:lnTo>
                  <a:lnTo>
                    <a:pt x="139" y="436"/>
                  </a:lnTo>
                  <a:lnTo>
                    <a:pt x="138" y="436"/>
                  </a:lnTo>
                  <a:lnTo>
                    <a:pt x="137" y="437"/>
                  </a:lnTo>
                  <a:lnTo>
                    <a:pt x="136" y="438"/>
                  </a:lnTo>
                  <a:lnTo>
                    <a:pt x="135" y="439"/>
                  </a:lnTo>
                  <a:lnTo>
                    <a:pt x="134" y="440"/>
                  </a:lnTo>
                  <a:lnTo>
                    <a:pt x="133" y="440"/>
                  </a:lnTo>
                  <a:lnTo>
                    <a:pt x="133" y="441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3" y="442"/>
                  </a:lnTo>
                  <a:lnTo>
                    <a:pt x="132" y="443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0" y="445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8" y="446"/>
                  </a:lnTo>
                  <a:lnTo>
                    <a:pt x="125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3" y="447"/>
                  </a:lnTo>
                  <a:lnTo>
                    <a:pt x="123" y="447"/>
                  </a:lnTo>
                  <a:lnTo>
                    <a:pt x="123" y="446"/>
                  </a:lnTo>
                  <a:lnTo>
                    <a:pt x="122" y="446"/>
                  </a:lnTo>
                  <a:lnTo>
                    <a:pt x="122" y="446"/>
                  </a:lnTo>
                  <a:lnTo>
                    <a:pt x="122" y="445"/>
                  </a:lnTo>
                  <a:lnTo>
                    <a:pt x="121" y="443"/>
                  </a:lnTo>
                  <a:lnTo>
                    <a:pt x="121" y="442"/>
                  </a:lnTo>
                  <a:lnTo>
                    <a:pt x="120" y="441"/>
                  </a:lnTo>
                  <a:lnTo>
                    <a:pt x="118" y="439"/>
                  </a:lnTo>
                  <a:lnTo>
                    <a:pt x="118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7" y="436"/>
                  </a:lnTo>
                  <a:lnTo>
                    <a:pt x="116" y="437"/>
                  </a:lnTo>
                  <a:lnTo>
                    <a:pt x="115" y="437"/>
                  </a:lnTo>
                  <a:lnTo>
                    <a:pt x="115" y="437"/>
                  </a:lnTo>
                  <a:lnTo>
                    <a:pt x="114" y="438"/>
                  </a:lnTo>
                  <a:lnTo>
                    <a:pt x="114" y="438"/>
                  </a:lnTo>
                  <a:lnTo>
                    <a:pt x="112" y="440"/>
                  </a:lnTo>
                  <a:lnTo>
                    <a:pt x="112" y="440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1" y="441"/>
                  </a:lnTo>
                  <a:lnTo>
                    <a:pt x="110" y="441"/>
                  </a:lnTo>
                  <a:lnTo>
                    <a:pt x="110" y="441"/>
                  </a:lnTo>
                  <a:lnTo>
                    <a:pt x="109" y="441"/>
                  </a:lnTo>
                  <a:lnTo>
                    <a:pt x="109" y="440"/>
                  </a:lnTo>
                  <a:lnTo>
                    <a:pt x="109" y="440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8" y="437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6"/>
                  </a:lnTo>
                  <a:lnTo>
                    <a:pt x="108" y="435"/>
                  </a:lnTo>
                  <a:lnTo>
                    <a:pt x="108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7" y="436"/>
                  </a:lnTo>
                  <a:lnTo>
                    <a:pt x="105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3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2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0" y="435"/>
                  </a:lnTo>
                  <a:lnTo>
                    <a:pt x="100" y="434"/>
                  </a:lnTo>
                  <a:lnTo>
                    <a:pt x="99" y="433"/>
                  </a:lnTo>
                  <a:lnTo>
                    <a:pt x="99" y="432"/>
                  </a:lnTo>
                  <a:lnTo>
                    <a:pt x="98" y="431"/>
                  </a:lnTo>
                  <a:lnTo>
                    <a:pt x="96" y="429"/>
                  </a:lnTo>
                  <a:lnTo>
                    <a:pt x="95" y="428"/>
                  </a:lnTo>
                  <a:lnTo>
                    <a:pt x="95" y="427"/>
                  </a:lnTo>
                  <a:lnTo>
                    <a:pt x="94" y="426"/>
                  </a:lnTo>
                  <a:lnTo>
                    <a:pt x="93" y="426"/>
                  </a:lnTo>
                  <a:lnTo>
                    <a:pt x="92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0" y="424"/>
                  </a:lnTo>
                  <a:lnTo>
                    <a:pt x="86" y="424"/>
                  </a:lnTo>
                  <a:lnTo>
                    <a:pt x="85" y="424"/>
                  </a:lnTo>
                  <a:lnTo>
                    <a:pt x="85" y="423"/>
                  </a:lnTo>
                  <a:lnTo>
                    <a:pt x="84" y="423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2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1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4" y="419"/>
                  </a:lnTo>
                  <a:lnTo>
                    <a:pt x="84" y="418"/>
                  </a:lnTo>
                  <a:lnTo>
                    <a:pt x="84" y="418"/>
                  </a:lnTo>
                  <a:lnTo>
                    <a:pt x="85" y="418"/>
                  </a:lnTo>
                  <a:lnTo>
                    <a:pt x="86" y="417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8" y="417"/>
                  </a:lnTo>
                  <a:lnTo>
                    <a:pt x="89" y="417"/>
                  </a:lnTo>
                  <a:lnTo>
                    <a:pt x="90" y="417"/>
                  </a:lnTo>
                  <a:lnTo>
                    <a:pt x="93" y="418"/>
                  </a:lnTo>
                  <a:lnTo>
                    <a:pt x="93" y="418"/>
                  </a:lnTo>
                  <a:lnTo>
                    <a:pt x="94" y="418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4" y="417"/>
                  </a:lnTo>
                  <a:lnTo>
                    <a:pt x="95" y="417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4" y="415"/>
                  </a:lnTo>
                  <a:lnTo>
                    <a:pt x="94" y="413"/>
                  </a:lnTo>
                  <a:lnTo>
                    <a:pt x="94" y="412"/>
                  </a:lnTo>
                  <a:lnTo>
                    <a:pt x="94" y="411"/>
                  </a:lnTo>
                  <a:lnTo>
                    <a:pt x="94" y="411"/>
                  </a:lnTo>
                  <a:lnTo>
                    <a:pt x="94" y="410"/>
                  </a:lnTo>
                  <a:lnTo>
                    <a:pt x="95" y="409"/>
                  </a:lnTo>
                  <a:lnTo>
                    <a:pt x="95" y="409"/>
                  </a:lnTo>
                  <a:lnTo>
                    <a:pt x="95" y="408"/>
                  </a:lnTo>
                  <a:lnTo>
                    <a:pt x="96" y="408"/>
                  </a:lnTo>
                  <a:lnTo>
                    <a:pt x="96" y="407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6" y="405"/>
                  </a:lnTo>
                  <a:lnTo>
                    <a:pt x="95" y="404"/>
                  </a:lnTo>
                  <a:lnTo>
                    <a:pt x="95" y="401"/>
                  </a:lnTo>
                  <a:lnTo>
                    <a:pt x="94" y="400"/>
                  </a:lnTo>
                  <a:lnTo>
                    <a:pt x="94" y="398"/>
                  </a:lnTo>
                  <a:lnTo>
                    <a:pt x="92" y="394"/>
                  </a:lnTo>
                  <a:lnTo>
                    <a:pt x="91" y="392"/>
                  </a:lnTo>
                  <a:lnTo>
                    <a:pt x="90" y="390"/>
                  </a:lnTo>
                  <a:lnTo>
                    <a:pt x="89" y="389"/>
                  </a:lnTo>
                  <a:lnTo>
                    <a:pt x="87" y="386"/>
                  </a:lnTo>
                  <a:lnTo>
                    <a:pt x="87" y="386"/>
                  </a:lnTo>
                  <a:lnTo>
                    <a:pt x="87" y="385"/>
                  </a:lnTo>
                  <a:lnTo>
                    <a:pt x="87" y="385"/>
                  </a:lnTo>
                  <a:lnTo>
                    <a:pt x="87" y="384"/>
                  </a:lnTo>
                  <a:lnTo>
                    <a:pt x="87" y="381"/>
                  </a:lnTo>
                  <a:lnTo>
                    <a:pt x="87" y="380"/>
                  </a:lnTo>
                  <a:lnTo>
                    <a:pt x="86" y="378"/>
                  </a:lnTo>
                  <a:lnTo>
                    <a:pt x="86" y="378"/>
                  </a:lnTo>
                  <a:lnTo>
                    <a:pt x="86" y="377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3" y="374"/>
                  </a:lnTo>
                  <a:lnTo>
                    <a:pt x="83" y="373"/>
                  </a:lnTo>
                  <a:lnTo>
                    <a:pt x="82" y="373"/>
                  </a:lnTo>
                  <a:lnTo>
                    <a:pt x="82" y="372"/>
                  </a:lnTo>
                  <a:lnTo>
                    <a:pt x="82" y="372"/>
                  </a:lnTo>
                  <a:lnTo>
                    <a:pt x="82" y="371"/>
                  </a:lnTo>
                  <a:lnTo>
                    <a:pt x="81" y="370"/>
                  </a:lnTo>
                  <a:lnTo>
                    <a:pt x="82" y="370"/>
                  </a:lnTo>
                  <a:lnTo>
                    <a:pt x="82" y="369"/>
                  </a:lnTo>
                  <a:lnTo>
                    <a:pt x="82" y="367"/>
                  </a:lnTo>
                  <a:lnTo>
                    <a:pt x="82" y="366"/>
                  </a:lnTo>
                  <a:lnTo>
                    <a:pt x="82" y="365"/>
                  </a:lnTo>
                  <a:lnTo>
                    <a:pt x="82" y="363"/>
                  </a:lnTo>
                  <a:lnTo>
                    <a:pt x="82" y="361"/>
                  </a:lnTo>
                  <a:lnTo>
                    <a:pt x="81" y="359"/>
                  </a:lnTo>
                  <a:lnTo>
                    <a:pt x="81" y="358"/>
                  </a:lnTo>
                  <a:lnTo>
                    <a:pt x="80" y="356"/>
                  </a:lnTo>
                  <a:lnTo>
                    <a:pt x="80" y="355"/>
                  </a:lnTo>
                  <a:lnTo>
                    <a:pt x="80" y="354"/>
                  </a:lnTo>
                  <a:lnTo>
                    <a:pt x="80" y="353"/>
                  </a:lnTo>
                  <a:lnTo>
                    <a:pt x="80" y="352"/>
                  </a:lnTo>
                  <a:lnTo>
                    <a:pt x="80" y="351"/>
                  </a:lnTo>
                  <a:lnTo>
                    <a:pt x="81" y="347"/>
                  </a:lnTo>
                  <a:lnTo>
                    <a:pt x="81" y="345"/>
                  </a:lnTo>
                  <a:lnTo>
                    <a:pt x="82" y="344"/>
                  </a:lnTo>
                  <a:lnTo>
                    <a:pt x="82" y="343"/>
                  </a:lnTo>
                  <a:lnTo>
                    <a:pt x="82" y="343"/>
                  </a:lnTo>
                  <a:lnTo>
                    <a:pt x="82" y="340"/>
                  </a:lnTo>
                  <a:lnTo>
                    <a:pt x="82" y="339"/>
                  </a:lnTo>
                  <a:lnTo>
                    <a:pt x="82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3" y="334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0"/>
                  </a:lnTo>
                  <a:lnTo>
                    <a:pt x="83" y="329"/>
                  </a:lnTo>
                  <a:lnTo>
                    <a:pt x="83" y="328"/>
                  </a:lnTo>
                  <a:lnTo>
                    <a:pt x="83" y="327"/>
                  </a:lnTo>
                  <a:lnTo>
                    <a:pt x="83" y="326"/>
                  </a:lnTo>
                  <a:lnTo>
                    <a:pt x="82" y="325"/>
                  </a:lnTo>
                  <a:lnTo>
                    <a:pt x="81" y="323"/>
                  </a:lnTo>
                  <a:lnTo>
                    <a:pt x="81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9" y="319"/>
                  </a:lnTo>
                  <a:lnTo>
                    <a:pt x="78" y="319"/>
                  </a:lnTo>
                  <a:lnTo>
                    <a:pt x="77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4" y="318"/>
                  </a:lnTo>
                  <a:lnTo>
                    <a:pt x="70" y="318"/>
                  </a:lnTo>
                  <a:lnTo>
                    <a:pt x="69" y="318"/>
                  </a:lnTo>
                  <a:lnTo>
                    <a:pt x="68" y="318"/>
                  </a:lnTo>
                  <a:lnTo>
                    <a:pt x="65" y="318"/>
                  </a:lnTo>
                  <a:lnTo>
                    <a:pt x="64" y="318"/>
                  </a:lnTo>
                  <a:lnTo>
                    <a:pt x="62" y="318"/>
                  </a:lnTo>
                  <a:lnTo>
                    <a:pt x="58" y="318"/>
                  </a:lnTo>
                  <a:lnTo>
                    <a:pt x="57" y="317"/>
                  </a:lnTo>
                  <a:lnTo>
                    <a:pt x="55" y="317"/>
                  </a:lnTo>
                  <a:lnTo>
                    <a:pt x="55" y="317"/>
                  </a:lnTo>
                  <a:lnTo>
                    <a:pt x="54" y="318"/>
                  </a:lnTo>
                  <a:lnTo>
                    <a:pt x="52" y="318"/>
                  </a:lnTo>
                  <a:lnTo>
                    <a:pt x="51" y="318"/>
                  </a:lnTo>
                  <a:lnTo>
                    <a:pt x="50" y="318"/>
                  </a:lnTo>
                  <a:lnTo>
                    <a:pt x="49" y="318"/>
                  </a:lnTo>
                  <a:lnTo>
                    <a:pt x="49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6" y="318"/>
                  </a:lnTo>
                  <a:lnTo>
                    <a:pt x="46" y="317"/>
                  </a:lnTo>
                  <a:lnTo>
                    <a:pt x="46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5"/>
                  </a:lnTo>
                  <a:lnTo>
                    <a:pt x="45" y="314"/>
                  </a:lnTo>
                  <a:lnTo>
                    <a:pt x="45" y="313"/>
                  </a:lnTo>
                  <a:lnTo>
                    <a:pt x="45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4" y="309"/>
                  </a:lnTo>
                  <a:lnTo>
                    <a:pt x="44" y="308"/>
                  </a:lnTo>
                  <a:lnTo>
                    <a:pt x="43" y="308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1" y="305"/>
                  </a:lnTo>
                  <a:lnTo>
                    <a:pt x="38" y="304"/>
                  </a:lnTo>
                  <a:lnTo>
                    <a:pt x="36" y="303"/>
                  </a:lnTo>
                  <a:lnTo>
                    <a:pt x="36" y="303"/>
                  </a:lnTo>
                  <a:lnTo>
                    <a:pt x="35" y="303"/>
                  </a:lnTo>
                  <a:lnTo>
                    <a:pt x="34" y="302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5" y="301"/>
                  </a:lnTo>
                  <a:lnTo>
                    <a:pt x="22" y="300"/>
                  </a:lnTo>
                  <a:lnTo>
                    <a:pt x="20" y="300"/>
                  </a:lnTo>
                  <a:lnTo>
                    <a:pt x="19" y="299"/>
                  </a:lnTo>
                  <a:lnTo>
                    <a:pt x="16" y="299"/>
                  </a:lnTo>
                  <a:lnTo>
                    <a:pt x="14" y="299"/>
                  </a:lnTo>
                  <a:lnTo>
                    <a:pt x="12" y="299"/>
                  </a:lnTo>
                  <a:lnTo>
                    <a:pt x="9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6" y="297"/>
                  </a:lnTo>
                  <a:lnTo>
                    <a:pt x="4" y="296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1" y="291"/>
                  </a:lnTo>
                  <a:lnTo>
                    <a:pt x="1" y="291"/>
                  </a:lnTo>
                  <a:lnTo>
                    <a:pt x="2" y="290"/>
                  </a:lnTo>
                  <a:lnTo>
                    <a:pt x="6" y="288"/>
                  </a:lnTo>
                  <a:lnTo>
                    <a:pt x="8" y="287"/>
                  </a:lnTo>
                  <a:lnTo>
                    <a:pt x="10" y="286"/>
                  </a:lnTo>
                  <a:lnTo>
                    <a:pt x="11" y="285"/>
                  </a:lnTo>
                  <a:lnTo>
                    <a:pt x="12" y="284"/>
                  </a:lnTo>
                  <a:lnTo>
                    <a:pt x="13" y="283"/>
                  </a:lnTo>
                  <a:lnTo>
                    <a:pt x="18" y="278"/>
                  </a:lnTo>
                  <a:lnTo>
                    <a:pt x="19" y="276"/>
                  </a:lnTo>
                  <a:lnTo>
                    <a:pt x="20" y="275"/>
                  </a:lnTo>
                  <a:lnTo>
                    <a:pt x="21" y="274"/>
                  </a:lnTo>
                  <a:lnTo>
                    <a:pt x="21" y="273"/>
                  </a:lnTo>
                  <a:lnTo>
                    <a:pt x="21" y="272"/>
                  </a:lnTo>
                  <a:lnTo>
                    <a:pt x="22" y="271"/>
                  </a:lnTo>
                  <a:lnTo>
                    <a:pt x="22" y="269"/>
                  </a:lnTo>
                  <a:lnTo>
                    <a:pt x="22" y="264"/>
                  </a:lnTo>
                  <a:lnTo>
                    <a:pt x="22" y="261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4" y="254"/>
                  </a:lnTo>
                  <a:lnTo>
                    <a:pt x="24" y="253"/>
                  </a:lnTo>
                  <a:lnTo>
                    <a:pt x="25" y="252"/>
                  </a:lnTo>
                  <a:lnTo>
                    <a:pt x="25" y="251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8" y="248"/>
                  </a:lnTo>
                  <a:lnTo>
                    <a:pt x="28" y="248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5" y="248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7" y="247"/>
                  </a:lnTo>
                  <a:lnTo>
                    <a:pt x="51" y="246"/>
                  </a:lnTo>
                  <a:lnTo>
                    <a:pt x="52" y="245"/>
                  </a:lnTo>
                  <a:lnTo>
                    <a:pt x="53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5" y="245"/>
                  </a:lnTo>
                  <a:lnTo>
                    <a:pt x="56" y="245"/>
                  </a:lnTo>
                  <a:lnTo>
                    <a:pt x="57" y="246"/>
                  </a:lnTo>
                  <a:lnTo>
                    <a:pt x="59" y="246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3" y="247"/>
                  </a:lnTo>
                  <a:lnTo>
                    <a:pt x="74" y="246"/>
                  </a:lnTo>
                  <a:lnTo>
                    <a:pt x="75" y="245"/>
                  </a:lnTo>
                  <a:lnTo>
                    <a:pt x="77" y="241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81" y="235"/>
                  </a:lnTo>
                  <a:lnTo>
                    <a:pt x="81" y="233"/>
                  </a:lnTo>
                  <a:lnTo>
                    <a:pt x="82" y="232"/>
                  </a:lnTo>
                  <a:lnTo>
                    <a:pt x="83" y="230"/>
                  </a:lnTo>
                  <a:lnTo>
                    <a:pt x="83" y="228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4" y="222"/>
                  </a:lnTo>
                  <a:lnTo>
                    <a:pt x="85" y="221"/>
                  </a:lnTo>
                  <a:lnTo>
                    <a:pt x="87" y="216"/>
                  </a:lnTo>
                  <a:lnTo>
                    <a:pt x="87" y="215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55">
              <a:extLst>
                <a:ext uri="{FF2B5EF4-FFF2-40B4-BE49-F238E27FC236}">
                  <a16:creationId xmlns:a16="http://schemas.microsoft.com/office/drawing/2014/main" id="{022E9A53-72B3-1826-BF41-CD5BB3C1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2866"/>
              <a:ext cx="343" cy="215"/>
            </a:xfrm>
            <a:custGeom>
              <a:avLst/>
              <a:gdLst>
                <a:gd name="T0" fmla="*/ 4 w 343"/>
                <a:gd name="T1" fmla="*/ 211 h 215"/>
                <a:gd name="T2" fmla="*/ 8 w 343"/>
                <a:gd name="T3" fmla="*/ 210 h 215"/>
                <a:gd name="T4" fmla="*/ 16 w 343"/>
                <a:gd name="T5" fmla="*/ 213 h 215"/>
                <a:gd name="T6" fmla="*/ 21 w 343"/>
                <a:gd name="T7" fmla="*/ 214 h 215"/>
                <a:gd name="T8" fmla="*/ 24 w 343"/>
                <a:gd name="T9" fmla="*/ 211 h 215"/>
                <a:gd name="T10" fmla="*/ 29 w 343"/>
                <a:gd name="T11" fmla="*/ 202 h 215"/>
                <a:gd name="T12" fmla="*/ 38 w 343"/>
                <a:gd name="T13" fmla="*/ 195 h 215"/>
                <a:gd name="T14" fmla="*/ 42 w 343"/>
                <a:gd name="T15" fmla="*/ 186 h 215"/>
                <a:gd name="T16" fmla="*/ 45 w 343"/>
                <a:gd name="T17" fmla="*/ 186 h 215"/>
                <a:gd name="T18" fmla="*/ 50 w 343"/>
                <a:gd name="T19" fmla="*/ 191 h 215"/>
                <a:gd name="T20" fmla="*/ 58 w 343"/>
                <a:gd name="T21" fmla="*/ 201 h 215"/>
                <a:gd name="T22" fmla="*/ 66 w 343"/>
                <a:gd name="T23" fmla="*/ 203 h 215"/>
                <a:gd name="T24" fmla="*/ 70 w 343"/>
                <a:gd name="T25" fmla="*/ 201 h 215"/>
                <a:gd name="T26" fmla="*/ 83 w 343"/>
                <a:gd name="T27" fmla="*/ 188 h 215"/>
                <a:gd name="T28" fmla="*/ 85 w 343"/>
                <a:gd name="T29" fmla="*/ 181 h 215"/>
                <a:gd name="T30" fmla="*/ 89 w 343"/>
                <a:gd name="T31" fmla="*/ 174 h 215"/>
                <a:gd name="T32" fmla="*/ 90 w 343"/>
                <a:gd name="T33" fmla="*/ 166 h 215"/>
                <a:gd name="T34" fmla="*/ 90 w 343"/>
                <a:gd name="T35" fmla="*/ 159 h 215"/>
                <a:gd name="T36" fmla="*/ 95 w 343"/>
                <a:gd name="T37" fmla="*/ 156 h 215"/>
                <a:gd name="T38" fmla="*/ 109 w 343"/>
                <a:gd name="T39" fmla="*/ 155 h 215"/>
                <a:gd name="T40" fmla="*/ 118 w 343"/>
                <a:gd name="T41" fmla="*/ 151 h 215"/>
                <a:gd name="T42" fmla="*/ 126 w 343"/>
                <a:gd name="T43" fmla="*/ 148 h 215"/>
                <a:gd name="T44" fmla="*/ 135 w 343"/>
                <a:gd name="T45" fmla="*/ 151 h 215"/>
                <a:gd name="T46" fmla="*/ 139 w 343"/>
                <a:gd name="T47" fmla="*/ 152 h 215"/>
                <a:gd name="T48" fmla="*/ 147 w 343"/>
                <a:gd name="T49" fmla="*/ 148 h 215"/>
                <a:gd name="T50" fmla="*/ 163 w 343"/>
                <a:gd name="T51" fmla="*/ 147 h 215"/>
                <a:gd name="T52" fmla="*/ 174 w 343"/>
                <a:gd name="T53" fmla="*/ 149 h 215"/>
                <a:gd name="T54" fmla="*/ 183 w 343"/>
                <a:gd name="T55" fmla="*/ 148 h 215"/>
                <a:gd name="T56" fmla="*/ 192 w 343"/>
                <a:gd name="T57" fmla="*/ 143 h 215"/>
                <a:gd name="T58" fmla="*/ 195 w 343"/>
                <a:gd name="T59" fmla="*/ 138 h 215"/>
                <a:gd name="T60" fmla="*/ 195 w 343"/>
                <a:gd name="T61" fmla="*/ 128 h 215"/>
                <a:gd name="T62" fmla="*/ 198 w 343"/>
                <a:gd name="T63" fmla="*/ 123 h 215"/>
                <a:gd name="T64" fmla="*/ 205 w 343"/>
                <a:gd name="T65" fmla="*/ 120 h 215"/>
                <a:gd name="T66" fmla="*/ 215 w 343"/>
                <a:gd name="T67" fmla="*/ 113 h 215"/>
                <a:gd name="T68" fmla="*/ 224 w 343"/>
                <a:gd name="T69" fmla="*/ 110 h 215"/>
                <a:gd name="T70" fmla="*/ 235 w 343"/>
                <a:gd name="T71" fmla="*/ 113 h 215"/>
                <a:gd name="T72" fmla="*/ 247 w 343"/>
                <a:gd name="T73" fmla="*/ 111 h 215"/>
                <a:gd name="T74" fmla="*/ 265 w 343"/>
                <a:gd name="T75" fmla="*/ 101 h 215"/>
                <a:gd name="T76" fmla="*/ 286 w 343"/>
                <a:gd name="T77" fmla="*/ 92 h 215"/>
                <a:gd name="T78" fmla="*/ 294 w 343"/>
                <a:gd name="T79" fmla="*/ 85 h 215"/>
                <a:gd name="T80" fmla="*/ 300 w 343"/>
                <a:gd name="T81" fmla="*/ 78 h 215"/>
                <a:gd name="T82" fmla="*/ 308 w 343"/>
                <a:gd name="T83" fmla="*/ 76 h 215"/>
                <a:gd name="T84" fmla="*/ 318 w 343"/>
                <a:gd name="T85" fmla="*/ 77 h 215"/>
                <a:gd name="T86" fmla="*/ 331 w 343"/>
                <a:gd name="T87" fmla="*/ 73 h 215"/>
                <a:gd name="T88" fmla="*/ 339 w 343"/>
                <a:gd name="T89" fmla="*/ 70 h 215"/>
                <a:gd name="T90" fmla="*/ 343 w 343"/>
                <a:gd name="T91" fmla="*/ 61 h 215"/>
                <a:gd name="T92" fmla="*/ 342 w 343"/>
                <a:gd name="T93" fmla="*/ 57 h 215"/>
                <a:gd name="T94" fmla="*/ 336 w 343"/>
                <a:gd name="T95" fmla="*/ 53 h 215"/>
                <a:gd name="T96" fmla="*/ 322 w 343"/>
                <a:gd name="T97" fmla="*/ 47 h 215"/>
                <a:gd name="T98" fmla="*/ 319 w 343"/>
                <a:gd name="T99" fmla="*/ 42 h 215"/>
                <a:gd name="T100" fmla="*/ 321 w 343"/>
                <a:gd name="T101" fmla="*/ 37 h 215"/>
                <a:gd name="T102" fmla="*/ 320 w 343"/>
                <a:gd name="T103" fmla="*/ 35 h 215"/>
                <a:gd name="T104" fmla="*/ 312 w 343"/>
                <a:gd name="T105" fmla="*/ 34 h 215"/>
                <a:gd name="T106" fmla="*/ 306 w 343"/>
                <a:gd name="T107" fmla="*/ 31 h 215"/>
                <a:gd name="T108" fmla="*/ 305 w 343"/>
                <a:gd name="T109" fmla="*/ 24 h 215"/>
                <a:gd name="T110" fmla="*/ 308 w 343"/>
                <a:gd name="T111" fmla="*/ 17 h 215"/>
                <a:gd name="T112" fmla="*/ 311 w 343"/>
                <a:gd name="T113" fmla="*/ 8 h 215"/>
                <a:gd name="T114" fmla="*/ 317 w 343"/>
                <a:gd name="T11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3" h="215">
                  <a:moveTo>
                    <a:pt x="0" y="215"/>
                  </a:moveTo>
                  <a:lnTo>
                    <a:pt x="1" y="215"/>
                  </a:lnTo>
                  <a:lnTo>
                    <a:pt x="1" y="214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12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5" y="210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7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2" y="211"/>
                  </a:lnTo>
                  <a:lnTo>
                    <a:pt x="13" y="211"/>
                  </a:lnTo>
                  <a:lnTo>
                    <a:pt x="15" y="213"/>
                  </a:lnTo>
                  <a:lnTo>
                    <a:pt x="16" y="213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8" y="214"/>
                  </a:lnTo>
                  <a:lnTo>
                    <a:pt x="19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1" y="214"/>
                  </a:lnTo>
                  <a:lnTo>
                    <a:pt x="22" y="214"/>
                  </a:lnTo>
                  <a:lnTo>
                    <a:pt x="22" y="213"/>
                  </a:lnTo>
                  <a:lnTo>
                    <a:pt x="23" y="213"/>
                  </a:lnTo>
                  <a:lnTo>
                    <a:pt x="23" y="213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1"/>
                  </a:lnTo>
                  <a:lnTo>
                    <a:pt x="25" y="210"/>
                  </a:lnTo>
                  <a:lnTo>
                    <a:pt x="26" y="207"/>
                  </a:lnTo>
                  <a:lnTo>
                    <a:pt x="26" y="206"/>
                  </a:lnTo>
                  <a:lnTo>
                    <a:pt x="27" y="205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29" y="202"/>
                  </a:lnTo>
                  <a:lnTo>
                    <a:pt x="31" y="201"/>
                  </a:lnTo>
                  <a:lnTo>
                    <a:pt x="32" y="200"/>
                  </a:lnTo>
                  <a:lnTo>
                    <a:pt x="35" y="198"/>
                  </a:lnTo>
                  <a:lnTo>
                    <a:pt x="36" y="197"/>
                  </a:lnTo>
                  <a:lnTo>
                    <a:pt x="37" y="196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39" y="195"/>
                  </a:lnTo>
                  <a:lnTo>
                    <a:pt x="40" y="193"/>
                  </a:lnTo>
                  <a:lnTo>
                    <a:pt x="40" y="192"/>
                  </a:lnTo>
                  <a:lnTo>
                    <a:pt x="41" y="191"/>
                  </a:lnTo>
                  <a:lnTo>
                    <a:pt x="41" y="188"/>
                  </a:lnTo>
                  <a:lnTo>
                    <a:pt x="42" y="187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2" y="186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4" y="185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7"/>
                  </a:lnTo>
                  <a:lnTo>
                    <a:pt x="48" y="188"/>
                  </a:lnTo>
                  <a:lnTo>
                    <a:pt x="49" y="190"/>
                  </a:lnTo>
                  <a:lnTo>
                    <a:pt x="50" y="191"/>
                  </a:lnTo>
                  <a:lnTo>
                    <a:pt x="52" y="195"/>
                  </a:lnTo>
                  <a:lnTo>
                    <a:pt x="53" y="196"/>
                  </a:lnTo>
                  <a:lnTo>
                    <a:pt x="54" y="197"/>
                  </a:lnTo>
                  <a:lnTo>
                    <a:pt x="55" y="198"/>
                  </a:lnTo>
                  <a:lnTo>
                    <a:pt x="55" y="199"/>
                  </a:lnTo>
                  <a:lnTo>
                    <a:pt x="57" y="200"/>
                  </a:lnTo>
                  <a:lnTo>
                    <a:pt x="58" y="201"/>
                  </a:lnTo>
                  <a:lnTo>
                    <a:pt x="59" y="201"/>
                  </a:lnTo>
                  <a:lnTo>
                    <a:pt x="60" y="201"/>
                  </a:lnTo>
                  <a:lnTo>
                    <a:pt x="62" y="202"/>
                  </a:lnTo>
                  <a:lnTo>
                    <a:pt x="64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7" y="203"/>
                  </a:lnTo>
                  <a:lnTo>
                    <a:pt x="67" y="203"/>
                  </a:lnTo>
                  <a:lnTo>
                    <a:pt x="68" y="203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70" y="201"/>
                  </a:lnTo>
                  <a:lnTo>
                    <a:pt x="71" y="201"/>
                  </a:lnTo>
                  <a:lnTo>
                    <a:pt x="72" y="199"/>
                  </a:lnTo>
                  <a:lnTo>
                    <a:pt x="76" y="196"/>
                  </a:lnTo>
                  <a:lnTo>
                    <a:pt x="79" y="193"/>
                  </a:lnTo>
                  <a:lnTo>
                    <a:pt x="82" y="190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4" y="185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0"/>
                  </a:lnTo>
                  <a:lnTo>
                    <a:pt x="86" y="179"/>
                  </a:lnTo>
                  <a:lnTo>
                    <a:pt x="87" y="177"/>
                  </a:lnTo>
                  <a:lnTo>
                    <a:pt x="88" y="175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3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0"/>
                  </a:lnTo>
                  <a:lnTo>
                    <a:pt x="90" y="170"/>
                  </a:lnTo>
                  <a:lnTo>
                    <a:pt x="90" y="168"/>
                  </a:lnTo>
                  <a:lnTo>
                    <a:pt x="90" y="166"/>
                  </a:lnTo>
                  <a:lnTo>
                    <a:pt x="89" y="163"/>
                  </a:lnTo>
                  <a:lnTo>
                    <a:pt x="89" y="162"/>
                  </a:lnTo>
                  <a:lnTo>
                    <a:pt x="89" y="161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1" y="158"/>
                  </a:lnTo>
                  <a:lnTo>
                    <a:pt x="91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3" y="156"/>
                  </a:lnTo>
                  <a:lnTo>
                    <a:pt x="94" y="156"/>
                  </a:lnTo>
                  <a:lnTo>
                    <a:pt x="95" y="156"/>
                  </a:lnTo>
                  <a:lnTo>
                    <a:pt x="96" y="155"/>
                  </a:lnTo>
                  <a:lnTo>
                    <a:pt x="97" y="155"/>
                  </a:lnTo>
                  <a:lnTo>
                    <a:pt x="98" y="155"/>
                  </a:lnTo>
                  <a:lnTo>
                    <a:pt x="100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2" y="154"/>
                  </a:lnTo>
                  <a:lnTo>
                    <a:pt x="113" y="153"/>
                  </a:lnTo>
                  <a:lnTo>
                    <a:pt x="114" y="153"/>
                  </a:lnTo>
                  <a:lnTo>
                    <a:pt x="115" y="152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9" y="150"/>
                  </a:lnTo>
                  <a:lnTo>
                    <a:pt x="121" y="149"/>
                  </a:lnTo>
                  <a:lnTo>
                    <a:pt x="122" y="149"/>
                  </a:lnTo>
                  <a:lnTo>
                    <a:pt x="123" y="148"/>
                  </a:lnTo>
                  <a:lnTo>
                    <a:pt x="124" y="148"/>
                  </a:lnTo>
                  <a:lnTo>
                    <a:pt x="125" y="148"/>
                  </a:lnTo>
                  <a:lnTo>
                    <a:pt x="126" y="148"/>
                  </a:lnTo>
                  <a:lnTo>
                    <a:pt x="127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3" y="151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2" y="150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51" y="148"/>
                  </a:lnTo>
                  <a:lnTo>
                    <a:pt x="155" y="147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7" y="147"/>
                  </a:lnTo>
                  <a:lnTo>
                    <a:pt x="168" y="147"/>
                  </a:lnTo>
                  <a:lnTo>
                    <a:pt x="169" y="148"/>
                  </a:lnTo>
                  <a:lnTo>
                    <a:pt x="172" y="149"/>
                  </a:lnTo>
                  <a:lnTo>
                    <a:pt x="173" y="149"/>
                  </a:lnTo>
                  <a:lnTo>
                    <a:pt x="174" y="149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80" y="149"/>
                  </a:lnTo>
                  <a:lnTo>
                    <a:pt x="181" y="149"/>
                  </a:lnTo>
                  <a:lnTo>
                    <a:pt x="182" y="149"/>
                  </a:lnTo>
                  <a:lnTo>
                    <a:pt x="183" y="148"/>
                  </a:lnTo>
                  <a:lnTo>
                    <a:pt x="184" y="147"/>
                  </a:lnTo>
                  <a:lnTo>
                    <a:pt x="186" y="146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91" y="144"/>
                  </a:lnTo>
                  <a:lnTo>
                    <a:pt x="191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1"/>
                  </a:lnTo>
                  <a:lnTo>
                    <a:pt x="195" y="140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0"/>
                  </a:lnTo>
                  <a:lnTo>
                    <a:pt x="195" y="129"/>
                  </a:lnTo>
                  <a:lnTo>
                    <a:pt x="195" y="128"/>
                  </a:lnTo>
                  <a:lnTo>
                    <a:pt x="196" y="127"/>
                  </a:lnTo>
                  <a:lnTo>
                    <a:pt x="196" y="126"/>
                  </a:lnTo>
                  <a:lnTo>
                    <a:pt x="196" y="125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3"/>
                  </a:lnTo>
                  <a:lnTo>
                    <a:pt x="198" y="123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1"/>
                  </a:lnTo>
                  <a:lnTo>
                    <a:pt x="201" y="121"/>
                  </a:lnTo>
                  <a:lnTo>
                    <a:pt x="204" y="120"/>
                  </a:lnTo>
                  <a:lnTo>
                    <a:pt x="205" y="120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3"/>
                  </a:lnTo>
                  <a:lnTo>
                    <a:pt x="216" y="113"/>
                  </a:lnTo>
                  <a:lnTo>
                    <a:pt x="218" y="112"/>
                  </a:lnTo>
                  <a:lnTo>
                    <a:pt x="219" y="111"/>
                  </a:lnTo>
                  <a:lnTo>
                    <a:pt x="221" y="110"/>
                  </a:lnTo>
                  <a:lnTo>
                    <a:pt x="222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5" y="110"/>
                  </a:lnTo>
                  <a:lnTo>
                    <a:pt x="226" y="110"/>
                  </a:lnTo>
                  <a:lnTo>
                    <a:pt x="227" y="110"/>
                  </a:lnTo>
                  <a:lnTo>
                    <a:pt x="229" y="111"/>
                  </a:lnTo>
                  <a:lnTo>
                    <a:pt x="232" y="112"/>
                  </a:lnTo>
                  <a:lnTo>
                    <a:pt x="234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40" y="112"/>
                  </a:lnTo>
                  <a:lnTo>
                    <a:pt x="244" y="112"/>
                  </a:lnTo>
                  <a:lnTo>
                    <a:pt x="244" y="111"/>
                  </a:lnTo>
                  <a:lnTo>
                    <a:pt x="245" y="111"/>
                  </a:lnTo>
                  <a:lnTo>
                    <a:pt x="247" y="111"/>
                  </a:lnTo>
                  <a:lnTo>
                    <a:pt x="248" y="110"/>
                  </a:lnTo>
                  <a:lnTo>
                    <a:pt x="249" y="109"/>
                  </a:lnTo>
                  <a:lnTo>
                    <a:pt x="252" y="107"/>
                  </a:lnTo>
                  <a:lnTo>
                    <a:pt x="253" y="106"/>
                  </a:lnTo>
                  <a:lnTo>
                    <a:pt x="255" y="105"/>
                  </a:lnTo>
                  <a:lnTo>
                    <a:pt x="258" y="104"/>
                  </a:lnTo>
                  <a:lnTo>
                    <a:pt x="265" y="101"/>
                  </a:lnTo>
                  <a:lnTo>
                    <a:pt x="270" y="98"/>
                  </a:lnTo>
                  <a:lnTo>
                    <a:pt x="273" y="97"/>
                  </a:lnTo>
                  <a:lnTo>
                    <a:pt x="275" y="96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5" y="93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8" y="91"/>
                  </a:lnTo>
                  <a:lnTo>
                    <a:pt x="290" y="89"/>
                  </a:lnTo>
                  <a:lnTo>
                    <a:pt x="291" y="88"/>
                  </a:lnTo>
                  <a:lnTo>
                    <a:pt x="292" y="87"/>
                  </a:lnTo>
                  <a:lnTo>
                    <a:pt x="293" y="86"/>
                  </a:lnTo>
                  <a:lnTo>
                    <a:pt x="294" y="85"/>
                  </a:lnTo>
                  <a:lnTo>
                    <a:pt x="295" y="84"/>
                  </a:lnTo>
                  <a:lnTo>
                    <a:pt x="297" y="81"/>
                  </a:lnTo>
                  <a:lnTo>
                    <a:pt x="297" y="80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2" y="76"/>
                  </a:lnTo>
                  <a:lnTo>
                    <a:pt x="304" y="76"/>
                  </a:lnTo>
                  <a:lnTo>
                    <a:pt x="305" y="76"/>
                  </a:lnTo>
                  <a:lnTo>
                    <a:pt x="306" y="76"/>
                  </a:lnTo>
                  <a:lnTo>
                    <a:pt x="307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12" y="77"/>
                  </a:lnTo>
                  <a:lnTo>
                    <a:pt x="314" y="77"/>
                  </a:lnTo>
                  <a:lnTo>
                    <a:pt x="315" y="77"/>
                  </a:lnTo>
                  <a:lnTo>
                    <a:pt x="316" y="77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20" y="77"/>
                  </a:lnTo>
                  <a:lnTo>
                    <a:pt x="323" y="76"/>
                  </a:lnTo>
                  <a:lnTo>
                    <a:pt x="324" y="76"/>
                  </a:lnTo>
                  <a:lnTo>
                    <a:pt x="325" y="75"/>
                  </a:lnTo>
                  <a:lnTo>
                    <a:pt x="327" y="75"/>
                  </a:lnTo>
                  <a:lnTo>
                    <a:pt x="330" y="74"/>
                  </a:lnTo>
                  <a:lnTo>
                    <a:pt x="331" y="73"/>
                  </a:lnTo>
                  <a:lnTo>
                    <a:pt x="332" y="73"/>
                  </a:lnTo>
                  <a:lnTo>
                    <a:pt x="335" y="72"/>
                  </a:lnTo>
                  <a:lnTo>
                    <a:pt x="336" y="72"/>
                  </a:lnTo>
                  <a:lnTo>
                    <a:pt x="337" y="72"/>
                  </a:lnTo>
                  <a:lnTo>
                    <a:pt x="338" y="71"/>
                  </a:lnTo>
                  <a:lnTo>
                    <a:pt x="338" y="71"/>
                  </a:lnTo>
                  <a:lnTo>
                    <a:pt x="339" y="70"/>
                  </a:lnTo>
                  <a:lnTo>
                    <a:pt x="339" y="70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1" y="68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3" y="60"/>
                  </a:lnTo>
                  <a:lnTo>
                    <a:pt x="343" y="60"/>
                  </a:lnTo>
                  <a:lnTo>
                    <a:pt x="343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7"/>
                  </a:lnTo>
                  <a:lnTo>
                    <a:pt x="342" y="57"/>
                  </a:lnTo>
                  <a:lnTo>
                    <a:pt x="342" y="56"/>
                  </a:lnTo>
                  <a:lnTo>
                    <a:pt x="341" y="55"/>
                  </a:lnTo>
                  <a:lnTo>
                    <a:pt x="341" y="55"/>
                  </a:lnTo>
                  <a:lnTo>
                    <a:pt x="340" y="55"/>
                  </a:lnTo>
                  <a:lnTo>
                    <a:pt x="339" y="54"/>
                  </a:lnTo>
                  <a:lnTo>
                    <a:pt x="338" y="54"/>
                  </a:lnTo>
                  <a:lnTo>
                    <a:pt x="336" y="53"/>
                  </a:lnTo>
                  <a:lnTo>
                    <a:pt x="332" y="51"/>
                  </a:lnTo>
                  <a:lnTo>
                    <a:pt x="330" y="50"/>
                  </a:lnTo>
                  <a:lnTo>
                    <a:pt x="325" y="49"/>
                  </a:lnTo>
                  <a:lnTo>
                    <a:pt x="324" y="48"/>
                  </a:lnTo>
                  <a:lnTo>
                    <a:pt x="323" y="48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21" y="45"/>
                  </a:lnTo>
                  <a:lnTo>
                    <a:pt x="320" y="45"/>
                  </a:lnTo>
                  <a:lnTo>
                    <a:pt x="320" y="44"/>
                  </a:lnTo>
                  <a:lnTo>
                    <a:pt x="319" y="43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0"/>
                  </a:lnTo>
                  <a:lnTo>
                    <a:pt x="319" y="40"/>
                  </a:lnTo>
                  <a:lnTo>
                    <a:pt x="320" y="39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7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18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3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10" y="33"/>
                  </a:lnTo>
                  <a:lnTo>
                    <a:pt x="309" y="33"/>
                  </a:lnTo>
                  <a:lnTo>
                    <a:pt x="308" y="32"/>
                  </a:lnTo>
                  <a:lnTo>
                    <a:pt x="307" y="32"/>
                  </a:lnTo>
                  <a:lnTo>
                    <a:pt x="307" y="31"/>
                  </a:lnTo>
                  <a:lnTo>
                    <a:pt x="306" y="31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5" y="29"/>
                  </a:lnTo>
                  <a:lnTo>
                    <a:pt x="305" y="28"/>
                  </a:lnTo>
                  <a:lnTo>
                    <a:pt x="305" y="28"/>
                  </a:lnTo>
                  <a:lnTo>
                    <a:pt x="305" y="27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2"/>
                  </a:lnTo>
                  <a:lnTo>
                    <a:pt x="306" y="21"/>
                  </a:lnTo>
                  <a:lnTo>
                    <a:pt x="307" y="19"/>
                  </a:lnTo>
                  <a:lnTo>
                    <a:pt x="308" y="18"/>
                  </a:lnTo>
                  <a:lnTo>
                    <a:pt x="308" y="17"/>
                  </a:lnTo>
                  <a:lnTo>
                    <a:pt x="309" y="16"/>
                  </a:lnTo>
                  <a:lnTo>
                    <a:pt x="309" y="14"/>
                  </a:lnTo>
                  <a:lnTo>
                    <a:pt x="309" y="13"/>
                  </a:lnTo>
                  <a:lnTo>
                    <a:pt x="310" y="12"/>
                  </a:lnTo>
                  <a:lnTo>
                    <a:pt x="310" y="9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7"/>
                  </a:lnTo>
                  <a:lnTo>
                    <a:pt x="311" y="6"/>
                  </a:lnTo>
                  <a:lnTo>
                    <a:pt x="312" y="5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7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56">
              <a:extLst>
                <a:ext uri="{FF2B5EF4-FFF2-40B4-BE49-F238E27FC236}">
                  <a16:creationId xmlns:a16="http://schemas.microsoft.com/office/drawing/2014/main" id="{EB6469A9-CFCB-F88B-71EE-0611DAD71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" y="2882"/>
              <a:ext cx="376" cy="252"/>
            </a:xfrm>
            <a:custGeom>
              <a:avLst/>
              <a:gdLst>
                <a:gd name="T0" fmla="*/ 210 w 376"/>
                <a:gd name="T1" fmla="*/ 2 h 252"/>
                <a:gd name="T2" fmla="*/ 222 w 376"/>
                <a:gd name="T3" fmla="*/ 11 h 252"/>
                <a:gd name="T4" fmla="*/ 231 w 376"/>
                <a:gd name="T5" fmla="*/ 11 h 252"/>
                <a:gd name="T6" fmla="*/ 240 w 376"/>
                <a:gd name="T7" fmla="*/ 5 h 252"/>
                <a:gd name="T8" fmla="*/ 247 w 376"/>
                <a:gd name="T9" fmla="*/ 16 h 252"/>
                <a:gd name="T10" fmla="*/ 261 w 376"/>
                <a:gd name="T11" fmla="*/ 14 h 252"/>
                <a:gd name="T12" fmla="*/ 274 w 376"/>
                <a:gd name="T13" fmla="*/ 32 h 252"/>
                <a:gd name="T14" fmla="*/ 272 w 376"/>
                <a:gd name="T15" fmla="*/ 55 h 252"/>
                <a:gd name="T16" fmla="*/ 285 w 376"/>
                <a:gd name="T17" fmla="*/ 74 h 252"/>
                <a:gd name="T18" fmla="*/ 300 w 376"/>
                <a:gd name="T19" fmla="*/ 94 h 252"/>
                <a:gd name="T20" fmla="*/ 305 w 376"/>
                <a:gd name="T21" fmla="*/ 111 h 252"/>
                <a:gd name="T22" fmla="*/ 318 w 376"/>
                <a:gd name="T23" fmla="*/ 101 h 252"/>
                <a:gd name="T24" fmla="*/ 342 w 376"/>
                <a:gd name="T25" fmla="*/ 109 h 252"/>
                <a:gd name="T26" fmla="*/ 353 w 376"/>
                <a:gd name="T27" fmla="*/ 122 h 252"/>
                <a:gd name="T28" fmla="*/ 358 w 376"/>
                <a:gd name="T29" fmla="*/ 156 h 252"/>
                <a:gd name="T30" fmla="*/ 363 w 376"/>
                <a:gd name="T31" fmla="*/ 183 h 252"/>
                <a:gd name="T32" fmla="*/ 363 w 376"/>
                <a:gd name="T33" fmla="*/ 202 h 252"/>
                <a:gd name="T34" fmla="*/ 376 w 376"/>
                <a:gd name="T35" fmla="*/ 226 h 252"/>
                <a:gd name="T36" fmla="*/ 365 w 376"/>
                <a:gd name="T37" fmla="*/ 232 h 252"/>
                <a:gd name="T38" fmla="*/ 348 w 376"/>
                <a:gd name="T39" fmla="*/ 233 h 252"/>
                <a:gd name="T40" fmla="*/ 334 w 376"/>
                <a:gd name="T41" fmla="*/ 222 h 252"/>
                <a:gd name="T42" fmla="*/ 322 w 376"/>
                <a:gd name="T43" fmla="*/ 233 h 252"/>
                <a:gd name="T44" fmla="*/ 318 w 376"/>
                <a:gd name="T45" fmla="*/ 247 h 252"/>
                <a:gd name="T46" fmla="*/ 306 w 376"/>
                <a:gd name="T47" fmla="*/ 247 h 252"/>
                <a:gd name="T48" fmla="*/ 299 w 376"/>
                <a:gd name="T49" fmla="*/ 241 h 252"/>
                <a:gd name="T50" fmla="*/ 278 w 376"/>
                <a:gd name="T51" fmla="*/ 232 h 252"/>
                <a:gd name="T52" fmla="*/ 265 w 376"/>
                <a:gd name="T53" fmla="*/ 236 h 252"/>
                <a:gd name="T54" fmla="*/ 250 w 376"/>
                <a:gd name="T55" fmla="*/ 240 h 252"/>
                <a:gd name="T56" fmla="*/ 227 w 376"/>
                <a:gd name="T57" fmla="*/ 227 h 252"/>
                <a:gd name="T58" fmla="*/ 213 w 376"/>
                <a:gd name="T59" fmla="*/ 213 h 252"/>
                <a:gd name="T60" fmla="*/ 192 w 376"/>
                <a:gd name="T61" fmla="*/ 196 h 252"/>
                <a:gd name="T62" fmla="*/ 181 w 376"/>
                <a:gd name="T63" fmla="*/ 197 h 252"/>
                <a:gd name="T64" fmla="*/ 168 w 376"/>
                <a:gd name="T65" fmla="*/ 187 h 252"/>
                <a:gd name="T66" fmla="*/ 162 w 376"/>
                <a:gd name="T67" fmla="*/ 201 h 252"/>
                <a:gd name="T68" fmla="*/ 149 w 376"/>
                <a:gd name="T69" fmla="*/ 211 h 252"/>
                <a:gd name="T70" fmla="*/ 141 w 376"/>
                <a:gd name="T71" fmla="*/ 220 h 252"/>
                <a:gd name="T72" fmla="*/ 121 w 376"/>
                <a:gd name="T73" fmla="*/ 218 h 252"/>
                <a:gd name="T74" fmla="*/ 113 w 376"/>
                <a:gd name="T75" fmla="*/ 234 h 252"/>
                <a:gd name="T76" fmla="*/ 97 w 376"/>
                <a:gd name="T77" fmla="*/ 248 h 252"/>
                <a:gd name="T78" fmla="*/ 74 w 376"/>
                <a:gd name="T79" fmla="*/ 252 h 252"/>
                <a:gd name="T80" fmla="*/ 67 w 376"/>
                <a:gd name="T81" fmla="*/ 241 h 252"/>
                <a:gd name="T82" fmla="*/ 57 w 376"/>
                <a:gd name="T83" fmla="*/ 240 h 252"/>
                <a:gd name="T84" fmla="*/ 44 w 376"/>
                <a:gd name="T85" fmla="*/ 241 h 252"/>
                <a:gd name="T86" fmla="*/ 38 w 376"/>
                <a:gd name="T87" fmla="*/ 234 h 252"/>
                <a:gd name="T88" fmla="*/ 21 w 376"/>
                <a:gd name="T89" fmla="*/ 214 h 252"/>
                <a:gd name="T90" fmla="*/ 6 w 376"/>
                <a:gd name="T91" fmla="*/ 183 h 252"/>
                <a:gd name="T92" fmla="*/ 0 w 376"/>
                <a:gd name="T93" fmla="*/ 163 h 252"/>
                <a:gd name="T94" fmla="*/ 8 w 376"/>
                <a:gd name="T95" fmla="*/ 144 h 252"/>
                <a:gd name="T96" fmla="*/ 21 w 376"/>
                <a:gd name="T97" fmla="*/ 131 h 252"/>
                <a:gd name="T98" fmla="*/ 26 w 376"/>
                <a:gd name="T99" fmla="*/ 117 h 252"/>
                <a:gd name="T100" fmla="*/ 31 w 376"/>
                <a:gd name="T101" fmla="*/ 98 h 252"/>
                <a:gd name="T102" fmla="*/ 45 w 376"/>
                <a:gd name="T103" fmla="*/ 99 h 252"/>
                <a:gd name="T104" fmla="*/ 60 w 376"/>
                <a:gd name="T105" fmla="*/ 102 h 252"/>
                <a:gd name="T106" fmla="*/ 69 w 376"/>
                <a:gd name="T107" fmla="*/ 85 h 252"/>
                <a:gd name="T108" fmla="*/ 92 w 376"/>
                <a:gd name="T109" fmla="*/ 80 h 252"/>
                <a:gd name="T110" fmla="*/ 117 w 376"/>
                <a:gd name="T111" fmla="*/ 91 h 252"/>
                <a:gd name="T112" fmla="*/ 134 w 376"/>
                <a:gd name="T113" fmla="*/ 86 h 252"/>
                <a:gd name="T114" fmla="*/ 153 w 376"/>
                <a:gd name="T115" fmla="*/ 69 h 252"/>
                <a:gd name="T116" fmla="*/ 179 w 376"/>
                <a:gd name="T117" fmla="*/ 72 h 252"/>
                <a:gd name="T118" fmla="*/ 191 w 376"/>
                <a:gd name="T119" fmla="*/ 67 h 252"/>
                <a:gd name="T120" fmla="*/ 194 w 376"/>
                <a:gd name="T121" fmla="*/ 37 h 252"/>
                <a:gd name="T122" fmla="*/ 193 w 376"/>
                <a:gd name="T123" fmla="*/ 19 h 252"/>
                <a:gd name="T124" fmla="*/ 185 w 376"/>
                <a:gd name="T125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52">
                  <a:moveTo>
                    <a:pt x="198" y="0"/>
                  </a:moveTo>
                  <a:lnTo>
                    <a:pt x="198" y="0"/>
                  </a:lnTo>
                  <a:lnTo>
                    <a:pt x="201" y="1"/>
                  </a:lnTo>
                  <a:lnTo>
                    <a:pt x="201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4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10" y="2"/>
                  </a:lnTo>
                  <a:lnTo>
                    <a:pt x="211" y="2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7" y="4"/>
                  </a:lnTo>
                  <a:lnTo>
                    <a:pt x="219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1" y="6"/>
                  </a:lnTo>
                  <a:lnTo>
                    <a:pt x="221" y="6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9"/>
                  </a:lnTo>
                  <a:lnTo>
                    <a:pt x="221" y="10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23" y="12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6" y="13"/>
                  </a:lnTo>
                  <a:lnTo>
                    <a:pt x="226" y="14"/>
                  </a:lnTo>
                  <a:lnTo>
                    <a:pt x="227" y="14"/>
                  </a:lnTo>
                  <a:lnTo>
                    <a:pt x="228" y="14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1" y="12"/>
                  </a:lnTo>
                  <a:lnTo>
                    <a:pt x="231" y="11"/>
                  </a:lnTo>
                  <a:lnTo>
                    <a:pt x="232" y="10"/>
                  </a:lnTo>
                  <a:lnTo>
                    <a:pt x="233" y="8"/>
                  </a:lnTo>
                  <a:lnTo>
                    <a:pt x="234" y="7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5"/>
                  </a:lnTo>
                  <a:lnTo>
                    <a:pt x="236" y="5"/>
                  </a:lnTo>
                  <a:lnTo>
                    <a:pt x="237" y="5"/>
                  </a:lnTo>
                  <a:lnTo>
                    <a:pt x="237" y="5"/>
                  </a:lnTo>
                  <a:lnTo>
                    <a:pt x="238" y="5"/>
                  </a:lnTo>
                  <a:lnTo>
                    <a:pt x="238" y="4"/>
                  </a:lnTo>
                  <a:lnTo>
                    <a:pt x="239" y="4"/>
                  </a:lnTo>
                  <a:lnTo>
                    <a:pt x="239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0" y="5"/>
                  </a:lnTo>
                  <a:lnTo>
                    <a:pt x="241" y="6"/>
                  </a:lnTo>
                  <a:lnTo>
                    <a:pt x="241" y="6"/>
                  </a:lnTo>
                  <a:lnTo>
                    <a:pt x="242" y="8"/>
                  </a:lnTo>
                  <a:lnTo>
                    <a:pt x="242" y="9"/>
                  </a:lnTo>
                  <a:lnTo>
                    <a:pt x="243" y="12"/>
                  </a:lnTo>
                  <a:lnTo>
                    <a:pt x="243" y="13"/>
                  </a:lnTo>
                  <a:lnTo>
                    <a:pt x="244" y="14"/>
                  </a:lnTo>
                  <a:lnTo>
                    <a:pt x="244" y="15"/>
                  </a:lnTo>
                  <a:lnTo>
                    <a:pt x="245" y="15"/>
                  </a:lnTo>
                  <a:lnTo>
                    <a:pt x="245" y="16"/>
                  </a:lnTo>
                  <a:lnTo>
                    <a:pt x="246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49" y="16"/>
                  </a:lnTo>
                  <a:lnTo>
                    <a:pt x="251" y="15"/>
                  </a:lnTo>
                  <a:lnTo>
                    <a:pt x="253" y="14"/>
                  </a:lnTo>
                  <a:lnTo>
                    <a:pt x="255" y="13"/>
                  </a:lnTo>
                  <a:lnTo>
                    <a:pt x="256" y="13"/>
                  </a:lnTo>
                  <a:lnTo>
                    <a:pt x="257" y="13"/>
                  </a:lnTo>
                  <a:lnTo>
                    <a:pt x="258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0" y="13"/>
                  </a:lnTo>
                  <a:lnTo>
                    <a:pt x="260" y="13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3" y="16"/>
                  </a:lnTo>
                  <a:lnTo>
                    <a:pt x="264" y="17"/>
                  </a:lnTo>
                  <a:lnTo>
                    <a:pt x="265" y="18"/>
                  </a:lnTo>
                  <a:lnTo>
                    <a:pt x="268" y="19"/>
                  </a:lnTo>
                  <a:lnTo>
                    <a:pt x="269" y="20"/>
                  </a:lnTo>
                  <a:lnTo>
                    <a:pt x="269" y="21"/>
                  </a:lnTo>
                  <a:lnTo>
                    <a:pt x="270" y="21"/>
                  </a:lnTo>
                  <a:lnTo>
                    <a:pt x="271" y="22"/>
                  </a:lnTo>
                  <a:lnTo>
                    <a:pt x="271" y="23"/>
                  </a:lnTo>
                  <a:lnTo>
                    <a:pt x="272" y="24"/>
                  </a:lnTo>
                  <a:lnTo>
                    <a:pt x="274" y="28"/>
                  </a:lnTo>
                  <a:lnTo>
                    <a:pt x="274" y="29"/>
                  </a:lnTo>
                  <a:lnTo>
                    <a:pt x="274" y="31"/>
                  </a:lnTo>
                  <a:lnTo>
                    <a:pt x="274" y="32"/>
                  </a:lnTo>
                  <a:lnTo>
                    <a:pt x="274" y="33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5"/>
                  </a:lnTo>
                  <a:lnTo>
                    <a:pt x="272" y="40"/>
                  </a:lnTo>
                  <a:lnTo>
                    <a:pt x="271" y="41"/>
                  </a:lnTo>
                  <a:lnTo>
                    <a:pt x="271" y="43"/>
                  </a:lnTo>
                  <a:lnTo>
                    <a:pt x="271" y="44"/>
                  </a:lnTo>
                  <a:lnTo>
                    <a:pt x="271" y="45"/>
                  </a:lnTo>
                  <a:lnTo>
                    <a:pt x="271" y="47"/>
                  </a:lnTo>
                  <a:lnTo>
                    <a:pt x="271" y="48"/>
                  </a:lnTo>
                  <a:lnTo>
                    <a:pt x="271" y="50"/>
                  </a:lnTo>
                  <a:lnTo>
                    <a:pt x="271" y="52"/>
                  </a:lnTo>
                  <a:lnTo>
                    <a:pt x="272" y="53"/>
                  </a:lnTo>
                  <a:lnTo>
                    <a:pt x="272" y="55"/>
                  </a:lnTo>
                  <a:lnTo>
                    <a:pt x="273" y="57"/>
                  </a:lnTo>
                  <a:lnTo>
                    <a:pt x="273" y="59"/>
                  </a:lnTo>
                  <a:lnTo>
                    <a:pt x="274" y="60"/>
                  </a:lnTo>
                  <a:lnTo>
                    <a:pt x="274" y="62"/>
                  </a:lnTo>
                  <a:lnTo>
                    <a:pt x="275" y="64"/>
                  </a:lnTo>
                  <a:lnTo>
                    <a:pt x="277" y="66"/>
                  </a:lnTo>
                  <a:lnTo>
                    <a:pt x="278" y="67"/>
                  </a:lnTo>
                  <a:lnTo>
                    <a:pt x="279" y="69"/>
                  </a:lnTo>
                  <a:lnTo>
                    <a:pt x="280" y="70"/>
                  </a:lnTo>
                  <a:lnTo>
                    <a:pt x="281" y="71"/>
                  </a:lnTo>
                  <a:lnTo>
                    <a:pt x="282" y="72"/>
                  </a:lnTo>
                  <a:lnTo>
                    <a:pt x="282" y="73"/>
                  </a:lnTo>
                  <a:lnTo>
                    <a:pt x="283" y="73"/>
                  </a:lnTo>
                  <a:lnTo>
                    <a:pt x="284" y="74"/>
                  </a:lnTo>
                  <a:lnTo>
                    <a:pt x="285" y="74"/>
                  </a:lnTo>
                  <a:lnTo>
                    <a:pt x="286" y="75"/>
                  </a:lnTo>
                  <a:lnTo>
                    <a:pt x="287" y="76"/>
                  </a:lnTo>
                  <a:lnTo>
                    <a:pt x="291" y="77"/>
                  </a:lnTo>
                  <a:lnTo>
                    <a:pt x="292" y="78"/>
                  </a:lnTo>
                  <a:lnTo>
                    <a:pt x="293" y="78"/>
                  </a:lnTo>
                  <a:lnTo>
                    <a:pt x="294" y="79"/>
                  </a:lnTo>
                  <a:lnTo>
                    <a:pt x="295" y="80"/>
                  </a:lnTo>
                  <a:lnTo>
                    <a:pt x="296" y="81"/>
                  </a:lnTo>
                  <a:lnTo>
                    <a:pt x="297" y="83"/>
                  </a:lnTo>
                  <a:lnTo>
                    <a:pt x="298" y="85"/>
                  </a:lnTo>
                  <a:lnTo>
                    <a:pt x="299" y="86"/>
                  </a:lnTo>
                  <a:lnTo>
                    <a:pt x="299" y="88"/>
                  </a:lnTo>
                  <a:lnTo>
                    <a:pt x="300" y="90"/>
                  </a:lnTo>
                  <a:lnTo>
                    <a:pt x="300" y="92"/>
                  </a:lnTo>
                  <a:lnTo>
                    <a:pt x="300" y="94"/>
                  </a:lnTo>
                  <a:lnTo>
                    <a:pt x="300" y="97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4"/>
                  </a:lnTo>
                  <a:lnTo>
                    <a:pt x="301" y="106"/>
                  </a:lnTo>
                  <a:lnTo>
                    <a:pt x="301" y="107"/>
                  </a:lnTo>
                  <a:lnTo>
                    <a:pt x="301" y="108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0"/>
                  </a:lnTo>
                  <a:lnTo>
                    <a:pt x="302" y="110"/>
                  </a:lnTo>
                  <a:lnTo>
                    <a:pt x="303" y="110"/>
                  </a:lnTo>
                  <a:lnTo>
                    <a:pt x="303" y="111"/>
                  </a:lnTo>
                  <a:lnTo>
                    <a:pt x="304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6" y="111"/>
                  </a:lnTo>
                  <a:lnTo>
                    <a:pt x="307" y="111"/>
                  </a:lnTo>
                  <a:lnTo>
                    <a:pt x="307" y="111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9" y="109"/>
                  </a:lnTo>
                  <a:lnTo>
                    <a:pt x="310" y="109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6" y="103"/>
                  </a:lnTo>
                  <a:lnTo>
                    <a:pt x="317" y="102"/>
                  </a:lnTo>
                  <a:lnTo>
                    <a:pt x="317" y="102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9" y="101"/>
                  </a:lnTo>
                  <a:lnTo>
                    <a:pt x="320" y="101"/>
                  </a:lnTo>
                  <a:lnTo>
                    <a:pt x="320" y="101"/>
                  </a:lnTo>
                  <a:lnTo>
                    <a:pt x="321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4" y="101"/>
                  </a:lnTo>
                  <a:lnTo>
                    <a:pt x="326" y="102"/>
                  </a:lnTo>
                  <a:lnTo>
                    <a:pt x="327" y="102"/>
                  </a:lnTo>
                  <a:lnTo>
                    <a:pt x="329" y="103"/>
                  </a:lnTo>
                  <a:lnTo>
                    <a:pt x="332" y="105"/>
                  </a:lnTo>
                  <a:lnTo>
                    <a:pt x="334" y="106"/>
                  </a:lnTo>
                  <a:lnTo>
                    <a:pt x="337" y="107"/>
                  </a:lnTo>
                  <a:lnTo>
                    <a:pt x="341" y="108"/>
                  </a:lnTo>
                  <a:lnTo>
                    <a:pt x="342" y="109"/>
                  </a:lnTo>
                  <a:lnTo>
                    <a:pt x="344" y="110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3"/>
                  </a:lnTo>
                  <a:lnTo>
                    <a:pt x="349" y="114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50" y="117"/>
                  </a:lnTo>
                  <a:lnTo>
                    <a:pt x="351" y="119"/>
                  </a:lnTo>
                  <a:lnTo>
                    <a:pt x="352" y="121"/>
                  </a:lnTo>
                  <a:lnTo>
                    <a:pt x="353" y="122"/>
                  </a:lnTo>
                  <a:lnTo>
                    <a:pt x="355" y="126"/>
                  </a:lnTo>
                  <a:lnTo>
                    <a:pt x="356" y="127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7" y="131"/>
                  </a:lnTo>
                  <a:lnTo>
                    <a:pt x="358" y="131"/>
                  </a:lnTo>
                  <a:lnTo>
                    <a:pt x="358" y="133"/>
                  </a:lnTo>
                  <a:lnTo>
                    <a:pt x="358" y="134"/>
                  </a:lnTo>
                  <a:lnTo>
                    <a:pt x="358" y="136"/>
                  </a:lnTo>
                  <a:lnTo>
                    <a:pt x="357" y="140"/>
                  </a:lnTo>
                  <a:lnTo>
                    <a:pt x="357" y="141"/>
                  </a:lnTo>
                  <a:lnTo>
                    <a:pt x="357" y="142"/>
                  </a:lnTo>
                  <a:lnTo>
                    <a:pt x="357" y="147"/>
                  </a:lnTo>
                  <a:lnTo>
                    <a:pt x="357" y="154"/>
                  </a:lnTo>
                  <a:lnTo>
                    <a:pt x="358" y="156"/>
                  </a:lnTo>
                  <a:lnTo>
                    <a:pt x="358" y="157"/>
                  </a:lnTo>
                  <a:lnTo>
                    <a:pt x="358" y="159"/>
                  </a:lnTo>
                  <a:lnTo>
                    <a:pt x="359" y="162"/>
                  </a:lnTo>
                  <a:lnTo>
                    <a:pt x="359" y="165"/>
                  </a:lnTo>
                  <a:lnTo>
                    <a:pt x="360" y="168"/>
                  </a:lnTo>
                  <a:lnTo>
                    <a:pt x="361" y="170"/>
                  </a:lnTo>
                  <a:lnTo>
                    <a:pt x="361" y="170"/>
                  </a:lnTo>
                  <a:lnTo>
                    <a:pt x="361" y="171"/>
                  </a:lnTo>
                  <a:lnTo>
                    <a:pt x="361" y="174"/>
                  </a:lnTo>
                  <a:lnTo>
                    <a:pt x="361" y="175"/>
                  </a:lnTo>
                  <a:lnTo>
                    <a:pt x="361" y="176"/>
                  </a:lnTo>
                  <a:lnTo>
                    <a:pt x="361" y="177"/>
                  </a:lnTo>
                  <a:lnTo>
                    <a:pt x="361" y="178"/>
                  </a:lnTo>
                  <a:lnTo>
                    <a:pt x="361" y="178"/>
                  </a:lnTo>
                  <a:lnTo>
                    <a:pt x="363" y="183"/>
                  </a:lnTo>
                  <a:lnTo>
                    <a:pt x="365" y="185"/>
                  </a:lnTo>
                  <a:lnTo>
                    <a:pt x="365" y="186"/>
                  </a:lnTo>
                  <a:lnTo>
                    <a:pt x="365" y="187"/>
                  </a:lnTo>
                  <a:lnTo>
                    <a:pt x="365" y="187"/>
                  </a:lnTo>
                  <a:lnTo>
                    <a:pt x="366" y="188"/>
                  </a:lnTo>
                  <a:lnTo>
                    <a:pt x="366" y="189"/>
                  </a:lnTo>
                  <a:lnTo>
                    <a:pt x="366" y="189"/>
                  </a:lnTo>
                  <a:lnTo>
                    <a:pt x="365" y="190"/>
                  </a:lnTo>
                  <a:lnTo>
                    <a:pt x="365" y="191"/>
                  </a:lnTo>
                  <a:lnTo>
                    <a:pt x="364" y="195"/>
                  </a:lnTo>
                  <a:lnTo>
                    <a:pt x="363" y="197"/>
                  </a:lnTo>
                  <a:lnTo>
                    <a:pt x="363" y="199"/>
                  </a:lnTo>
                  <a:lnTo>
                    <a:pt x="363" y="200"/>
                  </a:lnTo>
                  <a:lnTo>
                    <a:pt x="362" y="201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3" y="204"/>
                  </a:lnTo>
                  <a:lnTo>
                    <a:pt x="365" y="207"/>
                  </a:lnTo>
                  <a:lnTo>
                    <a:pt x="366" y="210"/>
                  </a:lnTo>
                  <a:lnTo>
                    <a:pt x="368" y="214"/>
                  </a:lnTo>
                  <a:lnTo>
                    <a:pt x="368" y="214"/>
                  </a:lnTo>
                  <a:lnTo>
                    <a:pt x="370" y="216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74" y="223"/>
                  </a:lnTo>
                  <a:lnTo>
                    <a:pt x="375" y="224"/>
                  </a:lnTo>
                  <a:lnTo>
                    <a:pt x="375" y="224"/>
                  </a:lnTo>
                  <a:lnTo>
                    <a:pt x="375" y="225"/>
                  </a:lnTo>
                  <a:lnTo>
                    <a:pt x="376" y="226"/>
                  </a:lnTo>
                  <a:lnTo>
                    <a:pt x="376" y="227"/>
                  </a:lnTo>
                  <a:lnTo>
                    <a:pt x="376" y="228"/>
                  </a:lnTo>
                  <a:lnTo>
                    <a:pt x="375" y="228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4" y="229"/>
                  </a:lnTo>
                  <a:lnTo>
                    <a:pt x="374" y="230"/>
                  </a:lnTo>
                  <a:lnTo>
                    <a:pt x="373" y="230"/>
                  </a:lnTo>
                  <a:lnTo>
                    <a:pt x="372" y="231"/>
                  </a:lnTo>
                  <a:lnTo>
                    <a:pt x="371" y="231"/>
                  </a:lnTo>
                  <a:lnTo>
                    <a:pt x="369" y="232"/>
                  </a:lnTo>
                  <a:lnTo>
                    <a:pt x="368" y="232"/>
                  </a:lnTo>
                  <a:lnTo>
                    <a:pt x="367" y="232"/>
                  </a:lnTo>
                  <a:lnTo>
                    <a:pt x="365" y="232"/>
                  </a:lnTo>
                  <a:lnTo>
                    <a:pt x="365" y="232"/>
                  </a:lnTo>
                  <a:lnTo>
                    <a:pt x="364" y="232"/>
                  </a:lnTo>
                  <a:lnTo>
                    <a:pt x="364" y="232"/>
                  </a:lnTo>
                  <a:lnTo>
                    <a:pt x="362" y="232"/>
                  </a:lnTo>
                  <a:lnTo>
                    <a:pt x="361" y="231"/>
                  </a:lnTo>
                  <a:lnTo>
                    <a:pt x="359" y="231"/>
                  </a:lnTo>
                  <a:lnTo>
                    <a:pt x="358" y="231"/>
                  </a:lnTo>
                  <a:lnTo>
                    <a:pt x="357" y="231"/>
                  </a:lnTo>
                  <a:lnTo>
                    <a:pt x="356" y="231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1" y="233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49" y="233"/>
                  </a:lnTo>
                  <a:lnTo>
                    <a:pt x="348" y="233"/>
                  </a:lnTo>
                  <a:lnTo>
                    <a:pt x="347" y="232"/>
                  </a:lnTo>
                  <a:lnTo>
                    <a:pt x="346" y="232"/>
                  </a:lnTo>
                  <a:lnTo>
                    <a:pt x="345" y="231"/>
                  </a:lnTo>
                  <a:lnTo>
                    <a:pt x="343" y="231"/>
                  </a:lnTo>
                  <a:lnTo>
                    <a:pt x="343" y="230"/>
                  </a:lnTo>
                  <a:lnTo>
                    <a:pt x="342" y="229"/>
                  </a:lnTo>
                  <a:lnTo>
                    <a:pt x="341" y="229"/>
                  </a:lnTo>
                  <a:lnTo>
                    <a:pt x="340" y="228"/>
                  </a:lnTo>
                  <a:lnTo>
                    <a:pt x="339" y="226"/>
                  </a:lnTo>
                  <a:lnTo>
                    <a:pt x="337" y="224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6" y="222"/>
                  </a:lnTo>
                  <a:lnTo>
                    <a:pt x="335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2" y="223"/>
                  </a:lnTo>
                  <a:lnTo>
                    <a:pt x="332" y="224"/>
                  </a:lnTo>
                  <a:lnTo>
                    <a:pt x="331" y="224"/>
                  </a:lnTo>
                  <a:lnTo>
                    <a:pt x="329" y="226"/>
                  </a:lnTo>
                  <a:lnTo>
                    <a:pt x="327" y="228"/>
                  </a:lnTo>
                  <a:lnTo>
                    <a:pt x="325" y="230"/>
                  </a:lnTo>
                  <a:lnTo>
                    <a:pt x="324" y="230"/>
                  </a:lnTo>
                  <a:lnTo>
                    <a:pt x="323" y="231"/>
                  </a:lnTo>
                  <a:lnTo>
                    <a:pt x="323" y="232"/>
                  </a:lnTo>
                  <a:lnTo>
                    <a:pt x="322" y="233"/>
                  </a:lnTo>
                  <a:lnTo>
                    <a:pt x="322" y="233"/>
                  </a:lnTo>
                  <a:lnTo>
                    <a:pt x="322" y="234"/>
                  </a:lnTo>
                  <a:lnTo>
                    <a:pt x="322" y="235"/>
                  </a:lnTo>
                  <a:lnTo>
                    <a:pt x="322" y="236"/>
                  </a:lnTo>
                  <a:lnTo>
                    <a:pt x="322" y="237"/>
                  </a:lnTo>
                  <a:lnTo>
                    <a:pt x="323" y="240"/>
                  </a:lnTo>
                  <a:lnTo>
                    <a:pt x="323" y="241"/>
                  </a:lnTo>
                  <a:lnTo>
                    <a:pt x="323" y="241"/>
                  </a:lnTo>
                  <a:lnTo>
                    <a:pt x="323" y="242"/>
                  </a:lnTo>
                  <a:lnTo>
                    <a:pt x="322" y="243"/>
                  </a:lnTo>
                  <a:lnTo>
                    <a:pt x="322" y="244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6"/>
                  </a:lnTo>
                  <a:lnTo>
                    <a:pt x="318" y="247"/>
                  </a:lnTo>
                  <a:lnTo>
                    <a:pt x="318" y="247"/>
                  </a:lnTo>
                  <a:lnTo>
                    <a:pt x="317" y="248"/>
                  </a:lnTo>
                  <a:lnTo>
                    <a:pt x="316" y="248"/>
                  </a:lnTo>
                  <a:lnTo>
                    <a:pt x="315" y="249"/>
                  </a:lnTo>
                  <a:lnTo>
                    <a:pt x="314" y="249"/>
                  </a:lnTo>
                  <a:lnTo>
                    <a:pt x="313" y="249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09" y="249"/>
                  </a:lnTo>
                  <a:lnTo>
                    <a:pt x="308" y="249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7" y="248"/>
                  </a:lnTo>
                  <a:lnTo>
                    <a:pt x="306" y="247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5" y="245"/>
                  </a:lnTo>
                  <a:lnTo>
                    <a:pt x="305" y="244"/>
                  </a:lnTo>
                  <a:lnTo>
                    <a:pt x="305" y="243"/>
                  </a:lnTo>
                  <a:lnTo>
                    <a:pt x="304" y="242"/>
                  </a:lnTo>
                  <a:lnTo>
                    <a:pt x="304" y="242"/>
                  </a:lnTo>
                  <a:lnTo>
                    <a:pt x="304" y="241"/>
                  </a:lnTo>
                  <a:lnTo>
                    <a:pt x="303" y="241"/>
                  </a:lnTo>
                  <a:lnTo>
                    <a:pt x="303" y="241"/>
                  </a:lnTo>
                  <a:lnTo>
                    <a:pt x="303" y="240"/>
                  </a:lnTo>
                  <a:lnTo>
                    <a:pt x="302" y="240"/>
                  </a:lnTo>
                  <a:lnTo>
                    <a:pt x="300" y="241"/>
                  </a:lnTo>
                  <a:lnTo>
                    <a:pt x="299" y="241"/>
                  </a:lnTo>
                  <a:lnTo>
                    <a:pt x="299" y="241"/>
                  </a:lnTo>
                  <a:lnTo>
                    <a:pt x="298" y="240"/>
                  </a:lnTo>
                  <a:lnTo>
                    <a:pt x="296" y="240"/>
                  </a:lnTo>
                  <a:lnTo>
                    <a:pt x="294" y="239"/>
                  </a:lnTo>
                  <a:lnTo>
                    <a:pt x="293" y="238"/>
                  </a:lnTo>
                  <a:lnTo>
                    <a:pt x="291" y="237"/>
                  </a:lnTo>
                  <a:lnTo>
                    <a:pt x="290" y="236"/>
                  </a:lnTo>
                  <a:lnTo>
                    <a:pt x="289" y="236"/>
                  </a:lnTo>
                  <a:lnTo>
                    <a:pt x="288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4" y="235"/>
                  </a:lnTo>
                  <a:lnTo>
                    <a:pt x="283" y="234"/>
                  </a:lnTo>
                  <a:lnTo>
                    <a:pt x="281" y="234"/>
                  </a:lnTo>
                  <a:lnTo>
                    <a:pt x="279" y="233"/>
                  </a:lnTo>
                  <a:lnTo>
                    <a:pt x="278" y="232"/>
                  </a:lnTo>
                  <a:lnTo>
                    <a:pt x="277" y="232"/>
                  </a:lnTo>
                  <a:lnTo>
                    <a:pt x="276" y="231"/>
                  </a:lnTo>
                  <a:lnTo>
                    <a:pt x="275" y="231"/>
                  </a:lnTo>
                  <a:lnTo>
                    <a:pt x="274" y="231"/>
                  </a:lnTo>
                  <a:lnTo>
                    <a:pt x="273" y="231"/>
                  </a:lnTo>
                  <a:lnTo>
                    <a:pt x="272" y="231"/>
                  </a:lnTo>
                  <a:lnTo>
                    <a:pt x="271" y="231"/>
                  </a:lnTo>
                  <a:lnTo>
                    <a:pt x="271" y="231"/>
                  </a:lnTo>
                  <a:lnTo>
                    <a:pt x="270" y="232"/>
                  </a:lnTo>
                  <a:lnTo>
                    <a:pt x="270" y="232"/>
                  </a:lnTo>
                  <a:lnTo>
                    <a:pt x="269" y="232"/>
                  </a:lnTo>
                  <a:lnTo>
                    <a:pt x="269" y="233"/>
                  </a:lnTo>
                  <a:lnTo>
                    <a:pt x="268" y="233"/>
                  </a:lnTo>
                  <a:lnTo>
                    <a:pt x="267" y="234"/>
                  </a:lnTo>
                  <a:lnTo>
                    <a:pt x="265" y="236"/>
                  </a:lnTo>
                  <a:lnTo>
                    <a:pt x="263" y="239"/>
                  </a:lnTo>
                  <a:lnTo>
                    <a:pt x="262" y="240"/>
                  </a:lnTo>
                  <a:lnTo>
                    <a:pt x="261" y="241"/>
                  </a:lnTo>
                  <a:lnTo>
                    <a:pt x="261" y="241"/>
                  </a:lnTo>
                  <a:lnTo>
                    <a:pt x="260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56" y="242"/>
                  </a:lnTo>
                  <a:lnTo>
                    <a:pt x="255" y="242"/>
                  </a:lnTo>
                  <a:lnTo>
                    <a:pt x="255" y="242"/>
                  </a:lnTo>
                  <a:lnTo>
                    <a:pt x="253" y="241"/>
                  </a:lnTo>
                  <a:lnTo>
                    <a:pt x="252" y="241"/>
                  </a:lnTo>
                  <a:lnTo>
                    <a:pt x="250" y="240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6" y="238"/>
                  </a:lnTo>
                  <a:lnTo>
                    <a:pt x="242" y="236"/>
                  </a:lnTo>
                  <a:lnTo>
                    <a:pt x="240" y="235"/>
                  </a:lnTo>
                  <a:lnTo>
                    <a:pt x="238" y="233"/>
                  </a:lnTo>
                  <a:lnTo>
                    <a:pt x="236" y="233"/>
                  </a:lnTo>
                  <a:lnTo>
                    <a:pt x="235" y="232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4" y="230"/>
                  </a:lnTo>
                  <a:lnTo>
                    <a:pt x="233" y="230"/>
                  </a:lnTo>
                  <a:lnTo>
                    <a:pt x="228" y="228"/>
                  </a:lnTo>
                  <a:lnTo>
                    <a:pt x="227" y="227"/>
                  </a:lnTo>
                  <a:lnTo>
                    <a:pt x="225" y="226"/>
                  </a:lnTo>
                  <a:lnTo>
                    <a:pt x="224" y="226"/>
                  </a:lnTo>
                  <a:lnTo>
                    <a:pt x="224" y="225"/>
                  </a:lnTo>
                  <a:lnTo>
                    <a:pt x="223" y="225"/>
                  </a:lnTo>
                  <a:lnTo>
                    <a:pt x="222" y="224"/>
                  </a:lnTo>
                  <a:lnTo>
                    <a:pt x="221" y="224"/>
                  </a:lnTo>
                  <a:lnTo>
                    <a:pt x="221" y="223"/>
                  </a:lnTo>
                  <a:lnTo>
                    <a:pt x="221" y="222"/>
                  </a:lnTo>
                  <a:lnTo>
                    <a:pt x="219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6"/>
                  </a:lnTo>
                  <a:lnTo>
                    <a:pt x="216" y="215"/>
                  </a:lnTo>
                  <a:lnTo>
                    <a:pt x="215" y="214"/>
                  </a:lnTo>
                  <a:lnTo>
                    <a:pt x="213" y="213"/>
                  </a:lnTo>
                  <a:lnTo>
                    <a:pt x="212" y="212"/>
                  </a:lnTo>
                  <a:lnTo>
                    <a:pt x="211" y="211"/>
                  </a:lnTo>
                  <a:lnTo>
                    <a:pt x="210" y="211"/>
                  </a:lnTo>
                  <a:lnTo>
                    <a:pt x="209" y="210"/>
                  </a:lnTo>
                  <a:lnTo>
                    <a:pt x="207" y="209"/>
                  </a:lnTo>
                  <a:lnTo>
                    <a:pt x="206" y="209"/>
                  </a:lnTo>
                  <a:lnTo>
                    <a:pt x="205" y="209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3" y="207"/>
                  </a:lnTo>
                  <a:lnTo>
                    <a:pt x="201" y="205"/>
                  </a:lnTo>
                  <a:lnTo>
                    <a:pt x="197" y="201"/>
                  </a:lnTo>
                  <a:lnTo>
                    <a:pt x="195" y="197"/>
                  </a:lnTo>
                  <a:lnTo>
                    <a:pt x="193" y="196"/>
                  </a:lnTo>
                  <a:lnTo>
                    <a:pt x="192" y="196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6" y="194"/>
                  </a:lnTo>
                  <a:lnTo>
                    <a:pt x="185" y="194"/>
                  </a:lnTo>
                  <a:lnTo>
                    <a:pt x="184" y="195"/>
                  </a:lnTo>
                  <a:lnTo>
                    <a:pt x="184" y="195"/>
                  </a:lnTo>
                  <a:lnTo>
                    <a:pt x="183" y="195"/>
                  </a:lnTo>
                  <a:lnTo>
                    <a:pt x="182" y="196"/>
                  </a:lnTo>
                  <a:lnTo>
                    <a:pt x="181" y="196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0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8" y="196"/>
                  </a:lnTo>
                  <a:lnTo>
                    <a:pt x="177" y="196"/>
                  </a:lnTo>
                  <a:lnTo>
                    <a:pt x="177" y="195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5" y="193"/>
                  </a:lnTo>
                  <a:lnTo>
                    <a:pt x="173" y="192"/>
                  </a:lnTo>
                  <a:lnTo>
                    <a:pt x="172" y="191"/>
                  </a:lnTo>
                  <a:lnTo>
                    <a:pt x="171" y="190"/>
                  </a:lnTo>
                  <a:lnTo>
                    <a:pt x="169" y="188"/>
                  </a:lnTo>
                  <a:lnTo>
                    <a:pt x="168" y="188"/>
                  </a:lnTo>
                  <a:lnTo>
                    <a:pt x="168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9"/>
                  </a:lnTo>
                  <a:lnTo>
                    <a:pt x="166" y="190"/>
                  </a:lnTo>
                  <a:lnTo>
                    <a:pt x="165" y="191"/>
                  </a:lnTo>
                  <a:lnTo>
                    <a:pt x="164" y="193"/>
                  </a:lnTo>
                  <a:lnTo>
                    <a:pt x="163" y="195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0" y="203"/>
                  </a:lnTo>
                  <a:lnTo>
                    <a:pt x="159" y="203"/>
                  </a:lnTo>
                  <a:lnTo>
                    <a:pt x="155" y="205"/>
                  </a:lnTo>
                  <a:lnTo>
                    <a:pt x="153" y="206"/>
                  </a:lnTo>
                  <a:lnTo>
                    <a:pt x="153" y="207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9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49" y="210"/>
                  </a:lnTo>
                  <a:lnTo>
                    <a:pt x="149" y="211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6" y="217"/>
                  </a:lnTo>
                  <a:lnTo>
                    <a:pt x="146" y="218"/>
                  </a:lnTo>
                  <a:lnTo>
                    <a:pt x="145" y="218"/>
                  </a:lnTo>
                  <a:lnTo>
                    <a:pt x="144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2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0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3" y="219"/>
                  </a:lnTo>
                  <a:lnTo>
                    <a:pt x="131" y="218"/>
                  </a:lnTo>
                  <a:lnTo>
                    <a:pt x="129" y="218"/>
                  </a:lnTo>
                  <a:lnTo>
                    <a:pt x="127" y="217"/>
                  </a:lnTo>
                  <a:lnTo>
                    <a:pt x="125" y="217"/>
                  </a:lnTo>
                  <a:lnTo>
                    <a:pt x="124" y="21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2" y="218"/>
                  </a:lnTo>
                  <a:lnTo>
                    <a:pt x="121" y="218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9" y="220"/>
                  </a:lnTo>
                  <a:lnTo>
                    <a:pt x="119" y="221"/>
                  </a:lnTo>
                  <a:lnTo>
                    <a:pt x="119" y="222"/>
                  </a:lnTo>
                  <a:lnTo>
                    <a:pt x="119" y="226"/>
                  </a:lnTo>
                  <a:lnTo>
                    <a:pt x="118" y="227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7" y="230"/>
                  </a:lnTo>
                  <a:lnTo>
                    <a:pt x="117" y="231"/>
                  </a:lnTo>
                  <a:lnTo>
                    <a:pt x="116" y="231"/>
                  </a:lnTo>
                  <a:lnTo>
                    <a:pt x="116" y="232"/>
                  </a:lnTo>
                  <a:lnTo>
                    <a:pt x="115" y="233"/>
                  </a:lnTo>
                  <a:lnTo>
                    <a:pt x="113" y="234"/>
                  </a:lnTo>
                  <a:lnTo>
                    <a:pt x="112" y="234"/>
                  </a:lnTo>
                  <a:lnTo>
                    <a:pt x="112" y="235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9" y="239"/>
                  </a:lnTo>
                  <a:lnTo>
                    <a:pt x="108" y="240"/>
                  </a:lnTo>
                  <a:lnTo>
                    <a:pt x="107" y="241"/>
                  </a:lnTo>
                  <a:lnTo>
                    <a:pt x="107" y="242"/>
                  </a:lnTo>
                  <a:lnTo>
                    <a:pt x="105" y="243"/>
                  </a:lnTo>
                  <a:lnTo>
                    <a:pt x="102" y="245"/>
                  </a:lnTo>
                  <a:lnTo>
                    <a:pt x="100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8" y="248"/>
                  </a:lnTo>
                  <a:lnTo>
                    <a:pt x="97" y="248"/>
                  </a:lnTo>
                  <a:lnTo>
                    <a:pt x="91" y="249"/>
                  </a:lnTo>
                  <a:lnTo>
                    <a:pt x="90" y="249"/>
                  </a:lnTo>
                  <a:lnTo>
                    <a:pt x="88" y="249"/>
                  </a:lnTo>
                  <a:lnTo>
                    <a:pt x="87" y="249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3" y="250"/>
                  </a:lnTo>
                  <a:lnTo>
                    <a:pt x="79" y="251"/>
                  </a:lnTo>
                  <a:lnTo>
                    <a:pt x="78" y="251"/>
                  </a:lnTo>
                  <a:lnTo>
                    <a:pt x="77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5" y="252"/>
                  </a:lnTo>
                  <a:lnTo>
                    <a:pt x="74" y="252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2" y="251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4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3" y="238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9" y="240"/>
                  </a:lnTo>
                  <a:lnTo>
                    <a:pt x="58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1" y="239"/>
                  </a:lnTo>
                  <a:lnTo>
                    <a:pt x="51" y="238"/>
                  </a:lnTo>
                  <a:lnTo>
                    <a:pt x="50" y="238"/>
                  </a:lnTo>
                  <a:lnTo>
                    <a:pt x="49" y="238"/>
                  </a:lnTo>
                  <a:lnTo>
                    <a:pt x="48" y="238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2" y="240"/>
                  </a:lnTo>
                  <a:lnTo>
                    <a:pt x="41" y="240"/>
                  </a:lnTo>
                  <a:lnTo>
                    <a:pt x="41" y="240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39" y="236"/>
                  </a:lnTo>
                  <a:lnTo>
                    <a:pt x="38" y="235"/>
                  </a:lnTo>
                  <a:lnTo>
                    <a:pt x="38" y="234"/>
                  </a:lnTo>
                  <a:lnTo>
                    <a:pt x="37" y="233"/>
                  </a:lnTo>
                  <a:lnTo>
                    <a:pt x="36" y="233"/>
                  </a:lnTo>
                  <a:lnTo>
                    <a:pt x="36" y="232"/>
                  </a:lnTo>
                  <a:lnTo>
                    <a:pt x="35" y="231"/>
                  </a:lnTo>
                  <a:lnTo>
                    <a:pt x="33" y="230"/>
                  </a:lnTo>
                  <a:lnTo>
                    <a:pt x="32" y="229"/>
                  </a:lnTo>
                  <a:lnTo>
                    <a:pt x="30" y="227"/>
                  </a:lnTo>
                  <a:lnTo>
                    <a:pt x="29" y="227"/>
                  </a:lnTo>
                  <a:lnTo>
                    <a:pt x="28" y="226"/>
                  </a:lnTo>
                  <a:lnTo>
                    <a:pt x="27" y="225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4" y="220"/>
                  </a:lnTo>
                  <a:lnTo>
                    <a:pt x="22" y="215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07"/>
                  </a:lnTo>
                  <a:lnTo>
                    <a:pt x="18" y="206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5" y="201"/>
                  </a:lnTo>
                  <a:lnTo>
                    <a:pt x="15" y="200"/>
                  </a:lnTo>
                  <a:lnTo>
                    <a:pt x="13" y="198"/>
                  </a:lnTo>
                  <a:lnTo>
                    <a:pt x="13" y="197"/>
                  </a:lnTo>
                  <a:lnTo>
                    <a:pt x="12" y="195"/>
                  </a:lnTo>
                  <a:lnTo>
                    <a:pt x="11" y="194"/>
                  </a:lnTo>
                  <a:lnTo>
                    <a:pt x="10" y="193"/>
                  </a:lnTo>
                  <a:lnTo>
                    <a:pt x="8" y="189"/>
                  </a:lnTo>
                  <a:lnTo>
                    <a:pt x="7" y="185"/>
                  </a:lnTo>
                  <a:lnTo>
                    <a:pt x="6" y="183"/>
                  </a:lnTo>
                  <a:lnTo>
                    <a:pt x="5" y="182"/>
                  </a:lnTo>
                  <a:lnTo>
                    <a:pt x="5" y="180"/>
                  </a:lnTo>
                  <a:lnTo>
                    <a:pt x="4" y="180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3" y="174"/>
                  </a:lnTo>
                  <a:lnTo>
                    <a:pt x="3" y="171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6"/>
                  </a:lnTo>
                  <a:lnTo>
                    <a:pt x="0" y="165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2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2" y="160"/>
                  </a:lnTo>
                  <a:lnTo>
                    <a:pt x="3" y="158"/>
                  </a:lnTo>
                  <a:lnTo>
                    <a:pt x="5" y="155"/>
                  </a:lnTo>
                  <a:lnTo>
                    <a:pt x="5" y="154"/>
                  </a:lnTo>
                  <a:lnTo>
                    <a:pt x="6" y="153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39"/>
                  </a:lnTo>
                  <a:lnTo>
                    <a:pt x="12" y="138"/>
                  </a:lnTo>
                  <a:lnTo>
                    <a:pt x="15" y="136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9" y="133"/>
                  </a:lnTo>
                  <a:lnTo>
                    <a:pt x="20" y="132"/>
                  </a:lnTo>
                  <a:lnTo>
                    <a:pt x="21" y="132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7"/>
                  </a:lnTo>
                  <a:lnTo>
                    <a:pt x="22" y="126"/>
                  </a:lnTo>
                  <a:lnTo>
                    <a:pt x="22" y="125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24" y="121"/>
                  </a:lnTo>
                  <a:lnTo>
                    <a:pt x="24" y="120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7" y="116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1" y="110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0"/>
                  </a:lnTo>
                  <a:lnTo>
                    <a:pt x="31" y="99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5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8" y="96"/>
                  </a:lnTo>
                  <a:lnTo>
                    <a:pt x="39" y="96"/>
                  </a:lnTo>
                  <a:lnTo>
                    <a:pt x="40" y="97"/>
                  </a:lnTo>
                  <a:lnTo>
                    <a:pt x="42" y="98"/>
                  </a:lnTo>
                  <a:lnTo>
                    <a:pt x="43" y="98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9" y="102"/>
                  </a:lnTo>
                  <a:lnTo>
                    <a:pt x="51" y="102"/>
                  </a:lnTo>
                  <a:lnTo>
                    <a:pt x="52" y="103"/>
                  </a:lnTo>
                  <a:lnTo>
                    <a:pt x="53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7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0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8"/>
                  </a:lnTo>
                  <a:lnTo>
                    <a:pt x="64" y="92"/>
                  </a:lnTo>
                  <a:lnTo>
                    <a:pt x="65" y="91"/>
                  </a:lnTo>
                  <a:lnTo>
                    <a:pt x="65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5"/>
                  </a:lnTo>
                  <a:lnTo>
                    <a:pt x="70" y="84"/>
                  </a:lnTo>
                  <a:lnTo>
                    <a:pt x="72" y="83"/>
                  </a:lnTo>
                  <a:lnTo>
                    <a:pt x="74" y="82"/>
                  </a:lnTo>
                  <a:lnTo>
                    <a:pt x="75" y="81"/>
                  </a:lnTo>
                  <a:lnTo>
                    <a:pt x="76" y="80"/>
                  </a:lnTo>
                  <a:lnTo>
                    <a:pt x="78" y="79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6"/>
                  </a:lnTo>
                  <a:lnTo>
                    <a:pt x="86" y="78"/>
                  </a:lnTo>
                  <a:lnTo>
                    <a:pt x="90" y="80"/>
                  </a:lnTo>
                  <a:lnTo>
                    <a:pt x="92" y="80"/>
                  </a:lnTo>
                  <a:lnTo>
                    <a:pt x="95" y="81"/>
                  </a:lnTo>
                  <a:lnTo>
                    <a:pt x="100" y="84"/>
                  </a:lnTo>
                  <a:lnTo>
                    <a:pt x="103" y="85"/>
                  </a:lnTo>
                  <a:lnTo>
                    <a:pt x="104" y="85"/>
                  </a:lnTo>
                  <a:lnTo>
                    <a:pt x="105" y="86"/>
                  </a:lnTo>
                  <a:lnTo>
                    <a:pt x="106" y="87"/>
                  </a:lnTo>
                  <a:lnTo>
                    <a:pt x="108" y="88"/>
                  </a:lnTo>
                  <a:lnTo>
                    <a:pt x="109" y="89"/>
                  </a:lnTo>
                  <a:lnTo>
                    <a:pt x="110" y="89"/>
                  </a:lnTo>
                  <a:lnTo>
                    <a:pt x="110" y="90"/>
                  </a:lnTo>
                  <a:lnTo>
                    <a:pt x="111" y="90"/>
                  </a:lnTo>
                  <a:lnTo>
                    <a:pt x="112" y="90"/>
                  </a:lnTo>
                  <a:lnTo>
                    <a:pt x="113" y="91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5" y="92"/>
                  </a:lnTo>
                  <a:lnTo>
                    <a:pt x="126" y="92"/>
                  </a:lnTo>
                  <a:lnTo>
                    <a:pt x="128" y="92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30" y="91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2" y="90"/>
                  </a:lnTo>
                  <a:lnTo>
                    <a:pt x="133" y="89"/>
                  </a:lnTo>
                  <a:lnTo>
                    <a:pt x="133" y="88"/>
                  </a:lnTo>
                  <a:lnTo>
                    <a:pt x="134" y="86"/>
                  </a:lnTo>
                  <a:lnTo>
                    <a:pt x="136" y="81"/>
                  </a:lnTo>
                  <a:lnTo>
                    <a:pt x="137" y="79"/>
                  </a:lnTo>
                  <a:lnTo>
                    <a:pt x="138" y="77"/>
                  </a:lnTo>
                  <a:lnTo>
                    <a:pt x="139" y="75"/>
                  </a:lnTo>
                  <a:lnTo>
                    <a:pt x="140" y="73"/>
                  </a:lnTo>
                  <a:lnTo>
                    <a:pt x="141" y="73"/>
                  </a:lnTo>
                  <a:lnTo>
                    <a:pt x="141" y="72"/>
                  </a:lnTo>
                  <a:lnTo>
                    <a:pt x="142" y="72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4" y="70"/>
                  </a:lnTo>
                  <a:lnTo>
                    <a:pt x="145" y="70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4" y="68"/>
                  </a:lnTo>
                  <a:lnTo>
                    <a:pt x="155" y="68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6" y="69"/>
                  </a:lnTo>
                  <a:lnTo>
                    <a:pt x="167" y="70"/>
                  </a:lnTo>
                  <a:lnTo>
                    <a:pt x="169" y="70"/>
                  </a:lnTo>
                  <a:lnTo>
                    <a:pt x="175" y="72"/>
                  </a:lnTo>
                  <a:lnTo>
                    <a:pt x="177" y="72"/>
                  </a:lnTo>
                  <a:lnTo>
                    <a:pt x="178" y="72"/>
                  </a:lnTo>
                  <a:lnTo>
                    <a:pt x="179" y="72"/>
                  </a:lnTo>
                  <a:lnTo>
                    <a:pt x="180" y="72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3" y="72"/>
                  </a:lnTo>
                  <a:lnTo>
                    <a:pt x="184" y="72"/>
                  </a:lnTo>
                  <a:lnTo>
                    <a:pt x="186" y="71"/>
                  </a:lnTo>
                  <a:lnTo>
                    <a:pt x="187" y="71"/>
                  </a:lnTo>
                  <a:lnTo>
                    <a:pt x="187" y="70"/>
                  </a:lnTo>
                  <a:lnTo>
                    <a:pt x="188" y="70"/>
                  </a:lnTo>
                  <a:lnTo>
                    <a:pt x="189" y="70"/>
                  </a:lnTo>
                  <a:lnTo>
                    <a:pt x="189" y="69"/>
                  </a:lnTo>
                  <a:lnTo>
                    <a:pt x="190" y="69"/>
                  </a:lnTo>
                  <a:lnTo>
                    <a:pt x="190" y="68"/>
                  </a:lnTo>
                  <a:lnTo>
                    <a:pt x="190" y="68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6"/>
                  </a:lnTo>
                  <a:lnTo>
                    <a:pt x="191" y="65"/>
                  </a:lnTo>
                  <a:lnTo>
                    <a:pt x="191" y="63"/>
                  </a:lnTo>
                  <a:lnTo>
                    <a:pt x="191" y="59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1" y="51"/>
                  </a:lnTo>
                  <a:lnTo>
                    <a:pt x="191" y="49"/>
                  </a:lnTo>
                  <a:lnTo>
                    <a:pt x="191" y="48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4"/>
                  </a:lnTo>
                  <a:lnTo>
                    <a:pt x="194" y="39"/>
                  </a:lnTo>
                  <a:lnTo>
                    <a:pt x="194" y="37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5" y="32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5" y="23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4" y="21"/>
                  </a:lnTo>
                  <a:lnTo>
                    <a:pt x="194" y="20"/>
                  </a:lnTo>
                  <a:lnTo>
                    <a:pt x="194" y="20"/>
                  </a:lnTo>
                  <a:lnTo>
                    <a:pt x="193" y="20"/>
                  </a:lnTo>
                  <a:lnTo>
                    <a:pt x="193" y="19"/>
                  </a:lnTo>
                  <a:lnTo>
                    <a:pt x="192" y="19"/>
                  </a:lnTo>
                  <a:lnTo>
                    <a:pt x="191" y="18"/>
                  </a:lnTo>
                  <a:lnTo>
                    <a:pt x="189" y="18"/>
                  </a:lnTo>
                  <a:lnTo>
                    <a:pt x="188" y="18"/>
                  </a:lnTo>
                  <a:lnTo>
                    <a:pt x="188" y="17"/>
                  </a:lnTo>
                  <a:lnTo>
                    <a:pt x="187" y="17"/>
                  </a:lnTo>
                  <a:lnTo>
                    <a:pt x="186" y="16"/>
                  </a:lnTo>
                  <a:lnTo>
                    <a:pt x="186" y="15"/>
                  </a:lnTo>
                  <a:lnTo>
                    <a:pt x="186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1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8" y="7"/>
                  </a:lnTo>
                  <a:lnTo>
                    <a:pt x="189" y="6"/>
                  </a:lnTo>
                  <a:lnTo>
                    <a:pt x="190" y="5"/>
                  </a:lnTo>
                  <a:lnTo>
                    <a:pt x="195" y="2"/>
                  </a:lnTo>
                  <a:lnTo>
                    <a:pt x="196" y="1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828282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57">
              <a:extLst>
                <a:ext uri="{FF2B5EF4-FFF2-40B4-BE49-F238E27FC236}">
                  <a16:creationId xmlns:a16="http://schemas.microsoft.com/office/drawing/2014/main" id="{CA38D769-7915-E9BE-92CA-A2A2EEED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3"/>
              <a:ext cx="436" cy="339"/>
            </a:xfrm>
            <a:custGeom>
              <a:avLst/>
              <a:gdLst>
                <a:gd name="T0" fmla="*/ 170 w 436"/>
                <a:gd name="T1" fmla="*/ 16 h 339"/>
                <a:gd name="T2" fmla="*/ 204 w 436"/>
                <a:gd name="T3" fmla="*/ 13 h 339"/>
                <a:gd name="T4" fmla="*/ 221 w 436"/>
                <a:gd name="T5" fmla="*/ 46 h 339"/>
                <a:gd name="T6" fmla="*/ 247 w 436"/>
                <a:gd name="T7" fmla="*/ 42 h 339"/>
                <a:gd name="T8" fmla="*/ 262 w 436"/>
                <a:gd name="T9" fmla="*/ 61 h 339"/>
                <a:gd name="T10" fmla="*/ 264 w 436"/>
                <a:gd name="T11" fmla="*/ 79 h 339"/>
                <a:gd name="T12" fmla="*/ 283 w 436"/>
                <a:gd name="T13" fmla="*/ 62 h 339"/>
                <a:gd name="T14" fmla="*/ 310 w 436"/>
                <a:gd name="T15" fmla="*/ 62 h 339"/>
                <a:gd name="T16" fmla="*/ 325 w 436"/>
                <a:gd name="T17" fmla="*/ 61 h 339"/>
                <a:gd name="T18" fmla="*/ 345 w 436"/>
                <a:gd name="T19" fmla="*/ 51 h 339"/>
                <a:gd name="T20" fmla="*/ 376 w 436"/>
                <a:gd name="T21" fmla="*/ 69 h 339"/>
                <a:gd name="T22" fmla="*/ 384 w 436"/>
                <a:gd name="T23" fmla="*/ 96 h 339"/>
                <a:gd name="T24" fmla="*/ 367 w 436"/>
                <a:gd name="T25" fmla="*/ 125 h 339"/>
                <a:gd name="T26" fmla="*/ 348 w 436"/>
                <a:gd name="T27" fmla="*/ 134 h 339"/>
                <a:gd name="T28" fmla="*/ 329 w 436"/>
                <a:gd name="T29" fmla="*/ 147 h 339"/>
                <a:gd name="T30" fmla="*/ 322 w 436"/>
                <a:gd name="T31" fmla="*/ 157 h 339"/>
                <a:gd name="T32" fmla="*/ 335 w 436"/>
                <a:gd name="T33" fmla="*/ 173 h 339"/>
                <a:gd name="T34" fmla="*/ 353 w 436"/>
                <a:gd name="T35" fmla="*/ 183 h 339"/>
                <a:gd name="T36" fmla="*/ 372 w 436"/>
                <a:gd name="T37" fmla="*/ 196 h 339"/>
                <a:gd name="T38" fmla="*/ 392 w 436"/>
                <a:gd name="T39" fmla="*/ 212 h 339"/>
                <a:gd name="T40" fmla="*/ 424 w 436"/>
                <a:gd name="T41" fmla="*/ 250 h 339"/>
                <a:gd name="T42" fmla="*/ 436 w 436"/>
                <a:gd name="T43" fmla="*/ 287 h 339"/>
                <a:gd name="T44" fmla="*/ 417 w 436"/>
                <a:gd name="T45" fmla="*/ 283 h 339"/>
                <a:gd name="T46" fmla="*/ 403 w 436"/>
                <a:gd name="T47" fmla="*/ 293 h 339"/>
                <a:gd name="T48" fmla="*/ 372 w 436"/>
                <a:gd name="T49" fmla="*/ 312 h 339"/>
                <a:gd name="T50" fmla="*/ 361 w 436"/>
                <a:gd name="T51" fmla="*/ 328 h 339"/>
                <a:gd name="T52" fmla="*/ 355 w 436"/>
                <a:gd name="T53" fmla="*/ 337 h 339"/>
                <a:gd name="T54" fmla="*/ 332 w 436"/>
                <a:gd name="T55" fmla="*/ 338 h 339"/>
                <a:gd name="T56" fmla="*/ 303 w 436"/>
                <a:gd name="T57" fmla="*/ 327 h 339"/>
                <a:gd name="T58" fmla="*/ 278 w 436"/>
                <a:gd name="T59" fmla="*/ 308 h 339"/>
                <a:gd name="T60" fmla="*/ 261 w 436"/>
                <a:gd name="T61" fmla="*/ 289 h 339"/>
                <a:gd name="T62" fmla="*/ 229 w 436"/>
                <a:gd name="T63" fmla="*/ 290 h 339"/>
                <a:gd name="T64" fmla="*/ 209 w 436"/>
                <a:gd name="T65" fmla="*/ 296 h 339"/>
                <a:gd name="T66" fmla="*/ 198 w 436"/>
                <a:gd name="T67" fmla="*/ 280 h 339"/>
                <a:gd name="T68" fmla="*/ 181 w 436"/>
                <a:gd name="T69" fmla="*/ 297 h 339"/>
                <a:gd name="T70" fmla="*/ 155 w 436"/>
                <a:gd name="T71" fmla="*/ 298 h 339"/>
                <a:gd name="T72" fmla="*/ 136 w 436"/>
                <a:gd name="T73" fmla="*/ 294 h 339"/>
                <a:gd name="T74" fmla="*/ 117 w 436"/>
                <a:gd name="T75" fmla="*/ 308 h 339"/>
                <a:gd name="T76" fmla="*/ 98 w 436"/>
                <a:gd name="T77" fmla="*/ 312 h 339"/>
                <a:gd name="T78" fmla="*/ 90 w 436"/>
                <a:gd name="T79" fmla="*/ 299 h 339"/>
                <a:gd name="T80" fmla="*/ 74 w 436"/>
                <a:gd name="T81" fmla="*/ 286 h 339"/>
                <a:gd name="T82" fmla="*/ 83 w 436"/>
                <a:gd name="T83" fmla="*/ 265 h 339"/>
                <a:gd name="T84" fmla="*/ 78 w 436"/>
                <a:gd name="T85" fmla="*/ 234 h 339"/>
                <a:gd name="T86" fmla="*/ 63 w 436"/>
                <a:gd name="T87" fmla="*/ 227 h 339"/>
                <a:gd name="T88" fmla="*/ 32 w 436"/>
                <a:gd name="T89" fmla="*/ 226 h 339"/>
                <a:gd name="T90" fmla="*/ 22 w 436"/>
                <a:gd name="T91" fmla="*/ 208 h 339"/>
                <a:gd name="T92" fmla="*/ 5 w 436"/>
                <a:gd name="T93" fmla="*/ 200 h 339"/>
                <a:gd name="T94" fmla="*/ 3 w 436"/>
                <a:gd name="T95" fmla="*/ 184 h 339"/>
                <a:gd name="T96" fmla="*/ 11 w 436"/>
                <a:gd name="T97" fmla="*/ 159 h 339"/>
                <a:gd name="T98" fmla="*/ 3 w 436"/>
                <a:gd name="T99" fmla="*/ 131 h 339"/>
                <a:gd name="T100" fmla="*/ 21 w 436"/>
                <a:gd name="T101" fmla="*/ 127 h 339"/>
                <a:gd name="T102" fmla="*/ 43 w 436"/>
                <a:gd name="T103" fmla="*/ 122 h 339"/>
                <a:gd name="T104" fmla="*/ 63 w 436"/>
                <a:gd name="T105" fmla="*/ 125 h 339"/>
                <a:gd name="T106" fmla="*/ 80 w 436"/>
                <a:gd name="T107" fmla="*/ 134 h 339"/>
                <a:gd name="T108" fmla="*/ 96 w 436"/>
                <a:gd name="T109" fmla="*/ 135 h 339"/>
                <a:gd name="T110" fmla="*/ 104 w 436"/>
                <a:gd name="T111" fmla="*/ 115 h 339"/>
                <a:gd name="T112" fmla="*/ 120 w 436"/>
                <a:gd name="T113" fmla="*/ 120 h 339"/>
                <a:gd name="T114" fmla="*/ 142 w 436"/>
                <a:gd name="T115" fmla="*/ 121 h 339"/>
                <a:gd name="T116" fmla="*/ 145 w 436"/>
                <a:gd name="T117" fmla="*/ 105 h 339"/>
                <a:gd name="T118" fmla="*/ 140 w 436"/>
                <a:gd name="T119" fmla="*/ 76 h 339"/>
                <a:gd name="T120" fmla="*/ 132 w 436"/>
                <a:gd name="T121" fmla="*/ 36 h 339"/>
                <a:gd name="T122" fmla="*/ 123 w 436"/>
                <a:gd name="T123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6" h="339">
                  <a:moveTo>
                    <a:pt x="127" y="1"/>
                  </a:moveTo>
                  <a:lnTo>
                    <a:pt x="129" y="1"/>
                  </a:lnTo>
                  <a:lnTo>
                    <a:pt x="135" y="1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50" y="6"/>
                  </a:lnTo>
                  <a:lnTo>
                    <a:pt x="152" y="7"/>
                  </a:lnTo>
                  <a:lnTo>
                    <a:pt x="155" y="9"/>
                  </a:lnTo>
                  <a:lnTo>
                    <a:pt x="160" y="10"/>
                  </a:lnTo>
                  <a:lnTo>
                    <a:pt x="161" y="11"/>
                  </a:lnTo>
                  <a:lnTo>
                    <a:pt x="163" y="12"/>
                  </a:lnTo>
                  <a:lnTo>
                    <a:pt x="164" y="12"/>
                  </a:lnTo>
                  <a:lnTo>
                    <a:pt x="165" y="13"/>
                  </a:lnTo>
                  <a:lnTo>
                    <a:pt x="166" y="14"/>
                  </a:lnTo>
                  <a:lnTo>
                    <a:pt x="170" y="16"/>
                  </a:lnTo>
                  <a:lnTo>
                    <a:pt x="170" y="17"/>
                  </a:lnTo>
                  <a:lnTo>
                    <a:pt x="171" y="17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5" y="18"/>
                  </a:lnTo>
                  <a:lnTo>
                    <a:pt x="175" y="19"/>
                  </a:lnTo>
                  <a:lnTo>
                    <a:pt x="176" y="19"/>
                  </a:lnTo>
                  <a:lnTo>
                    <a:pt x="178" y="19"/>
                  </a:lnTo>
                  <a:lnTo>
                    <a:pt x="181" y="19"/>
                  </a:lnTo>
                  <a:lnTo>
                    <a:pt x="183" y="19"/>
                  </a:lnTo>
                  <a:lnTo>
                    <a:pt x="184" y="19"/>
                  </a:lnTo>
                  <a:lnTo>
                    <a:pt x="184" y="19"/>
                  </a:lnTo>
                  <a:lnTo>
                    <a:pt x="187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9" y="14"/>
                  </a:lnTo>
                  <a:lnTo>
                    <a:pt x="200" y="14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3"/>
                  </a:lnTo>
                  <a:lnTo>
                    <a:pt x="204" y="14"/>
                  </a:lnTo>
                  <a:lnTo>
                    <a:pt x="205" y="14"/>
                  </a:lnTo>
                  <a:lnTo>
                    <a:pt x="206" y="14"/>
                  </a:lnTo>
                  <a:lnTo>
                    <a:pt x="206" y="15"/>
                  </a:lnTo>
                  <a:lnTo>
                    <a:pt x="207" y="15"/>
                  </a:lnTo>
                  <a:lnTo>
                    <a:pt x="208" y="16"/>
                  </a:lnTo>
                  <a:lnTo>
                    <a:pt x="209" y="17"/>
                  </a:lnTo>
                  <a:lnTo>
                    <a:pt x="209" y="18"/>
                  </a:lnTo>
                  <a:lnTo>
                    <a:pt x="210" y="19"/>
                  </a:lnTo>
                  <a:lnTo>
                    <a:pt x="210" y="20"/>
                  </a:lnTo>
                  <a:lnTo>
                    <a:pt x="211" y="24"/>
                  </a:lnTo>
                  <a:lnTo>
                    <a:pt x="212" y="26"/>
                  </a:lnTo>
                  <a:lnTo>
                    <a:pt x="213" y="28"/>
                  </a:lnTo>
                  <a:lnTo>
                    <a:pt x="216" y="34"/>
                  </a:lnTo>
                  <a:lnTo>
                    <a:pt x="217" y="38"/>
                  </a:lnTo>
                  <a:lnTo>
                    <a:pt x="219" y="41"/>
                  </a:lnTo>
                  <a:lnTo>
                    <a:pt x="219" y="43"/>
                  </a:lnTo>
                  <a:lnTo>
                    <a:pt x="220" y="44"/>
                  </a:lnTo>
                  <a:lnTo>
                    <a:pt x="221" y="45"/>
                  </a:lnTo>
                  <a:lnTo>
                    <a:pt x="221" y="46"/>
                  </a:lnTo>
                  <a:lnTo>
                    <a:pt x="222" y="46"/>
                  </a:lnTo>
                  <a:lnTo>
                    <a:pt x="222" y="46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4" y="48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6" y="48"/>
                  </a:lnTo>
                  <a:lnTo>
                    <a:pt x="227" y="48"/>
                  </a:lnTo>
                  <a:lnTo>
                    <a:pt x="228" y="47"/>
                  </a:lnTo>
                  <a:lnTo>
                    <a:pt x="229" y="47"/>
                  </a:lnTo>
                  <a:lnTo>
                    <a:pt x="231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41" y="43"/>
                  </a:lnTo>
                  <a:lnTo>
                    <a:pt x="242" y="43"/>
                  </a:lnTo>
                  <a:lnTo>
                    <a:pt x="244" y="42"/>
                  </a:lnTo>
                  <a:lnTo>
                    <a:pt x="245" y="42"/>
                  </a:lnTo>
                  <a:lnTo>
                    <a:pt x="247" y="42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0" y="41"/>
                  </a:lnTo>
                  <a:lnTo>
                    <a:pt x="251" y="42"/>
                  </a:lnTo>
                  <a:lnTo>
                    <a:pt x="252" y="42"/>
                  </a:lnTo>
                  <a:lnTo>
                    <a:pt x="253" y="43"/>
                  </a:lnTo>
                  <a:lnTo>
                    <a:pt x="254" y="43"/>
                  </a:lnTo>
                  <a:lnTo>
                    <a:pt x="255" y="44"/>
                  </a:lnTo>
                  <a:lnTo>
                    <a:pt x="256" y="45"/>
                  </a:lnTo>
                  <a:lnTo>
                    <a:pt x="257" y="45"/>
                  </a:lnTo>
                  <a:lnTo>
                    <a:pt x="257" y="46"/>
                  </a:lnTo>
                  <a:lnTo>
                    <a:pt x="258" y="47"/>
                  </a:lnTo>
                  <a:lnTo>
                    <a:pt x="259" y="49"/>
                  </a:lnTo>
                  <a:lnTo>
                    <a:pt x="259" y="49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1" y="54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2" y="61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0"/>
                  </a:lnTo>
                  <a:lnTo>
                    <a:pt x="261" y="7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0" y="75"/>
                  </a:lnTo>
                  <a:lnTo>
                    <a:pt x="260" y="76"/>
                  </a:lnTo>
                  <a:lnTo>
                    <a:pt x="261" y="76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2" y="78"/>
                  </a:lnTo>
                  <a:lnTo>
                    <a:pt x="262" y="79"/>
                  </a:lnTo>
                  <a:lnTo>
                    <a:pt x="263" y="79"/>
                  </a:lnTo>
                  <a:lnTo>
                    <a:pt x="264" y="79"/>
                  </a:lnTo>
                  <a:lnTo>
                    <a:pt x="265" y="80"/>
                  </a:lnTo>
                  <a:lnTo>
                    <a:pt x="266" y="80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8" y="80"/>
                  </a:lnTo>
                  <a:lnTo>
                    <a:pt x="269" y="79"/>
                  </a:lnTo>
                  <a:lnTo>
                    <a:pt x="270" y="79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5" y="76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4"/>
                  </a:lnTo>
                  <a:lnTo>
                    <a:pt x="277" y="74"/>
                  </a:lnTo>
                  <a:lnTo>
                    <a:pt x="277" y="73"/>
                  </a:lnTo>
                  <a:lnTo>
                    <a:pt x="278" y="72"/>
                  </a:lnTo>
                  <a:lnTo>
                    <a:pt x="280" y="68"/>
                  </a:lnTo>
                  <a:lnTo>
                    <a:pt x="281" y="65"/>
                  </a:lnTo>
                  <a:lnTo>
                    <a:pt x="282" y="64"/>
                  </a:lnTo>
                  <a:lnTo>
                    <a:pt x="283" y="62"/>
                  </a:lnTo>
                  <a:lnTo>
                    <a:pt x="285" y="61"/>
                  </a:lnTo>
                  <a:lnTo>
                    <a:pt x="286" y="59"/>
                  </a:lnTo>
                  <a:lnTo>
                    <a:pt x="287" y="58"/>
                  </a:lnTo>
                  <a:lnTo>
                    <a:pt x="289" y="57"/>
                  </a:lnTo>
                  <a:lnTo>
                    <a:pt x="290" y="56"/>
                  </a:lnTo>
                  <a:lnTo>
                    <a:pt x="291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3" y="54"/>
                  </a:lnTo>
                  <a:lnTo>
                    <a:pt x="295" y="54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8" y="55"/>
                  </a:lnTo>
                  <a:lnTo>
                    <a:pt x="299" y="56"/>
                  </a:lnTo>
                  <a:lnTo>
                    <a:pt x="304" y="58"/>
                  </a:lnTo>
                  <a:lnTo>
                    <a:pt x="305" y="58"/>
                  </a:lnTo>
                  <a:lnTo>
                    <a:pt x="306" y="59"/>
                  </a:lnTo>
                  <a:lnTo>
                    <a:pt x="307" y="60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8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20" y="66"/>
                  </a:lnTo>
                  <a:lnTo>
                    <a:pt x="321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5" y="61"/>
                  </a:lnTo>
                  <a:lnTo>
                    <a:pt x="326" y="57"/>
                  </a:lnTo>
                  <a:lnTo>
                    <a:pt x="327" y="55"/>
                  </a:lnTo>
                  <a:lnTo>
                    <a:pt x="328" y="54"/>
                  </a:lnTo>
                  <a:lnTo>
                    <a:pt x="329" y="53"/>
                  </a:lnTo>
                  <a:lnTo>
                    <a:pt x="329" y="53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1"/>
                  </a:lnTo>
                  <a:lnTo>
                    <a:pt x="331" y="51"/>
                  </a:lnTo>
                  <a:lnTo>
                    <a:pt x="332" y="50"/>
                  </a:lnTo>
                  <a:lnTo>
                    <a:pt x="332" y="50"/>
                  </a:lnTo>
                  <a:lnTo>
                    <a:pt x="333" y="50"/>
                  </a:lnTo>
                  <a:lnTo>
                    <a:pt x="334" y="50"/>
                  </a:lnTo>
                  <a:lnTo>
                    <a:pt x="335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9" y="50"/>
                  </a:lnTo>
                  <a:lnTo>
                    <a:pt x="340" y="50"/>
                  </a:lnTo>
                  <a:lnTo>
                    <a:pt x="341" y="50"/>
                  </a:lnTo>
                  <a:lnTo>
                    <a:pt x="345" y="51"/>
                  </a:lnTo>
                  <a:lnTo>
                    <a:pt x="346" y="51"/>
                  </a:lnTo>
                  <a:lnTo>
                    <a:pt x="347" y="51"/>
                  </a:lnTo>
                  <a:lnTo>
                    <a:pt x="348" y="52"/>
                  </a:lnTo>
                  <a:lnTo>
                    <a:pt x="350" y="52"/>
                  </a:lnTo>
                  <a:lnTo>
                    <a:pt x="353" y="52"/>
                  </a:lnTo>
                  <a:lnTo>
                    <a:pt x="354" y="52"/>
                  </a:lnTo>
                  <a:lnTo>
                    <a:pt x="356" y="52"/>
                  </a:lnTo>
                  <a:lnTo>
                    <a:pt x="357" y="52"/>
                  </a:lnTo>
                  <a:lnTo>
                    <a:pt x="358" y="52"/>
                  </a:lnTo>
                  <a:lnTo>
                    <a:pt x="359" y="53"/>
                  </a:lnTo>
                  <a:lnTo>
                    <a:pt x="360" y="53"/>
                  </a:lnTo>
                  <a:lnTo>
                    <a:pt x="361" y="54"/>
                  </a:lnTo>
                  <a:lnTo>
                    <a:pt x="362" y="55"/>
                  </a:lnTo>
                  <a:lnTo>
                    <a:pt x="365" y="57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9" y="61"/>
                  </a:lnTo>
                  <a:lnTo>
                    <a:pt x="371" y="64"/>
                  </a:lnTo>
                  <a:lnTo>
                    <a:pt x="374" y="67"/>
                  </a:lnTo>
                  <a:lnTo>
                    <a:pt x="376" y="69"/>
                  </a:lnTo>
                  <a:lnTo>
                    <a:pt x="378" y="71"/>
                  </a:lnTo>
                  <a:lnTo>
                    <a:pt x="381" y="74"/>
                  </a:lnTo>
                  <a:lnTo>
                    <a:pt x="383" y="76"/>
                  </a:lnTo>
                  <a:lnTo>
                    <a:pt x="385" y="78"/>
                  </a:lnTo>
                  <a:lnTo>
                    <a:pt x="386" y="80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90"/>
                  </a:lnTo>
                  <a:lnTo>
                    <a:pt x="389" y="90"/>
                  </a:lnTo>
                  <a:lnTo>
                    <a:pt x="388" y="91"/>
                  </a:lnTo>
                  <a:lnTo>
                    <a:pt x="388" y="92"/>
                  </a:lnTo>
                  <a:lnTo>
                    <a:pt x="386" y="93"/>
                  </a:lnTo>
                  <a:lnTo>
                    <a:pt x="384" y="95"/>
                  </a:lnTo>
                  <a:lnTo>
                    <a:pt x="384" y="96"/>
                  </a:lnTo>
                  <a:lnTo>
                    <a:pt x="383" y="96"/>
                  </a:lnTo>
                  <a:lnTo>
                    <a:pt x="383" y="97"/>
                  </a:lnTo>
                  <a:lnTo>
                    <a:pt x="382" y="98"/>
                  </a:lnTo>
                  <a:lnTo>
                    <a:pt x="381" y="101"/>
                  </a:lnTo>
                  <a:lnTo>
                    <a:pt x="381" y="103"/>
                  </a:lnTo>
                  <a:lnTo>
                    <a:pt x="380" y="104"/>
                  </a:lnTo>
                  <a:lnTo>
                    <a:pt x="379" y="107"/>
                  </a:lnTo>
                  <a:lnTo>
                    <a:pt x="378" y="108"/>
                  </a:lnTo>
                  <a:lnTo>
                    <a:pt x="378" y="109"/>
                  </a:lnTo>
                  <a:lnTo>
                    <a:pt x="378" y="111"/>
                  </a:lnTo>
                  <a:lnTo>
                    <a:pt x="378" y="112"/>
                  </a:lnTo>
                  <a:lnTo>
                    <a:pt x="377" y="113"/>
                  </a:lnTo>
                  <a:lnTo>
                    <a:pt x="377" y="114"/>
                  </a:lnTo>
                  <a:lnTo>
                    <a:pt x="376" y="116"/>
                  </a:lnTo>
                  <a:lnTo>
                    <a:pt x="375" y="117"/>
                  </a:lnTo>
                  <a:lnTo>
                    <a:pt x="373" y="118"/>
                  </a:lnTo>
                  <a:lnTo>
                    <a:pt x="370" y="122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7" y="125"/>
                  </a:lnTo>
                  <a:lnTo>
                    <a:pt x="366" y="125"/>
                  </a:lnTo>
                  <a:lnTo>
                    <a:pt x="366" y="126"/>
                  </a:lnTo>
                  <a:lnTo>
                    <a:pt x="365" y="126"/>
                  </a:lnTo>
                  <a:lnTo>
                    <a:pt x="364" y="126"/>
                  </a:lnTo>
                  <a:lnTo>
                    <a:pt x="363" y="127"/>
                  </a:lnTo>
                  <a:lnTo>
                    <a:pt x="362" y="127"/>
                  </a:lnTo>
                  <a:lnTo>
                    <a:pt x="361" y="127"/>
                  </a:lnTo>
                  <a:lnTo>
                    <a:pt x="359" y="126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6" y="127"/>
                  </a:lnTo>
                  <a:lnTo>
                    <a:pt x="355" y="127"/>
                  </a:lnTo>
                  <a:lnTo>
                    <a:pt x="355" y="127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2" y="130"/>
                  </a:lnTo>
                  <a:lnTo>
                    <a:pt x="350" y="132"/>
                  </a:lnTo>
                  <a:lnTo>
                    <a:pt x="349" y="133"/>
                  </a:lnTo>
                  <a:lnTo>
                    <a:pt x="348" y="134"/>
                  </a:lnTo>
                  <a:lnTo>
                    <a:pt x="347" y="135"/>
                  </a:lnTo>
                  <a:lnTo>
                    <a:pt x="346" y="135"/>
                  </a:lnTo>
                  <a:lnTo>
                    <a:pt x="345" y="135"/>
                  </a:lnTo>
                  <a:lnTo>
                    <a:pt x="343" y="136"/>
                  </a:lnTo>
                  <a:lnTo>
                    <a:pt x="343" y="136"/>
                  </a:lnTo>
                  <a:lnTo>
                    <a:pt x="342" y="136"/>
                  </a:lnTo>
                  <a:lnTo>
                    <a:pt x="341" y="137"/>
                  </a:lnTo>
                  <a:lnTo>
                    <a:pt x="339" y="138"/>
                  </a:lnTo>
                  <a:lnTo>
                    <a:pt x="338" y="139"/>
                  </a:lnTo>
                  <a:lnTo>
                    <a:pt x="337" y="139"/>
                  </a:lnTo>
                  <a:lnTo>
                    <a:pt x="337" y="140"/>
                  </a:lnTo>
                  <a:lnTo>
                    <a:pt x="335" y="141"/>
                  </a:lnTo>
                  <a:lnTo>
                    <a:pt x="335" y="142"/>
                  </a:lnTo>
                  <a:lnTo>
                    <a:pt x="334" y="143"/>
                  </a:lnTo>
                  <a:lnTo>
                    <a:pt x="332" y="144"/>
                  </a:lnTo>
                  <a:lnTo>
                    <a:pt x="332" y="144"/>
                  </a:lnTo>
                  <a:lnTo>
                    <a:pt x="331" y="145"/>
                  </a:lnTo>
                  <a:lnTo>
                    <a:pt x="330" y="146"/>
                  </a:lnTo>
                  <a:lnTo>
                    <a:pt x="330" y="147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28" y="151"/>
                  </a:lnTo>
                  <a:lnTo>
                    <a:pt x="328" y="152"/>
                  </a:lnTo>
                  <a:lnTo>
                    <a:pt x="327" y="152"/>
                  </a:lnTo>
                  <a:lnTo>
                    <a:pt x="327" y="152"/>
                  </a:lnTo>
                  <a:lnTo>
                    <a:pt x="326" y="152"/>
                  </a:lnTo>
                  <a:lnTo>
                    <a:pt x="325" y="152"/>
                  </a:lnTo>
                  <a:lnTo>
                    <a:pt x="325" y="152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3" y="154"/>
                  </a:lnTo>
                  <a:lnTo>
                    <a:pt x="323" y="154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60"/>
                  </a:lnTo>
                  <a:lnTo>
                    <a:pt x="322" y="160"/>
                  </a:lnTo>
                  <a:lnTo>
                    <a:pt x="323" y="161"/>
                  </a:lnTo>
                  <a:lnTo>
                    <a:pt x="324" y="164"/>
                  </a:lnTo>
                  <a:lnTo>
                    <a:pt x="325" y="166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8" y="168"/>
                  </a:lnTo>
                  <a:lnTo>
                    <a:pt x="329" y="169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2" y="170"/>
                  </a:lnTo>
                  <a:lnTo>
                    <a:pt x="333" y="171"/>
                  </a:lnTo>
                  <a:lnTo>
                    <a:pt x="334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7" y="176"/>
                  </a:lnTo>
                  <a:lnTo>
                    <a:pt x="338" y="176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40" y="180"/>
                  </a:lnTo>
                  <a:lnTo>
                    <a:pt x="342" y="181"/>
                  </a:lnTo>
                  <a:lnTo>
                    <a:pt x="342" y="182"/>
                  </a:lnTo>
                  <a:lnTo>
                    <a:pt x="343" y="183"/>
                  </a:lnTo>
                  <a:lnTo>
                    <a:pt x="344" y="184"/>
                  </a:lnTo>
                  <a:lnTo>
                    <a:pt x="344" y="185"/>
                  </a:lnTo>
                  <a:lnTo>
                    <a:pt x="345" y="185"/>
                  </a:lnTo>
                  <a:lnTo>
                    <a:pt x="346" y="186"/>
                  </a:lnTo>
                  <a:lnTo>
                    <a:pt x="346" y="186"/>
                  </a:lnTo>
                  <a:lnTo>
                    <a:pt x="347" y="186"/>
                  </a:lnTo>
                  <a:lnTo>
                    <a:pt x="348" y="186"/>
                  </a:lnTo>
                  <a:lnTo>
                    <a:pt x="348" y="186"/>
                  </a:lnTo>
                  <a:lnTo>
                    <a:pt x="349" y="185"/>
                  </a:lnTo>
                  <a:lnTo>
                    <a:pt x="352" y="184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4" y="183"/>
                  </a:lnTo>
                  <a:lnTo>
                    <a:pt x="355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9" y="183"/>
                  </a:lnTo>
                  <a:lnTo>
                    <a:pt x="361" y="183"/>
                  </a:lnTo>
                  <a:lnTo>
                    <a:pt x="362" y="183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5" y="184"/>
                  </a:lnTo>
                  <a:lnTo>
                    <a:pt x="366" y="184"/>
                  </a:lnTo>
                  <a:lnTo>
                    <a:pt x="367" y="185"/>
                  </a:lnTo>
                  <a:lnTo>
                    <a:pt x="368" y="185"/>
                  </a:lnTo>
                  <a:lnTo>
                    <a:pt x="368" y="185"/>
                  </a:lnTo>
                  <a:lnTo>
                    <a:pt x="368" y="186"/>
                  </a:lnTo>
                  <a:lnTo>
                    <a:pt x="369" y="187"/>
                  </a:lnTo>
                  <a:lnTo>
                    <a:pt x="370" y="189"/>
                  </a:lnTo>
                  <a:lnTo>
                    <a:pt x="370" y="190"/>
                  </a:lnTo>
                  <a:lnTo>
                    <a:pt x="371" y="194"/>
                  </a:lnTo>
                  <a:lnTo>
                    <a:pt x="372" y="196"/>
                  </a:lnTo>
                  <a:lnTo>
                    <a:pt x="372" y="197"/>
                  </a:lnTo>
                  <a:lnTo>
                    <a:pt x="373" y="198"/>
                  </a:lnTo>
                  <a:lnTo>
                    <a:pt x="373" y="200"/>
                  </a:lnTo>
                  <a:lnTo>
                    <a:pt x="374" y="201"/>
                  </a:lnTo>
                  <a:lnTo>
                    <a:pt x="375" y="203"/>
                  </a:lnTo>
                  <a:lnTo>
                    <a:pt x="376" y="203"/>
                  </a:lnTo>
                  <a:lnTo>
                    <a:pt x="377" y="205"/>
                  </a:lnTo>
                  <a:lnTo>
                    <a:pt x="378" y="205"/>
                  </a:lnTo>
                  <a:lnTo>
                    <a:pt x="379" y="206"/>
                  </a:lnTo>
                  <a:lnTo>
                    <a:pt x="380" y="207"/>
                  </a:lnTo>
                  <a:lnTo>
                    <a:pt x="381" y="208"/>
                  </a:lnTo>
                  <a:lnTo>
                    <a:pt x="382" y="208"/>
                  </a:lnTo>
                  <a:lnTo>
                    <a:pt x="383" y="208"/>
                  </a:lnTo>
                  <a:lnTo>
                    <a:pt x="386" y="208"/>
                  </a:lnTo>
                  <a:lnTo>
                    <a:pt x="387" y="209"/>
                  </a:lnTo>
                  <a:lnTo>
                    <a:pt x="388" y="209"/>
                  </a:lnTo>
                  <a:lnTo>
                    <a:pt x="389" y="210"/>
                  </a:lnTo>
                  <a:lnTo>
                    <a:pt x="390" y="210"/>
                  </a:lnTo>
                  <a:lnTo>
                    <a:pt x="391" y="211"/>
                  </a:lnTo>
                  <a:lnTo>
                    <a:pt x="392" y="212"/>
                  </a:lnTo>
                  <a:lnTo>
                    <a:pt x="394" y="213"/>
                  </a:lnTo>
                  <a:lnTo>
                    <a:pt x="395" y="215"/>
                  </a:lnTo>
                  <a:lnTo>
                    <a:pt x="397" y="218"/>
                  </a:lnTo>
                  <a:lnTo>
                    <a:pt x="399" y="220"/>
                  </a:lnTo>
                  <a:lnTo>
                    <a:pt x="400" y="222"/>
                  </a:lnTo>
                  <a:lnTo>
                    <a:pt x="402" y="225"/>
                  </a:lnTo>
                  <a:lnTo>
                    <a:pt x="404" y="229"/>
                  </a:lnTo>
                  <a:lnTo>
                    <a:pt x="406" y="231"/>
                  </a:lnTo>
                  <a:lnTo>
                    <a:pt x="408" y="234"/>
                  </a:lnTo>
                  <a:lnTo>
                    <a:pt x="409" y="234"/>
                  </a:lnTo>
                  <a:lnTo>
                    <a:pt x="410" y="235"/>
                  </a:lnTo>
                  <a:lnTo>
                    <a:pt x="413" y="238"/>
                  </a:lnTo>
                  <a:lnTo>
                    <a:pt x="416" y="243"/>
                  </a:lnTo>
                  <a:lnTo>
                    <a:pt x="417" y="244"/>
                  </a:lnTo>
                  <a:lnTo>
                    <a:pt x="418" y="245"/>
                  </a:lnTo>
                  <a:lnTo>
                    <a:pt x="419" y="246"/>
                  </a:lnTo>
                  <a:lnTo>
                    <a:pt x="422" y="248"/>
                  </a:lnTo>
                  <a:lnTo>
                    <a:pt x="423" y="249"/>
                  </a:lnTo>
                  <a:lnTo>
                    <a:pt x="423" y="249"/>
                  </a:lnTo>
                  <a:lnTo>
                    <a:pt x="424" y="250"/>
                  </a:lnTo>
                  <a:lnTo>
                    <a:pt x="425" y="252"/>
                  </a:lnTo>
                  <a:lnTo>
                    <a:pt x="426" y="253"/>
                  </a:lnTo>
                  <a:lnTo>
                    <a:pt x="426" y="254"/>
                  </a:lnTo>
                  <a:lnTo>
                    <a:pt x="427" y="255"/>
                  </a:lnTo>
                  <a:lnTo>
                    <a:pt x="428" y="256"/>
                  </a:lnTo>
                  <a:lnTo>
                    <a:pt x="428" y="259"/>
                  </a:lnTo>
                  <a:lnTo>
                    <a:pt x="429" y="260"/>
                  </a:lnTo>
                  <a:lnTo>
                    <a:pt x="429" y="262"/>
                  </a:lnTo>
                  <a:lnTo>
                    <a:pt x="429" y="266"/>
                  </a:lnTo>
                  <a:lnTo>
                    <a:pt x="429" y="269"/>
                  </a:lnTo>
                  <a:lnTo>
                    <a:pt x="430" y="271"/>
                  </a:lnTo>
                  <a:lnTo>
                    <a:pt x="430" y="273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2" y="281"/>
                  </a:lnTo>
                  <a:lnTo>
                    <a:pt x="433" y="283"/>
                  </a:lnTo>
                  <a:lnTo>
                    <a:pt x="435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6" y="291"/>
                  </a:lnTo>
                  <a:lnTo>
                    <a:pt x="435" y="291"/>
                  </a:lnTo>
                  <a:lnTo>
                    <a:pt x="434" y="291"/>
                  </a:lnTo>
                  <a:lnTo>
                    <a:pt x="433" y="291"/>
                  </a:lnTo>
                  <a:lnTo>
                    <a:pt x="431" y="290"/>
                  </a:lnTo>
                  <a:lnTo>
                    <a:pt x="430" y="290"/>
                  </a:lnTo>
                  <a:lnTo>
                    <a:pt x="425" y="288"/>
                  </a:lnTo>
                  <a:lnTo>
                    <a:pt x="423" y="287"/>
                  </a:lnTo>
                  <a:lnTo>
                    <a:pt x="421" y="286"/>
                  </a:lnTo>
                  <a:lnTo>
                    <a:pt x="420" y="285"/>
                  </a:lnTo>
                  <a:lnTo>
                    <a:pt x="417" y="284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4" y="282"/>
                  </a:lnTo>
                  <a:lnTo>
                    <a:pt x="414" y="282"/>
                  </a:lnTo>
                  <a:lnTo>
                    <a:pt x="413" y="282"/>
                  </a:lnTo>
                  <a:lnTo>
                    <a:pt x="412" y="282"/>
                  </a:lnTo>
                  <a:lnTo>
                    <a:pt x="412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9" y="283"/>
                  </a:lnTo>
                  <a:lnTo>
                    <a:pt x="408" y="283"/>
                  </a:lnTo>
                  <a:lnTo>
                    <a:pt x="408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7" y="286"/>
                  </a:lnTo>
                  <a:lnTo>
                    <a:pt x="405" y="289"/>
                  </a:lnTo>
                  <a:lnTo>
                    <a:pt x="404" y="291"/>
                  </a:lnTo>
                  <a:lnTo>
                    <a:pt x="404" y="292"/>
                  </a:lnTo>
                  <a:lnTo>
                    <a:pt x="403" y="293"/>
                  </a:lnTo>
                  <a:lnTo>
                    <a:pt x="402" y="293"/>
                  </a:lnTo>
                  <a:lnTo>
                    <a:pt x="401" y="294"/>
                  </a:lnTo>
                  <a:lnTo>
                    <a:pt x="400" y="295"/>
                  </a:lnTo>
                  <a:lnTo>
                    <a:pt x="399" y="296"/>
                  </a:lnTo>
                  <a:lnTo>
                    <a:pt x="398" y="297"/>
                  </a:lnTo>
                  <a:lnTo>
                    <a:pt x="396" y="297"/>
                  </a:lnTo>
                  <a:lnTo>
                    <a:pt x="394" y="298"/>
                  </a:lnTo>
                  <a:lnTo>
                    <a:pt x="392" y="300"/>
                  </a:lnTo>
                  <a:lnTo>
                    <a:pt x="392" y="300"/>
                  </a:lnTo>
                  <a:lnTo>
                    <a:pt x="390" y="301"/>
                  </a:lnTo>
                  <a:lnTo>
                    <a:pt x="390" y="301"/>
                  </a:lnTo>
                  <a:lnTo>
                    <a:pt x="387" y="303"/>
                  </a:lnTo>
                  <a:lnTo>
                    <a:pt x="384" y="304"/>
                  </a:lnTo>
                  <a:lnTo>
                    <a:pt x="382" y="305"/>
                  </a:lnTo>
                  <a:lnTo>
                    <a:pt x="381" y="305"/>
                  </a:lnTo>
                  <a:lnTo>
                    <a:pt x="380" y="306"/>
                  </a:lnTo>
                  <a:lnTo>
                    <a:pt x="378" y="308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2" y="312"/>
                  </a:lnTo>
                  <a:lnTo>
                    <a:pt x="371" y="312"/>
                  </a:lnTo>
                  <a:lnTo>
                    <a:pt x="370" y="313"/>
                  </a:lnTo>
                  <a:lnTo>
                    <a:pt x="369" y="314"/>
                  </a:lnTo>
                  <a:lnTo>
                    <a:pt x="368" y="315"/>
                  </a:lnTo>
                  <a:lnTo>
                    <a:pt x="368" y="316"/>
                  </a:lnTo>
                  <a:lnTo>
                    <a:pt x="368" y="316"/>
                  </a:lnTo>
                  <a:lnTo>
                    <a:pt x="367" y="317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2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4"/>
                  </a:lnTo>
                  <a:lnTo>
                    <a:pt x="365" y="325"/>
                  </a:lnTo>
                  <a:lnTo>
                    <a:pt x="364" y="326"/>
                  </a:lnTo>
                  <a:lnTo>
                    <a:pt x="362" y="327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0" y="331"/>
                  </a:lnTo>
                  <a:lnTo>
                    <a:pt x="360" y="332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7"/>
                  </a:lnTo>
                  <a:lnTo>
                    <a:pt x="360" y="337"/>
                  </a:lnTo>
                  <a:lnTo>
                    <a:pt x="360" y="337"/>
                  </a:lnTo>
                  <a:lnTo>
                    <a:pt x="359" y="337"/>
                  </a:lnTo>
                  <a:lnTo>
                    <a:pt x="359" y="338"/>
                  </a:lnTo>
                  <a:lnTo>
                    <a:pt x="358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5" y="337"/>
                  </a:lnTo>
                  <a:lnTo>
                    <a:pt x="353" y="337"/>
                  </a:lnTo>
                  <a:lnTo>
                    <a:pt x="352" y="336"/>
                  </a:lnTo>
                  <a:lnTo>
                    <a:pt x="351" y="336"/>
                  </a:lnTo>
                  <a:lnTo>
                    <a:pt x="350" y="336"/>
                  </a:lnTo>
                  <a:lnTo>
                    <a:pt x="349" y="336"/>
                  </a:lnTo>
                  <a:lnTo>
                    <a:pt x="347" y="337"/>
                  </a:lnTo>
                  <a:lnTo>
                    <a:pt x="344" y="337"/>
                  </a:lnTo>
                  <a:lnTo>
                    <a:pt x="343" y="337"/>
                  </a:lnTo>
                  <a:lnTo>
                    <a:pt x="341" y="337"/>
                  </a:lnTo>
                  <a:lnTo>
                    <a:pt x="341" y="337"/>
                  </a:lnTo>
                  <a:lnTo>
                    <a:pt x="340" y="337"/>
                  </a:lnTo>
                  <a:lnTo>
                    <a:pt x="339" y="336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6" y="336"/>
                  </a:lnTo>
                  <a:lnTo>
                    <a:pt x="334" y="337"/>
                  </a:lnTo>
                  <a:lnTo>
                    <a:pt x="333" y="337"/>
                  </a:lnTo>
                  <a:lnTo>
                    <a:pt x="332" y="338"/>
                  </a:lnTo>
                  <a:lnTo>
                    <a:pt x="329" y="338"/>
                  </a:lnTo>
                  <a:lnTo>
                    <a:pt x="327" y="339"/>
                  </a:lnTo>
                  <a:lnTo>
                    <a:pt x="326" y="339"/>
                  </a:lnTo>
                  <a:lnTo>
                    <a:pt x="325" y="339"/>
                  </a:lnTo>
                  <a:lnTo>
                    <a:pt x="324" y="339"/>
                  </a:lnTo>
                  <a:lnTo>
                    <a:pt x="324" y="339"/>
                  </a:lnTo>
                  <a:lnTo>
                    <a:pt x="323" y="338"/>
                  </a:lnTo>
                  <a:lnTo>
                    <a:pt x="322" y="338"/>
                  </a:lnTo>
                  <a:lnTo>
                    <a:pt x="321" y="337"/>
                  </a:lnTo>
                  <a:lnTo>
                    <a:pt x="320" y="337"/>
                  </a:lnTo>
                  <a:lnTo>
                    <a:pt x="316" y="334"/>
                  </a:lnTo>
                  <a:lnTo>
                    <a:pt x="315" y="333"/>
                  </a:lnTo>
                  <a:lnTo>
                    <a:pt x="314" y="332"/>
                  </a:lnTo>
                  <a:lnTo>
                    <a:pt x="313" y="331"/>
                  </a:lnTo>
                  <a:lnTo>
                    <a:pt x="311" y="331"/>
                  </a:lnTo>
                  <a:lnTo>
                    <a:pt x="309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300" y="324"/>
                  </a:lnTo>
                  <a:lnTo>
                    <a:pt x="299" y="323"/>
                  </a:lnTo>
                  <a:lnTo>
                    <a:pt x="298" y="323"/>
                  </a:lnTo>
                  <a:lnTo>
                    <a:pt x="297" y="322"/>
                  </a:lnTo>
                  <a:lnTo>
                    <a:pt x="296" y="322"/>
                  </a:lnTo>
                  <a:lnTo>
                    <a:pt x="293" y="320"/>
                  </a:lnTo>
                  <a:lnTo>
                    <a:pt x="291" y="320"/>
                  </a:lnTo>
                  <a:lnTo>
                    <a:pt x="290" y="319"/>
                  </a:lnTo>
                  <a:lnTo>
                    <a:pt x="289" y="318"/>
                  </a:lnTo>
                  <a:lnTo>
                    <a:pt x="288" y="317"/>
                  </a:lnTo>
                  <a:lnTo>
                    <a:pt x="287" y="316"/>
                  </a:lnTo>
                  <a:lnTo>
                    <a:pt x="286" y="315"/>
                  </a:lnTo>
                  <a:lnTo>
                    <a:pt x="284" y="312"/>
                  </a:lnTo>
                  <a:lnTo>
                    <a:pt x="282" y="311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81" y="310"/>
                  </a:lnTo>
                  <a:lnTo>
                    <a:pt x="279" y="309"/>
                  </a:lnTo>
                  <a:lnTo>
                    <a:pt x="278" y="308"/>
                  </a:lnTo>
                  <a:lnTo>
                    <a:pt x="277" y="308"/>
                  </a:lnTo>
                  <a:lnTo>
                    <a:pt x="274" y="307"/>
                  </a:lnTo>
                  <a:lnTo>
                    <a:pt x="272" y="307"/>
                  </a:lnTo>
                  <a:lnTo>
                    <a:pt x="271" y="306"/>
                  </a:lnTo>
                  <a:lnTo>
                    <a:pt x="270" y="306"/>
                  </a:lnTo>
                  <a:lnTo>
                    <a:pt x="270" y="305"/>
                  </a:lnTo>
                  <a:lnTo>
                    <a:pt x="269" y="305"/>
                  </a:lnTo>
                  <a:lnTo>
                    <a:pt x="269" y="304"/>
                  </a:lnTo>
                  <a:lnTo>
                    <a:pt x="268" y="303"/>
                  </a:lnTo>
                  <a:lnTo>
                    <a:pt x="268" y="302"/>
                  </a:lnTo>
                  <a:lnTo>
                    <a:pt x="267" y="301"/>
                  </a:lnTo>
                  <a:lnTo>
                    <a:pt x="266" y="297"/>
                  </a:lnTo>
                  <a:lnTo>
                    <a:pt x="266" y="296"/>
                  </a:lnTo>
                  <a:lnTo>
                    <a:pt x="265" y="295"/>
                  </a:lnTo>
                  <a:lnTo>
                    <a:pt x="265" y="294"/>
                  </a:lnTo>
                  <a:lnTo>
                    <a:pt x="264" y="294"/>
                  </a:lnTo>
                  <a:lnTo>
                    <a:pt x="264" y="293"/>
                  </a:lnTo>
                  <a:lnTo>
                    <a:pt x="263" y="293"/>
                  </a:lnTo>
                  <a:lnTo>
                    <a:pt x="261" y="290"/>
                  </a:lnTo>
                  <a:lnTo>
                    <a:pt x="261" y="289"/>
                  </a:lnTo>
                  <a:lnTo>
                    <a:pt x="260" y="289"/>
                  </a:lnTo>
                  <a:lnTo>
                    <a:pt x="259" y="288"/>
                  </a:lnTo>
                  <a:lnTo>
                    <a:pt x="258" y="288"/>
                  </a:lnTo>
                  <a:lnTo>
                    <a:pt x="257" y="287"/>
                  </a:lnTo>
                  <a:lnTo>
                    <a:pt x="255" y="287"/>
                  </a:lnTo>
                  <a:lnTo>
                    <a:pt x="252" y="286"/>
                  </a:lnTo>
                  <a:lnTo>
                    <a:pt x="248" y="285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2" y="283"/>
                  </a:lnTo>
                  <a:lnTo>
                    <a:pt x="241" y="283"/>
                  </a:lnTo>
                  <a:lnTo>
                    <a:pt x="240" y="283"/>
                  </a:lnTo>
                  <a:lnTo>
                    <a:pt x="239" y="283"/>
                  </a:lnTo>
                  <a:lnTo>
                    <a:pt x="238" y="284"/>
                  </a:lnTo>
                  <a:lnTo>
                    <a:pt x="236" y="285"/>
                  </a:lnTo>
                  <a:lnTo>
                    <a:pt x="234" y="285"/>
                  </a:lnTo>
                  <a:lnTo>
                    <a:pt x="233" y="286"/>
                  </a:lnTo>
                  <a:lnTo>
                    <a:pt x="232" y="287"/>
                  </a:lnTo>
                  <a:lnTo>
                    <a:pt x="232" y="287"/>
                  </a:lnTo>
                  <a:lnTo>
                    <a:pt x="229" y="290"/>
                  </a:lnTo>
                  <a:lnTo>
                    <a:pt x="228" y="290"/>
                  </a:lnTo>
                  <a:lnTo>
                    <a:pt x="228" y="291"/>
                  </a:lnTo>
                  <a:lnTo>
                    <a:pt x="227" y="291"/>
                  </a:lnTo>
                  <a:lnTo>
                    <a:pt x="226" y="292"/>
                  </a:lnTo>
                  <a:lnTo>
                    <a:pt x="223" y="293"/>
                  </a:lnTo>
                  <a:lnTo>
                    <a:pt x="222" y="294"/>
                  </a:lnTo>
                  <a:lnTo>
                    <a:pt x="221" y="294"/>
                  </a:lnTo>
                  <a:lnTo>
                    <a:pt x="218" y="296"/>
                  </a:lnTo>
                  <a:lnTo>
                    <a:pt x="217" y="297"/>
                  </a:lnTo>
                  <a:lnTo>
                    <a:pt x="216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3" y="297"/>
                  </a:lnTo>
                  <a:lnTo>
                    <a:pt x="212" y="297"/>
                  </a:lnTo>
                  <a:lnTo>
                    <a:pt x="211" y="297"/>
                  </a:lnTo>
                  <a:lnTo>
                    <a:pt x="210" y="297"/>
                  </a:lnTo>
                  <a:lnTo>
                    <a:pt x="210" y="297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5"/>
                  </a:lnTo>
                  <a:lnTo>
                    <a:pt x="207" y="295"/>
                  </a:lnTo>
                  <a:lnTo>
                    <a:pt x="207" y="294"/>
                  </a:lnTo>
                  <a:lnTo>
                    <a:pt x="206" y="293"/>
                  </a:lnTo>
                  <a:lnTo>
                    <a:pt x="206" y="292"/>
                  </a:lnTo>
                  <a:lnTo>
                    <a:pt x="205" y="289"/>
                  </a:lnTo>
                  <a:lnTo>
                    <a:pt x="204" y="287"/>
                  </a:lnTo>
                  <a:lnTo>
                    <a:pt x="204" y="286"/>
                  </a:lnTo>
                  <a:lnTo>
                    <a:pt x="203" y="284"/>
                  </a:lnTo>
                  <a:lnTo>
                    <a:pt x="202" y="283"/>
                  </a:lnTo>
                  <a:lnTo>
                    <a:pt x="201" y="283"/>
                  </a:lnTo>
                  <a:lnTo>
                    <a:pt x="201" y="282"/>
                  </a:lnTo>
                  <a:lnTo>
                    <a:pt x="200" y="282"/>
                  </a:lnTo>
                  <a:lnTo>
                    <a:pt x="200" y="281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6" y="281"/>
                  </a:lnTo>
                  <a:lnTo>
                    <a:pt x="194" y="282"/>
                  </a:lnTo>
                  <a:lnTo>
                    <a:pt x="193" y="283"/>
                  </a:lnTo>
                  <a:lnTo>
                    <a:pt x="192" y="284"/>
                  </a:lnTo>
                  <a:lnTo>
                    <a:pt x="191" y="285"/>
                  </a:lnTo>
                  <a:lnTo>
                    <a:pt x="190" y="286"/>
                  </a:lnTo>
                  <a:lnTo>
                    <a:pt x="189" y="286"/>
                  </a:lnTo>
                  <a:lnTo>
                    <a:pt x="189" y="287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87" y="289"/>
                  </a:lnTo>
                  <a:lnTo>
                    <a:pt x="186" y="292"/>
                  </a:lnTo>
                  <a:lnTo>
                    <a:pt x="186" y="293"/>
                  </a:lnTo>
                  <a:lnTo>
                    <a:pt x="185" y="293"/>
                  </a:lnTo>
                  <a:lnTo>
                    <a:pt x="185" y="294"/>
                  </a:lnTo>
                  <a:lnTo>
                    <a:pt x="184" y="295"/>
                  </a:lnTo>
                  <a:lnTo>
                    <a:pt x="184" y="295"/>
                  </a:lnTo>
                  <a:lnTo>
                    <a:pt x="183" y="296"/>
                  </a:lnTo>
                  <a:lnTo>
                    <a:pt x="182" y="297"/>
                  </a:lnTo>
                  <a:lnTo>
                    <a:pt x="181" y="297"/>
                  </a:lnTo>
                  <a:lnTo>
                    <a:pt x="180" y="297"/>
                  </a:lnTo>
                  <a:lnTo>
                    <a:pt x="178" y="298"/>
                  </a:lnTo>
                  <a:lnTo>
                    <a:pt x="176" y="298"/>
                  </a:lnTo>
                  <a:lnTo>
                    <a:pt x="175" y="299"/>
                  </a:lnTo>
                  <a:lnTo>
                    <a:pt x="172" y="300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68" y="301"/>
                  </a:lnTo>
                  <a:lnTo>
                    <a:pt x="167" y="301"/>
                  </a:lnTo>
                  <a:lnTo>
                    <a:pt x="167" y="301"/>
                  </a:lnTo>
                  <a:lnTo>
                    <a:pt x="165" y="300"/>
                  </a:lnTo>
                  <a:lnTo>
                    <a:pt x="163" y="299"/>
                  </a:lnTo>
                  <a:lnTo>
                    <a:pt x="161" y="299"/>
                  </a:lnTo>
                  <a:lnTo>
                    <a:pt x="161" y="298"/>
                  </a:lnTo>
                  <a:lnTo>
                    <a:pt x="160" y="298"/>
                  </a:lnTo>
                  <a:lnTo>
                    <a:pt x="159" y="298"/>
                  </a:lnTo>
                  <a:lnTo>
                    <a:pt x="158" y="298"/>
                  </a:lnTo>
                  <a:lnTo>
                    <a:pt x="156" y="298"/>
                  </a:lnTo>
                  <a:lnTo>
                    <a:pt x="155" y="298"/>
                  </a:lnTo>
                  <a:lnTo>
                    <a:pt x="153" y="298"/>
                  </a:lnTo>
                  <a:lnTo>
                    <a:pt x="152" y="298"/>
                  </a:lnTo>
                  <a:lnTo>
                    <a:pt x="151" y="298"/>
                  </a:lnTo>
                  <a:lnTo>
                    <a:pt x="148" y="298"/>
                  </a:lnTo>
                  <a:lnTo>
                    <a:pt x="147" y="298"/>
                  </a:lnTo>
                  <a:lnTo>
                    <a:pt x="146" y="298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43" y="298"/>
                  </a:lnTo>
                  <a:lnTo>
                    <a:pt x="142" y="297"/>
                  </a:lnTo>
                  <a:lnTo>
                    <a:pt x="141" y="297"/>
                  </a:lnTo>
                  <a:lnTo>
                    <a:pt x="140" y="297"/>
                  </a:lnTo>
                  <a:lnTo>
                    <a:pt x="139" y="295"/>
                  </a:lnTo>
                  <a:lnTo>
                    <a:pt x="138" y="295"/>
                  </a:lnTo>
                  <a:lnTo>
                    <a:pt x="138" y="295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6" y="294"/>
                  </a:lnTo>
                  <a:lnTo>
                    <a:pt x="135" y="294"/>
                  </a:lnTo>
                  <a:lnTo>
                    <a:pt x="132" y="296"/>
                  </a:lnTo>
                  <a:lnTo>
                    <a:pt x="131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7" y="297"/>
                  </a:lnTo>
                  <a:lnTo>
                    <a:pt x="126" y="298"/>
                  </a:lnTo>
                  <a:lnTo>
                    <a:pt x="125" y="298"/>
                  </a:lnTo>
                  <a:lnTo>
                    <a:pt x="125" y="299"/>
                  </a:lnTo>
                  <a:lnTo>
                    <a:pt x="124" y="299"/>
                  </a:lnTo>
                  <a:lnTo>
                    <a:pt x="123" y="300"/>
                  </a:lnTo>
                  <a:lnTo>
                    <a:pt x="123" y="301"/>
                  </a:lnTo>
                  <a:lnTo>
                    <a:pt x="122" y="301"/>
                  </a:lnTo>
                  <a:lnTo>
                    <a:pt x="122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0" y="305"/>
                  </a:lnTo>
                  <a:lnTo>
                    <a:pt x="120" y="306"/>
                  </a:lnTo>
                  <a:lnTo>
                    <a:pt x="118" y="307"/>
                  </a:lnTo>
                  <a:lnTo>
                    <a:pt x="117" y="308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4" y="309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10" y="312"/>
                  </a:lnTo>
                  <a:lnTo>
                    <a:pt x="109" y="312"/>
                  </a:lnTo>
                  <a:lnTo>
                    <a:pt x="108" y="313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5" y="313"/>
                  </a:lnTo>
                  <a:lnTo>
                    <a:pt x="104" y="314"/>
                  </a:lnTo>
                  <a:lnTo>
                    <a:pt x="103" y="314"/>
                  </a:lnTo>
                  <a:lnTo>
                    <a:pt x="102" y="314"/>
                  </a:lnTo>
                  <a:lnTo>
                    <a:pt x="102" y="314"/>
                  </a:lnTo>
                  <a:lnTo>
                    <a:pt x="101" y="313"/>
                  </a:lnTo>
                  <a:lnTo>
                    <a:pt x="100" y="313"/>
                  </a:lnTo>
                  <a:lnTo>
                    <a:pt x="99" y="313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7" y="312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97" y="307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6" y="303"/>
                  </a:lnTo>
                  <a:lnTo>
                    <a:pt x="96" y="303"/>
                  </a:lnTo>
                  <a:lnTo>
                    <a:pt x="96" y="302"/>
                  </a:lnTo>
                  <a:lnTo>
                    <a:pt x="94" y="302"/>
                  </a:lnTo>
                  <a:lnTo>
                    <a:pt x="93" y="301"/>
                  </a:lnTo>
                  <a:lnTo>
                    <a:pt x="91" y="299"/>
                  </a:lnTo>
                  <a:lnTo>
                    <a:pt x="90" y="299"/>
                  </a:lnTo>
                  <a:lnTo>
                    <a:pt x="89" y="298"/>
                  </a:lnTo>
                  <a:lnTo>
                    <a:pt x="88" y="298"/>
                  </a:lnTo>
                  <a:lnTo>
                    <a:pt x="87" y="298"/>
                  </a:lnTo>
                  <a:lnTo>
                    <a:pt x="85" y="297"/>
                  </a:lnTo>
                  <a:lnTo>
                    <a:pt x="84" y="297"/>
                  </a:lnTo>
                  <a:lnTo>
                    <a:pt x="83" y="297"/>
                  </a:lnTo>
                  <a:lnTo>
                    <a:pt x="79" y="296"/>
                  </a:lnTo>
                  <a:lnTo>
                    <a:pt x="76" y="295"/>
                  </a:lnTo>
                  <a:lnTo>
                    <a:pt x="75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5" y="290"/>
                  </a:lnTo>
                  <a:lnTo>
                    <a:pt x="75" y="290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4" y="287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3"/>
                  </a:lnTo>
                  <a:lnTo>
                    <a:pt x="77" y="282"/>
                  </a:lnTo>
                  <a:lnTo>
                    <a:pt x="78" y="280"/>
                  </a:lnTo>
                  <a:lnTo>
                    <a:pt x="79" y="279"/>
                  </a:lnTo>
                  <a:lnTo>
                    <a:pt x="80" y="278"/>
                  </a:lnTo>
                  <a:lnTo>
                    <a:pt x="81" y="276"/>
                  </a:lnTo>
                  <a:lnTo>
                    <a:pt x="82" y="275"/>
                  </a:lnTo>
                  <a:lnTo>
                    <a:pt x="82" y="274"/>
                  </a:lnTo>
                  <a:lnTo>
                    <a:pt x="83" y="272"/>
                  </a:lnTo>
                  <a:lnTo>
                    <a:pt x="83" y="271"/>
                  </a:lnTo>
                  <a:lnTo>
                    <a:pt x="84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3" y="265"/>
                  </a:lnTo>
                  <a:lnTo>
                    <a:pt x="83" y="264"/>
                  </a:lnTo>
                  <a:lnTo>
                    <a:pt x="82" y="262"/>
                  </a:lnTo>
                  <a:lnTo>
                    <a:pt x="82" y="261"/>
                  </a:lnTo>
                  <a:lnTo>
                    <a:pt x="80" y="259"/>
                  </a:lnTo>
                  <a:lnTo>
                    <a:pt x="79" y="258"/>
                  </a:lnTo>
                  <a:lnTo>
                    <a:pt x="78" y="256"/>
                  </a:lnTo>
                  <a:lnTo>
                    <a:pt x="78" y="255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0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4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8" y="238"/>
                  </a:lnTo>
                  <a:lnTo>
                    <a:pt x="78" y="236"/>
                  </a:lnTo>
                  <a:lnTo>
                    <a:pt x="78" y="234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1"/>
                  </a:lnTo>
                  <a:lnTo>
                    <a:pt x="77" y="231"/>
                  </a:lnTo>
                  <a:lnTo>
                    <a:pt x="77" y="230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3" y="227"/>
                  </a:lnTo>
                  <a:lnTo>
                    <a:pt x="72" y="226"/>
                  </a:lnTo>
                  <a:lnTo>
                    <a:pt x="72" y="225"/>
                  </a:lnTo>
                  <a:lnTo>
                    <a:pt x="71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69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6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59" y="228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2" y="228"/>
                  </a:lnTo>
                  <a:lnTo>
                    <a:pt x="49" y="228"/>
                  </a:lnTo>
                  <a:lnTo>
                    <a:pt x="45" y="227"/>
                  </a:lnTo>
                  <a:lnTo>
                    <a:pt x="44" y="227"/>
                  </a:lnTo>
                  <a:lnTo>
                    <a:pt x="43" y="227"/>
                  </a:lnTo>
                  <a:lnTo>
                    <a:pt x="39" y="228"/>
                  </a:lnTo>
                  <a:lnTo>
                    <a:pt x="38" y="228"/>
                  </a:lnTo>
                  <a:lnTo>
                    <a:pt x="37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7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2" y="226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3"/>
                  </a:lnTo>
                  <a:lnTo>
                    <a:pt x="29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18"/>
                  </a:lnTo>
                  <a:lnTo>
                    <a:pt x="29" y="216"/>
                  </a:lnTo>
                  <a:lnTo>
                    <a:pt x="29" y="215"/>
                  </a:lnTo>
                  <a:lnTo>
                    <a:pt x="28" y="215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5" y="211"/>
                  </a:lnTo>
                  <a:lnTo>
                    <a:pt x="24" y="210"/>
                  </a:lnTo>
                  <a:lnTo>
                    <a:pt x="23" y="209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5"/>
                  </a:lnTo>
                  <a:lnTo>
                    <a:pt x="19" y="205"/>
                  </a:lnTo>
                  <a:lnTo>
                    <a:pt x="18" y="204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5" y="203"/>
                  </a:lnTo>
                  <a:lnTo>
                    <a:pt x="12" y="203"/>
                  </a:lnTo>
                  <a:lnTo>
                    <a:pt x="11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7" y="201"/>
                  </a:lnTo>
                  <a:lnTo>
                    <a:pt x="6" y="201"/>
                  </a:lnTo>
                  <a:lnTo>
                    <a:pt x="6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4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3" y="195"/>
                  </a:lnTo>
                  <a:lnTo>
                    <a:pt x="3" y="194"/>
                  </a:lnTo>
                  <a:lnTo>
                    <a:pt x="2" y="193"/>
                  </a:lnTo>
                  <a:lnTo>
                    <a:pt x="1" y="191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1" y="186"/>
                  </a:lnTo>
                  <a:lnTo>
                    <a:pt x="1" y="186"/>
                  </a:lnTo>
                  <a:lnTo>
                    <a:pt x="1" y="185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1"/>
                  </a:lnTo>
                  <a:lnTo>
                    <a:pt x="7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8" y="177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2" y="163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9" y="156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3"/>
                  </a:lnTo>
                  <a:lnTo>
                    <a:pt x="7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5"/>
                  </a:lnTo>
                  <a:lnTo>
                    <a:pt x="7" y="143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6" y="139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3" y="132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5" y="125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9" y="121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0" y="121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5" y="124"/>
                  </a:lnTo>
                  <a:lnTo>
                    <a:pt x="17" y="125"/>
                  </a:lnTo>
                  <a:lnTo>
                    <a:pt x="21" y="127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5" y="129"/>
                  </a:lnTo>
                  <a:lnTo>
                    <a:pt x="27" y="130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1" y="131"/>
                  </a:lnTo>
                  <a:lnTo>
                    <a:pt x="32" y="131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29"/>
                  </a:lnTo>
                  <a:lnTo>
                    <a:pt x="38" y="128"/>
                  </a:lnTo>
                  <a:lnTo>
                    <a:pt x="40" y="125"/>
                  </a:lnTo>
                  <a:lnTo>
                    <a:pt x="42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4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7" y="120"/>
                  </a:lnTo>
                  <a:lnTo>
                    <a:pt x="48" y="120"/>
                  </a:lnTo>
                  <a:lnTo>
                    <a:pt x="49" y="120"/>
                  </a:lnTo>
                  <a:lnTo>
                    <a:pt x="50" y="120"/>
                  </a:lnTo>
                  <a:lnTo>
                    <a:pt x="51" y="120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4" y="122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9" y="124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5" y="125"/>
                  </a:lnTo>
                  <a:lnTo>
                    <a:pt x="66" y="126"/>
                  </a:lnTo>
                  <a:lnTo>
                    <a:pt x="68" y="127"/>
                  </a:lnTo>
                  <a:lnTo>
                    <a:pt x="69" y="128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5" y="130"/>
                  </a:lnTo>
                  <a:lnTo>
                    <a:pt x="77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9" y="130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0" y="132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82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8"/>
                  </a:lnTo>
                  <a:lnTo>
                    <a:pt x="84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7" y="138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0" y="138"/>
                  </a:lnTo>
                  <a:lnTo>
                    <a:pt x="91" y="137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6" y="135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3"/>
                  </a:lnTo>
                  <a:lnTo>
                    <a:pt x="97" y="132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7" y="126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7" y="123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8" y="121"/>
                  </a:lnTo>
                  <a:lnTo>
                    <a:pt x="98" y="120"/>
                  </a:lnTo>
                  <a:lnTo>
                    <a:pt x="99" y="119"/>
                  </a:lnTo>
                  <a:lnTo>
                    <a:pt x="100" y="119"/>
                  </a:lnTo>
                  <a:lnTo>
                    <a:pt x="102" y="117"/>
                  </a:lnTo>
                  <a:lnTo>
                    <a:pt x="104" y="115"/>
                  </a:lnTo>
                  <a:lnTo>
                    <a:pt x="106" y="113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0" y="111"/>
                  </a:lnTo>
                  <a:lnTo>
                    <a:pt x="111" y="111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3"/>
                  </a:lnTo>
                  <a:lnTo>
                    <a:pt x="114" y="115"/>
                  </a:lnTo>
                  <a:lnTo>
                    <a:pt x="115" y="117"/>
                  </a:lnTo>
                  <a:lnTo>
                    <a:pt x="116" y="118"/>
                  </a:lnTo>
                  <a:lnTo>
                    <a:pt x="117" y="118"/>
                  </a:lnTo>
                  <a:lnTo>
                    <a:pt x="118" y="119"/>
                  </a:lnTo>
                  <a:lnTo>
                    <a:pt x="118" y="120"/>
                  </a:lnTo>
                  <a:lnTo>
                    <a:pt x="120" y="120"/>
                  </a:lnTo>
                  <a:lnTo>
                    <a:pt x="121" y="121"/>
                  </a:lnTo>
                  <a:lnTo>
                    <a:pt x="122" y="121"/>
                  </a:lnTo>
                  <a:lnTo>
                    <a:pt x="123" y="122"/>
                  </a:lnTo>
                  <a:lnTo>
                    <a:pt x="124" y="122"/>
                  </a:lnTo>
                  <a:lnTo>
                    <a:pt x="125" y="122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7" y="121"/>
                  </a:lnTo>
                  <a:lnTo>
                    <a:pt x="130" y="121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3" y="120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2" y="121"/>
                  </a:lnTo>
                  <a:lnTo>
                    <a:pt x="143" y="121"/>
                  </a:lnTo>
                  <a:lnTo>
                    <a:pt x="144" y="121"/>
                  </a:lnTo>
                  <a:lnTo>
                    <a:pt x="146" y="120"/>
                  </a:lnTo>
                  <a:lnTo>
                    <a:pt x="147" y="120"/>
                  </a:lnTo>
                  <a:lnTo>
                    <a:pt x="148" y="119"/>
                  </a:lnTo>
                  <a:lnTo>
                    <a:pt x="149" y="119"/>
                  </a:lnTo>
                  <a:lnTo>
                    <a:pt x="149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6"/>
                  </a:lnTo>
                  <a:lnTo>
                    <a:pt x="151" y="115"/>
                  </a:lnTo>
                  <a:lnTo>
                    <a:pt x="150" y="114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9" y="112"/>
                  </a:lnTo>
                  <a:lnTo>
                    <a:pt x="149" y="111"/>
                  </a:lnTo>
                  <a:lnTo>
                    <a:pt x="147" y="109"/>
                  </a:lnTo>
                  <a:lnTo>
                    <a:pt x="145" y="105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1" y="99"/>
                  </a:lnTo>
                  <a:lnTo>
                    <a:pt x="140" y="96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2"/>
                  </a:lnTo>
                  <a:lnTo>
                    <a:pt x="138" y="91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9" y="84"/>
                  </a:lnTo>
                  <a:lnTo>
                    <a:pt x="140" y="80"/>
                  </a:lnTo>
                  <a:lnTo>
                    <a:pt x="140" y="79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77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40" y="75"/>
                  </a:lnTo>
                  <a:lnTo>
                    <a:pt x="140" y="74"/>
                  </a:lnTo>
                  <a:lnTo>
                    <a:pt x="138" y="72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6" y="63"/>
                  </a:lnTo>
                  <a:lnTo>
                    <a:pt x="136" y="60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57"/>
                  </a:lnTo>
                  <a:lnTo>
                    <a:pt x="134" y="54"/>
                  </a:lnTo>
                  <a:lnTo>
                    <a:pt x="134" y="51"/>
                  </a:lnTo>
                  <a:lnTo>
                    <a:pt x="133" y="48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2" y="43"/>
                  </a:lnTo>
                  <a:lnTo>
                    <a:pt x="132" y="36"/>
                  </a:lnTo>
                  <a:lnTo>
                    <a:pt x="132" y="31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1" y="16"/>
                  </a:lnTo>
                  <a:lnTo>
                    <a:pt x="130" y="15"/>
                  </a:lnTo>
                  <a:lnTo>
                    <a:pt x="128" y="11"/>
                  </a:lnTo>
                  <a:lnTo>
                    <a:pt x="127" y="10"/>
                  </a:lnTo>
                  <a:lnTo>
                    <a:pt x="126" y="8"/>
                  </a:lnTo>
                  <a:lnTo>
                    <a:pt x="125" y="6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4" y="3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7" y="1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58">
              <a:extLst>
                <a:ext uri="{FF2B5EF4-FFF2-40B4-BE49-F238E27FC236}">
                  <a16:creationId xmlns:a16="http://schemas.microsoft.com/office/drawing/2014/main" id="{C2148246-71C8-16CA-44C2-3C29F3CD6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994"/>
              <a:ext cx="436" cy="338"/>
            </a:xfrm>
            <a:custGeom>
              <a:avLst/>
              <a:gdLst>
                <a:gd name="T0" fmla="*/ 164 w 436"/>
                <a:gd name="T1" fmla="*/ 11 h 338"/>
                <a:gd name="T2" fmla="*/ 194 w 436"/>
                <a:gd name="T3" fmla="*/ 15 h 338"/>
                <a:gd name="T4" fmla="*/ 211 w 436"/>
                <a:gd name="T5" fmla="*/ 23 h 338"/>
                <a:gd name="T6" fmla="*/ 225 w 436"/>
                <a:gd name="T7" fmla="*/ 47 h 338"/>
                <a:gd name="T8" fmla="*/ 252 w 436"/>
                <a:gd name="T9" fmla="*/ 41 h 338"/>
                <a:gd name="T10" fmla="*/ 263 w 436"/>
                <a:gd name="T11" fmla="*/ 65 h 338"/>
                <a:gd name="T12" fmla="*/ 263 w 436"/>
                <a:gd name="T13" fmla="*/ 78 h 338"/>
                <a:gd name="T14" fmla="*/ 278 w 436"/>
                <a:gd name="T15" fmla="*/ 71 h 338"/>
                <a:gd name="T16" fmla="*/ 298 w 436"/>
                <a:gd name="T17" fmla="*/ 54 h 338"/>
                <a:gd name="T18" fmla="*/ 319 w 436"/>
                <a:gd name="T19" fmla="*/ 65 h 338"/>
                <a:gd name="T20" fmla="*/ 330 w 436"/>
                <a:gd name="T21" fmla="*/ 51 h 338"/>
                <a:gd name="T22" fmla="*/ 350 w 436"/>
                <a:gd name="T23" fmla="*/ 51 h 338"/>
                <a:gd name="T24" fmla="*/ 378 w 436"/>
                <a:gd name="T25" fmla="*/ 70 h 338"/>
                <a:gd name="T26" fmla="*/ 386 w 436"/>
                <a:gd name="T27" fmla="*/ 92 h 338"/>
                <a:gd name="T28" fmla="*/ 375 w 436"/>
                <a:gd name="T29" fmla="*/ 116 h 338"/>
                <a:gd name="T30" fmla="*/ 356 w 436"/>
                <a:gd name="T31" fmla="*/ 126 h 338"/>
                <a:gd name="T32" fmla="*/ 338 w 436"/>
                <a:gd name="T33" fmla="*/ 138 h 338"/>
                <a:gd name="T34" fmla="*/ 328 w 436"/>
                <a:gd name="T35" fmla="*/ 151 h 338"/>
                <a:gd name="T36" fmla="*/ 322 w 436"/>
                <a:gd name="T37" fmla="*/ 159 h 338"/>
                <a:gd name="T38" fmla="*/ 335 w 436"/>
                <a:gd name="T39" fmla="*/ 172 h 338"/>
                <a:gd name="T40" fmla="*/ 349 w 436"/>
                <a:gd name="T41" fmla="*/ 184 h 338"/>
                <a:gd name="T42" fmla="*/ 368 w 436"/>
                <a:gd name="T43" fmla="*/ 184 h 338"/>
                <a:gd name="T44" fmla="*/ 381 w 436"/>
                <a:gd name="T45" fmla="*/ 207 h 338"/>
                <a:gd name="T46" fmla="*/ 406 w 436"/>
                <a:gd name="T47" fmla="*/ 230 h 338"/>
                <a:gd name="T48" fmla="*/ 428 w 436"/>
                <a:gd name="T49" fmla="*/ 255 h 338"/>
                <a:gd name="T50" fmla="*/ 436 w 436"/>
                <a:gd name="T51" fmla="*/ 288 h 338"/>
                <a:gd name="T52" fmla="*/ 417 w 436"/>
                <a:gd name="T53" fmla="*/ 283 h 338"/>
                <a:gd name="T54" fmla="*/ 407 w 436"/>
                <a:gd name="T55" fmla="*/ 285 h 338"/>
                <a:gd name="T56" fmla="*/ 384 w 436"/>
                <a:gd name="T57" fmla="*/ 303 h 338"/>
                <a:gd name="T58" fmla="*/ 367 w 436"/>
                <a:gd name="T59" fmla="*/ 320 h 338"/>
                <a:gd name="T60" fmla="*/ 360 w 436"/>
                <a:gd name="T61" fmla="*/ 331 h 338"/>
                <a:gd name="T62" fmla="*/ 350 w 436"/>
                <a:gd name="T63" fmla="*/ 335 h 338"/>
                <a:gd name="T64" fmla="*/ 329 w 436"/>
                <a:gd name="T65" fmla="*/ 337 h 338"/>
                <a:gd name="T66" fmla="*/ 305 w 436"/>
                <a:gd name="T67" fmla="*/ 327 h 338"/>
                <a:gd name="T68" fmla="*/ 282 w 436"/>
                <a:gd name="T69" fmla="*/ 310 h 338"/>
                <a:gd name="T70" fmla="*/ 266 w 436"/>
                <a:gd name="T71" fmla="*/ 296 h 338"/>
                <a:gd name="T72" fmla="*/ 243 w 436"/>
                <a:gd name="T73" fmla="*/ 283 h 338"/>
                <a:gd name="T74" fmla="*/ 222 w 436"/>
                <a:gd name="T75" fmla="*/ 293 h 338"/>
                <a:gd name="T76" fmla="*/ 207 w 436"/>
                <a:gd name="T77" fmla="*/ 294 h 338"/>
                <a:gd name="T78" fmla="*/ 198 w 436"/>
                <a:gd name="T79" fmla="*/ 279 h 338"/>
                <a:gd name="T80" fmla="*/ 184 w 436"/>
                <a:gd name="T81" fmla="*/ 294 h 338"/>
                <a:gd name="T82" fmla="*/ 161 w 436"/>
                <a:gd name="T83" fmla="*/ 298 h 338"/>
                <a:gd name="T84" fmla="*/ 141 w 436"/>
                <a:gd name="T85" fmla="*/ 296 h 338"/>
                <a:gd name="T86" fmla="*/ 125 w 436"/>
                <a:gd name="T87" fmla="*/ 297 h 338"/>
                <a:gd name="T88" fmla="*/ 111 w 436"/>
                <a:gd name="T89" fmla="*/ 310 h 338"/>
                <a:gd name="T90" fmla="*/ 97 w 436"/>
                <a:gd name="T91" fmla="*/ 310 h 338"/>
                <a:gd name="T92" fmla="*/ 91 w 436"/>
                <a:gd name="T93" fmla="*/ 298 h 338"/>
                <a:gd name="T94" fmla="*/ 75 w 436"/>
                <a:gd name="T95" fmla="*/ 289 h 338"/>
                <a:gd name="T96" fmla="*/ 83 w 436"/>
                <a:gd name="T97" fmla="*/ 270 h 338"/>
                <a:gd name="T98" fmla="*/ 78 w 436"/>
                <a:gd name="T99" fmla="*/ 251 h 338"/>
                <a:gd name="T100" fmla="*/ 75 w 436"/>
                <a:gd name="T101" fmla="*/ 228 h 338"/>
                <a:gd name="T102" fmla="*/ 56 w 436"/>
                <a:gd name="T103" fmla="*/ 228 h 338"/>
                <a:gd name="T104" fmla="*/ 31 w 436"/>
                <a:gd name="T105" fmla="*/ 224 h 338"/>
                <a:gd name="T106" fmla="*/ 24 w 436"/>
                <a:gd name="T107" fmla="*/ 209 h 338"/>
                <a:gd name="T108" fmla="*/ 9 w 436"/>
                <a:gd name="T109" fmla="*/ 201 h 338"/>
                <a:gd name="T110" fmla="*/ 0 w 436"/>
                <a:gd name="T111" fmla="*/ 187 h 338"/>
                <a:gd name="T112" fmla="*/ 9 w 436"/>
                <a:gd name="T113" fmla="*/ 174 h 338"/>
                <a:gd name="T114" fmla="*/ 8 w 436"/>
                <a:gd name="T115" fmla="*/ 152 h 338"/>
                <a:gd name="T116" fmla="*/ 3 w 436"/>
                <a:gd name="T117" fmla="*/ 128 h 338"/>
                <a:gd name="T118" fmla="*/ 21 w 436"/>
                <a:gd name="T119" fmla="*/ 12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" h="338">
                  <a:moveTo>
                    <a:pt x="127" y="0"/>
                  </a:moveTo>
                  <a:lnTo>
                    <a:pt x="129" y="0"/>
                  </a:lnTo>
                  <a:lnTo>
                    <a:pt x="135" y="0"/>
                  </a:lnTo>
                  <a:lnTo>
                    <a:pt x="137" y="1"/>
                  </a:lnTo>
                  <a:lnTo>
                    <a:pt x="139" y="1"/>
                  </a:lnTo>
                  <a:lnTo>
                    <a:pt x="141" y="1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50" y="5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60" y="9"/>
                  </a:lnTo>
                  <a:lnTo>
                    <a:pt x="161" y="10"/>
                  </a:lnTo>
                  <a:lnTo>
                    <a:pt x="163" y="11"/>
                  </a:lnTo>
                  <a:lnTo>
                    <a:pt x="164" y="11"/>
                  </a:lnTo>
                  <a:lnTo>
                    <a:pt x="165" y="12"/>
                  </a:lnTo>
                  <a:lnTo>
                    <a:pt x="166" y="13"/>
                  </a:lnTo>
                  <a:lnTo>
                    <a:pt x="170" y="15"/>
                  </a:lnTo>
                  <a:lnTo>
                    <a:pt x="170" y="16"/>
                  </a:lnTo>
                  <a:lnTo>
                    <a:pt x="171" y="16"/>
                  </a:lnTo>
                  <a:lnTo>
                    <a:pt x="173" y="17"/>
                  </a:lnTo>
                  <a:lnTo>
                    <a:pt x="174" y="17"/>
                  </a:lnTo>
                  <a:lnTo>
                    <a:pt x="175" y="17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1" y="18"/>
                  </a:lnTo>
                  <a:lnTo>
                    <a:pt x="183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4" y="15"/>
                  </a:lnTo>
                  <a:lnTo>
                    <a:pt x="196" y="15"/>
                  </a:lnTo>
                  <a:lnTo>
                    <a:pt x="199" y="13"/>
                  </a:lnTo>
                  <a:lnTo>
                    <a:pt x="200" y="13"/>
                  </a:lnTo>
                  <a:lnTo>
                    <a:pt x="201" y="13"/>
                  </a:lnTo>
                  <a:lnTo>
                    <a:pt x="203" y="12"/>
                  </a:lnTo>
                  <a:lnTo>
                    <a:pt x="204" y="12"/>
                  </a:lnTo>
                  <a:lnTo>
                    <a:pt x="204" y="13"/>
                  </a:lnTo>
                  <a:lnTo>
                    <a:pt x="205" y="13"/>
                  </a:lnTo>
                  <a:lnTo>
                    <a:pt x="206" y="13"/>
                  </a:lnTo>
                  <a:lnTo>
                    <a:pt x="206" y="14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09" y="16"/>
                  </a:lnTo>
                  <a:lnTo>
                    <a:pt x="209" y="17"/>
                  </a:lnTo>
                  <a:lnTo>
                    <a:pt x="210" y="18"/>
                  </a:lnTo>
                  <a:lnTo>
                    <a:pt x="210" y="19"/>
                  </a:lnTo>
                  <a:lnTo>
                    <a:pt x="211" y="23"/>
                  </a:lnTo>
                  <a:lnTo>
                    <a:pt x="212" y="25"/>
                  </a:lnTo>
                  <a:lnTo>
                    <a:pt x="213" y="27"/>
                  </a:lnTo>
                  <a:lnTo>
                    <a:pt x="216" y="33"/>
                  </a:lnTo>
                  <a:lnTo>
                    <a:pt x="217" y="37"/>
                  </a:lnTo>
                  <a:lnTo>
                    <a:pt x="219" y="40"/>
                  </a:lnTo>
                  <a:lnTo>
                    <a:pt x="219" y="42"/>
                  </a:lnTo>
                  <a:lnTo>
                    <a:pt x="220" y="43"/>
                  </a:lnTo>
                  <a:lnTo>
                    <a:pt x="221" y="44"/>
                  </a:lnTo>
                  <a:lnTo>
                    <a:pt x="221" y="45"/>
                  </a:lnTo>
                  <a:lnTo>
                    <a:pt x="222" y="45"/>
                  </a:lnTo>
                  <a:lnTo>
                    <a:pt x="222" y="45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4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6" y="47"/>
                  </a:lnTo>
                  <a:lnTo>
                    <a:pt x="227" y="47"/>
                  </a:lnTo>
                  <a:lnTo>
                    <a:pt x="228" y="46"/>
                  </a:lnTo>
                  <a:lnTo>
                    <a:pt x="229" y="46"/>
                  </a:lnTo>
                  <a:lnTo>
                    <a:pt x="231" y="45"/>
                  </a:lnTo>
                  <a:lnTo>
                    <a:pt x="236" y="44"/>
                  </a:lnTo>
                  <a:lnTo>
                    <a:pt x="238" y="43"/>
                  </a:lnTo>
                  <a:lnTo>
                    <a:pt x="241" y="42"/>
                  </a:lnTo>
                  <a:lnTo>
                    <a:pt x="242" y="42"/>
                  </a:lnTo>
                  <a:lnTo>
                    <a:pt x="244" y="41"/>
                  </a:lnTo>
                  <a:lnTo>
                    <a:pt x="245" y="41"/>
                  </a:lnTo>
                  <a:lnTo>
                    <a:pt x="247" y="41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1" y="41"/>
                  </a:lnTo>
                  <a:lnTo>
                    <a:pt x="252" y="41"/>
                  </a:lnTo>
                  <a:lnTo>
                    <a:pt x="253" y="42"/>
                  </a:lnTo>
                  <a:lnTo>
                    <a:pt x="254" y="42"/>
                  </a:lnTo>
                  <a:lnTo>
                    <a:pt x="255" y="43"/>
                  </a:lnTo>
                  <a:lnTo>
                    <a:pt x="256" y="44"/>
                  </a:lnTo>
                  <a:lnTo>
                    <a:pt x="257" y="44"/>
                  </a:lnTo>
                  <a:lnTo>
                    <a:pt x="257" y="45"/>
                  </a:lnTo>
                  <a:lnTo>
                    <a:pt x="258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0" y="49"/>
                  </a:lnTo>
                  <a:lnTo>
                    <a:pt x="260" y="51"/>
                  </a:lnTo>
                  <a:lnTo>
                    <a:pt x="261" y="53"/>
                  </a:lnTo>
                  <a:lnTo>
                    <a:pt x="262" y="55"/>
                  </a:lnTo>
                  <a:lnTo>
                    <a:pt x="262" y="57"/>
                  </a:lnTo>
                  <a:lnTo>
                    <a:pt x="262" y="60"/>
                  </a:lnTo>
                  <a:lnTo>
                    <a:pt x="263" y="64"/>
                  </a:lnTo>
                  <a:lnTo>
                    <a:pt x="263" y="65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8"/>
                  </a:lnTo>
                  <a:lnTo>
                    <a:pt x="263" y="68"/>
                  </a:lnTo>
                  <a:lnTo>
                    <a:pt x="263" y="69"/>
                  </a:lnTo>
                  <a:lnTo>
                    <a:pt x="261" y="72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0" y="74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2" y="77"/>
                  </a:lnTo>
                  <a:lnTo>
                    <a:pt x="262" y="78"/>
                  </a:lnTo>
                  <a:lnTo>
                    <a:pt x="263" y="78"/>
                  </a:lnTo>
                  <a:lnTo>
                    <a:pt x="264" y="78"/>
                  </a:lnTo>
                  <a:lnTo>
                    <a:pt x="265" y="79"/>
                  </a:lnTo>
                  <a:lnTo>
                    <a:pt x="266" y="79"/>
                  </a:lnTo>
                  <a:lnTo>
                    <a:pt x="267" y="79"/>
                  </a:lnTo>
                  <a:lnTo>
                    <a:pt x="267" y="79"/>
                  </a:lnTo>
                  <a:lnTo>
                    <a:pt x="268" y="79"/>
                  </a:lnTo>
                  <a:lnTo>
                    <a:pt x="269" y="78"/>
                  </a:lnTo>
                  <a:lnTo>
                    <a:pt x="270" y="78"/>
                  </a:lnTo>
                  <a:lnTo>
                    <a:pt x="272" y="77"/>
                  </a:lnTo>
                  <a:lnTo>
                    <a:pt x="274" y="75"/>
                  </a:lnTo>
                  <a:lnTo>
                    <a:pt x="275" y="75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6" y="73"/>
                  </a:lnTo>
                  <a:lnTo>
                    <a:pt x="277" y="73"/>
                  </a:lnTo>
                  <a:lnTo>
                    <a:pt x="277" y="72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1" y="64"/>
                  </a:lnTo>
                  <a:lnTo>
                    <a:pt x="282" y="63"/>
                  </a:lnTo>
                  <a:lnTo>
                    <a:pt x="283" y="61"/>
                  </a:lnTo>
                  <a:lnTo>
                    <a:pt x="285" y="60"/>
                  </a:lnTo>
                  <a:lnTo>
                    <a:pt x="286" y="58"/>
                  </a:lnTo>
                  <a:lnTo>
                    <a:pt x="287" y="57"/>
                  </a:lnTo>
                  <a:lnTo>
                    <a:pt x="289" y="56"/>
                  </a:lnTo>
                  <a:lnTo>
                    <a:pt x="290" y="55"/>
                  </a:lnTo>
                  <a:lnTo>
                    <a:pt x="291" y="54"/>
                  </a:lnTo>
                  <a:lnTo>
                    <a:pt x="291" y="54"/>
                  </a:lnTo>
                  <a:lnTo>
                    <a:pt x="292" y="54"/>
                  </a:lnTo>
                  <a:lnTo>
                    <a:pt x="293" y="53"/>
                  </a:lnTo>
                  <a:lnTo>
                    <a:pt x="295" y="53"/>
                  </a:lnTo>
                  <a:lnTo>
                    <a:pt x="296" y="54"/>
                  </a:lnTo>
                  <a:lnTo>
                    <a:pt x="297" y="54"/>
                  </a:lnTo>
                  <a:lnTo>
                    <a:pt x="298" y="54"/>
                  </a:lnTo>
                  <a:lnTo>
                    <a:pt x="299" y="55"/>
                  </a:lnTo>
                  <a:lnTo>
                    <a:pt x="304" y="57"/>
                  </a:lnTo>
                  <a:lnTo>
                    <a:pt x="305" y="57"/>
                  </a:lnTo>
                  <a:lnTo>
                    <a:pt x="306" y="58"/>
                  </a:lnTo>
                  <a:lnTo>
                    <a:pt x="307" y="59"/>
                  </a:lnTo>
                  <a:lnTo>
                    <a:pt x="309" y="60"/>
                  </a:lnTo>
                  <a:lnTo>
                    <a:pt x="310" y="61"/>
                  </a:lnTo>
                  <a:lnTo>
                    <a:pt x="313" y="64"/>
                  </a:lnTo>
                  <a:lnTo>
                    <a:pt x="314" y="64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6" y="65"/>
                  </a:lnTo>
                  <a:lnTo>
                    <a:pt x="316" y="65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4" y="62"/>
                  </a:lnTo>
                  <a:lnTo>
                    <a:pt x="324" y="62"/>
                  </a:lnTo>
                  <a:lnTo>
                    <a:pt x="325" y="61"/>
                  </a:lnTo>
                  <a:lnTo>
                    <a:pt x="325" y="60"/>
                  </a:lnTo>
                  <a:lnTo>
                    <a:pt x="326" y="56"/>
                  </a:lnTo>
                  <a:lnTo>
                    <a:pt x="327" y="54"/>
                  </a:lnTo>
                  <a:lnTo>
                    <a:pt x="328" y="53"/>
                  </a:lnTo>
                  <a:lnTo>
                    <a:pt x="329" y="52"/>
                  </a:lnTo>
                  <a:lnTo>
                    <a:pt x="329" y="52"/>
                  </a:lnTo>
                  <a:lnTo>
                    <a:pt x="330" y="51"/>
                  </a:lnTo>
                  <a:lnTo>
                    <a:pt x="330" y="51"/>
                  </a:lnTo>
                  <a:lnTo>
                    <a:pt x="330" y="50"/>
                  </a:lnTo>
                  <a:lnTo>
                    <a:pt x="331" y="50"/>
                  </a:lnTo>
                  <a:lnTo>
                    <a:pt x="332" y="49"/>
                  </a:lnTo>
                  <a:lnTo>
                    <a:pt x="332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6" y="49"/>
                  </a:lnTo>
                  <a:lnTo>
                    <a:pt x="338" y="49"/>
                  </a:lnTo>
                  <a:lnTo>
                    <a:pt x="339" y="49"/>
                  </a:lnTo>
                  <a:lnTo>
                    <a:pt x="340" y="49"/>
                  </a:lnTo>
                  <a:lnTo>
                    <a:pt x="341" y="49"/>
                  </a:lnTo>
                  <a:lnTo>
                    <a:pt x="345" y="50"/>
                  </a:lnTo>
                  <a:lnTo>
                    <a:pt x="346" y="50"/>
                  </a:lnTo>
                  <a:lnTo>
                    <a:pt x="347" y="50"/>
                  </a:lnTo>
                  <a:lnTo>
                    <a:pt x="348" y="51"/>
                  </a:lnTo>
                  <a:lnTo>
                    <a:pt x="350" y="51"/>
                  </a:lnTo>
                  <a:lnTo>
                    <a:pt x="353" y="51"/>
                  </a:lnTo>
                  <a:lnTo>
                    <a:pt x="354" y="51"/>
                  </a:lnTo>
                  <a:lnTo>
                    <a:pt x="356" y="51"/>
                  </a:lnTo>
                  <a:lnTo>
                    <a:pt x="357" y="51"/>
                  </a:lnTo>
                  <a:lnTo>
                    <a:pt x="358" y="51"/>
                  </a:lnTo>
                  <a:lnTo>
                    <a:pt x="359" y="52"/>
                  </a:lnTo>
                  <a:lnTo>
                    <a:pt x="360" y="52"/>
                  </a:lnTo>
                  <a:lnTo>
                    <a:pt x="361" y="53"/>
                  </a:lnTo>
                  <a:lnTo>
                    <a:pt x="362" y="54"/>
                  </a:lnTo>
                  <a:lnTo>
                    <a:pt x="365" y="56"/>
                  </a:lnTo>
                  <a:lnTo>
                    <a:pt x="367" y="58"/>
                  </a:lnTo>
                  <a:lnTo>
                    <a:pt x="367" y="58"/>
                  </a:lnTo>
                  <a:lnTo>
                    <a:pt x="369" y="60"/>
                  </a:lnTo>
                  <a:lnTo>
                    <a:pt x="371" y="63"/>
                  </a:lnTo>
                  <a:lnTo>
                    <a:pt x="374" y="66"/>
                  </a:lnTo>
                  <a:lnTo>
                    <a:pt x="376" y="68"/>
                  </a:lnTo>
                  <a:lnTo>
                    <a:pt x="378" y="70"/>
                  </a:lnTo>
                  <a:lnTo>
                    <a:pt x="381" y="73"/>
                  </a:lnTo>
                  <a:lnTo>
                    <a:pt x="383" y="75"/>
                  </a:lnTo>
                  <a:lnTo>
                    <a:pt x="385" y="77"/>
                  </a:lnTo>
                  <a:lnTo>
                    <a:pt x="386" y="79"/>
                  </a:lnTo>
                  <a:lnTo>
                    <a:pt x="388" y="80"/>
                  </a:lnTo>
                  <a:lnTo>
                    <a:pt x="388" y="82"/>
                  </a:lnTo>
                  <a:lnTo>
                    <a:pt x="389" y="83"/>
                  </a:lnTo>
                  <a:lnTo>
                    <a:pt x="389" y="84"/>
                  </a:lnTo>
                  <a:lnTo>
                    <a:pt x="389" y="85"/>
                  </a:lnTo>
                  <a:lnTo>
                    <a:pt x="389" y="86"/>
                  </a:lnTo>
                  <a:lnTo>
                    <a:pt x="389" y="87"/>
                  </a:lnTo>
                  <a:lnTo>
                    <a:pt x="389" y="88"/>
                  </a:lnTo>
                  <a:lnTo>
                    <a:pt x="389" y="89"/>
                  </a:lnTo>
                  <a:lnTo>
                    <a:pt x="389" y="89"/>
                  </a:lnTo>
                  <a:lnTo>
                    <a:pt x="388" y="90"/>
                  </a:lnTo>
                  <a:lnTo>
                    <a:pt x="388" y="91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4" y="95"/>
                  </a:lnTo>
                  <a:lnTo>
                    <a:pt x="383" y="95"/>
                  </a:lnTo>
                  <a:lnTo>
                    <a:pt x="383" y="96"/>
                  </a:lnTo>
                  <a:lnTo>
                    <a:pt x="382" y="97"/>
                  </a:lnTo>
                  <a:lnTo>
                    <a:pt x="381" y="100"/>
                  </a:lnTo>
                  <a:lnTo>
                    <a:pt x="381" y="102"/>
                  </a:lnTo>
                  <a:lnTo>
                    <a:pt x="380" y="103"/>
                  </a:lnTo>
                  <a:lnTo>
                    <a:pt x="379" y="106"/>
                  </a:lnTo>
                  <a:lnTo>
                    <a:pt x="378" y="107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1"/>
                  </a:lnTo>
                  <a:lnTo>
                    <a:pt x="377" y="112"/>
                  </a:lnTo>
                  <a:lnTo>
                    <a:pt x="377" y="113"/>
                  </a:lnTo>
                  <a:lnTo>
                    <a:pt x="376" y="115"/>
                  </a:lnTo>
                  <a:lnTo>
                    <a:pt x="375" y="116"/>
                  </a:lnTo>
                  <a:lnTo>
                    <a:pt x="373" y="117"/>
                  </a:lnTo>
                  <a:lnTo>
                    <a:pt x="370" y="121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4"/>
                  </a:lnTo>
                  <a:lnTo>
                    <a:pt x="366" y="124"/>
                  </a:lnTo>
                  <a:lnTo>
                    <a:pt x="366" y="125"/>
                  </a:lnTo>
                  <a:lnTo>
                    <a:pt x="365" y="125"/>
                  </a:lnTo>
                  <a:lnTo>
                    <a:pt x="364" y="125"/>
                  </a:lnTo>
                  <a:lnTo>
                    <a:pt x="363" y="126"/>
                  </a:lnTo>
                  <a:lnTo>
                    <a:pt x="362" y="126"/>
                  </a:lnTo>
                  <a:lnTo>
                    <a:pt x="361" y="126"/>
                  </a:lnTo>
                  <a:lnTo>
                    <a:pt x="359" y="125"/>
                  </a:lnTo>
                  <a:lnTo>
                    <a:pt x="357" y="125"/>
                  </a:lnTo>
                  <a:lnTo>
                    <a:pt x="357" y="125"/>
                  </a:lnTo>
                  <a:lnTo>
                    <a:pt x="356" y="125"/>
                  </a:lnTo>
                  <a:lnTo>
                    <a:pt x="356" y="126"/>
                  </a:lnTo>
                  <a:lnTo>
                    <a:pt x="355" y="126"/>
                  </a:lnTo>
                  <a:lnTo>
                    <a:pt x="355" y="126"/>
                  </a:lnTo>
                  <a:lnTo>
                    <a:pt x="354" y="127"/>
                  </a:lnTo>
                  <a:lnTo>
                    <a:pt x="354" y="127"/>
                  </a:lnTo>
                  <a:lnTo>
                    <a:pt x="352" y="129"/>
                  </a:lnTo>
                  <a:lnTo>
                    <a:pt x="350" y="131"/>
                  </a:lnTo>
                  <a:lnTo>
                    <a:pt x="349" y="132"/>
                  </a:lnTo>
                  <a:lnTo>
                    <a:pt x="348" y="133"/>
                  </a:lnTo>
                  <a:lnTo>
                    <a:pt x="347" y="134"/>
                  </a:lnTo>
                  <a:lnTo>
                    <a:pt x="346" y="134"/>
                  </a:lnTo>
                  <a:lnTo>
                    <a:pt x="345" y="134"/>
                  </a:lnTo>
                  <a:lnTo>
                    <a:pt x="343" y="135"/>
                  </a:lnTo>
                  <a:lnTo>
                    <a:pt x="343" y="135"/>
                  </a:lnTo>
                  <a:lnTo>
                    <a:pt x="342" y="135"/>
                  </a:lnTo>
                  <a:lnTo>
                    <a:pt x="341" y="136"/>
                  </a:lnTo>
                  <a:lnTo>
                    <a:pt x="339" y="137"/>
                  </a:lnTo>
                  <a:lnTo>
                    <a:pt x="338" y="138"/>
                  </a:lnTo>
                  <a:lnTo>
                    <a:pt x="337" y="138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5" y="141"/>
                  </a:lnTo>
                  <a:lnTo>
                    <a:pt x="334" y="142"/>
                  </a:lnTo>
                  <a:lnTo>
                    <a:pt x="332" y="143"/>
                  </a:lnTo>
                  <a:lnTo>
                    <a:pt x="332" y="143"/>
                  </a:lnTo>
                  <a:lnTo>
                    <a:pt x="331" y="144"/>
                  </a:lnTo>
                  <a:lnTo>
                    <a:pt x="330" y="145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7"/>
                  </a:lnTo>
                  <a:lnTo>
                    <a:pt x="329" y="148"/>
                  </a:lnTo>
                  <a:lnTo>
                    <a:pt x="329" y="149"/>
                  </a:lnTo>
                  <a:lnTo>
                    <a:pt x="329" y="150"/>
                  </a:lnTo>
                  <a:lnTo>
                    <a:pt x="328" y="150"/>
                  </a:lnTo>
                  <a:lnTo>
                    <a:pt x="328" y="151"/>
                  </a:lnTo>
                  <a:lnTo>
                    <a:pt x="327" y="151"/>
                  </a:lnTo>
                  <a:lnTo>
                    <a:pt x="327" y="151"/>
                  </a:lnTo>
                  <a:lnTo>
                    <a:pt x="326" y="151"/>
                  </a:lnTo>
                  <a:lnTo>
                    <a:pt x="325" y="151"/>
                  </a:lnTo>
                  <a:lnTo>
                    <a:pt x="325" y="151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4" y="152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2" y="154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9"/>
                  </a:lnTo>
                  <a:lnTo>
                    <a:pt x="322" y="159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5"/>
                  </a:lnTo>
                  <a:lnTo>
                    <a:pt x="326" y="166"/>
                  </a:lnTo>
                  <a:lnTo>
                    <a:pt x="326" y="166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8" y="167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2" y="169"/>
                  </a:lnTo>
                  <a:lnTo>
                    <a:pt x="333" y="170"/>
                  </a:lnTo>
                  <a:lnTo>
                    <a:pt x="334" y="170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7" y="175"/>
                  </a:lnTo>
                  <a:lnTo>
                    <a:pt x="338" y="175"/>
                  </a:lnTo>
                  <a:lnTo>
                    <a:pt x="339" y="177"/>
                  </a:lnTo>
                  <a:lnTo>
                    <a:pt x="339" y="177"/>
                  </a:lnTo>
                  <a:lnTo>
                    <a:pt x="340" y="179"/>
                  </a:lnTo>
                  <a:lnTo>
                    <a:pt x="342" y="180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4" y="183"/>
                  </a:lnTo>
                  <a:lnTo>
                    <a:pt x="344" y="184"/>
                  </a:lnTo>
                  <a:lnTo>
                    <a:pt x="345" y="184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7" y="185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9" y="184"/>
                  </a:lnTo>
                  <a:lnTo>
                    <a:pt x="352" y="183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4" y="182"/>
                  </a:lnTo>
                  <a:lnTo>
                    <a:pt x="355" y="182"/>
                  </a:lnTo>
                  <a:lnTo>
                    <a:pt x="356" y="182"/>
                  </a:lnTo>
                  <a:lnTo>
                    <a:pt x="358" y="182"/>
                  </a:lnTo>
                  <a:lnTo>
                    <a:pt x="359" y="182"/>
                  </a:lnTo>
                  <a:lnTo>
                    <a:pt x="361" y="182"/>
                  </a:lnTo>
                  <a:lnTo>
                    <a:pt x="362" y="182"/>
                  </a:lnTo>
                  <a:lnTo>
                    <a:pt x="363" y="182"/>
                  </a:lnTo>
                  <a:lnTo>
                    <a:pt x="365" y="182"/>
                  </a:lnTo>
                  <a:lnTo>
                    <a:pt x="365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85"/>
                  </a:lnTo>
                  <a:lnTo>
                    <a:pt x="369" y="186"/>
                  </a:lnTo>
                  <a:lnTo>
                    <a:pt x="370" y="188"/>
                  </a:lnTo>
                  <a:lnTo>
                    <a:pt x="370" y="189"/>
                  </a:lnTo>
                  <a:lnTo>
                    <a:pt x="371" y="193"/>
                  </a:lnTo>
                  <a:lnTo>
                    <a:pt x="372" y="195"/>
                  </a:lnTo>
                  <a:lnTo>
                    <a:pt x="372" y="196"/>
                  </a:lnTo>
                  <a:lnTo>
                    <a:pt x="373" y="197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5" y="202"/>
                  </a:lnTo>
                  <a:lnTo>
                    <a:pt x="376" y="202"/>
                  </a:lnTo>
                  <a:lnTo>
                    <a:pt x="377" y="204"/>
                  </a:lnTo>
                  <a:lnTo>
                    <a:pt x="378" y="204"/>
                  </a:lnTo>
                  <a:lnTo>
                    <a:pt x="379" y="205"/>
                  </a:lnTo>
                  <a:lnTo>
                    <a:pt x="380" y="206"/>
                  </a:lnTo>
                  <a:lnTo>
                    <a:pt x="381" y="207"/>
                  </a:lnTo>
                  <a:lnTo>
                    <a:pt x="382" y="207"/>
                  </a:lnTo>
                  <a:lnTo>
                    <a:pt x="383" y="207"/>
                  </a:lnTo>
                  <a:lnTo>
                    <a:pt x="386" y="207"/>
                  </a:lnTo>
                  <a:lnTo>
                    <a:pt x="387" y="208"/>
                  </a:lnTo>
                  <a:lnTo>
                    <a:pt x="388" y="208"/>
                  </a:lnTo>
                  <a:lnTo>
                    <a:pt x="389" y="209"/>
                  </a:lnTo>
                  <a:lnTo>
                    <a:pt x="390" y="209"/>
                  </a:lnTo>
                  <a:lnTo>
                    <a:pt x="391" y="210"/>
                  </a:lnTo>
                  <a:lnTo>
                    <a:pt x="392" y="211"/>
                  </a:lnTo>
                  <a:lnTo>
                    <a:pt x="394" y="212"/>
                  </a:lnTo>
                  <a:lnTo>
                    <a:pt x="395" y="214"/>
                  </a:lnTo>
                  <a:lnTo>
                    <a:pt x="397" y="217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2" y="224"/>
                  </a:lnTo>
                  <a:lnTo>
                    <a:pt x="404" y="228"/>
                  </a:lnTo>
                  <a:lnTo>
                    <a:pt x="406" y="230"/>
                  </a:lnTo>
                  <a:lnTo>
                    <a:pt x="408" y="233"/>
                  </a:lnTo>
                  <a:lnTo>
                    <a:pt x="409" y="233"/>
                  </a:lnTo>
                  <a:lnTo>
                    <a:pt x="410" y="234"/>
                  </a:lnTo>
                  <a:lnTo>
                    <a:pt x="413" y="237"/>
                  </a:lnTo>
                  <a:lnTo>
                    <a:pt x="416" y="242"/>
                  </a:lnTo>
                  <a:lnTo>
                    <a:pt x="417" y="243"/>
                  </a:lnTo>
                  <a:lnTo>
                    <a:pt x="418" y="244"/>
                  </a:lnTo>
                  <a:lnTo>
                    <a:pt x="419" y="245"/>
                  </a:lnTo>
                  <a:lnTo>
                    <a:pt x="422" y="247"/>
                  </a:lnTo>
                  <a:lnTo>
                    <a:pt x="423" y="248"/>
                  </a:lnTo>
                  <a:lnTo>
                    <a:pt x="423" y="248"/>
                  </a:lnTo>
                  <a:lnTo>
                    <a:pt x="424" y="249"/>
                  </a:lnTo>
                  <a:lnTo>
                    <a:pt x="425" y="251"/>
                  </a:lnTo>
                  <a:lnTo>
                    <a:pt x="426" y="252"/>
                  </a:lnTo>
                  <a:lnTo>
                    <a:pt x="426" y="253"/>
                  </a:lnTo>
                  <a:lnTo>
                    <a:pt x="427" y="254"/>
                  </a:lnTo>
                  <a:lnTo>
                    <a:pt x="428" y="255"/>
                  </a:lnTo>
                  <a:lnTo>
                    <a:pt x="428" y="258"/>
                  </a:lnTo>
                  <a:lnTo>
                    <a:pt x="429" y="259"/>
                  </a:lnTo>
                  <a:lnTo>
                    <a:pt x="429" y="261"/>
                  </a:lnTo>
                  <a:lnTo>
                    <a:pt x="429" y="265"/>
                  </a:lnTo>
                  <a:lnTo>
                    <a:pt x="429" y="268"/>
                  </a:lnTo>
                  <a:lnTo>
                    <a:pt x="430" y="270"/>
                  </a:lnTo>
                  <a:lnTo>
                    <a:pt x="430" y="272"/>
                  </a:lnTo>
                  <a:lnTo>
                    <a:pt x="431" y="275"/>
                  </a:lnTo>
                  <a:lnTo>
                    <a:pt x="431" y="277"/>
                  </a:lnTo>
                  <a:lnTo>
                    <a:pt x="431" y="277"/>
                  </a:lnTo>
                  <a:lnTo>
                    <a:pt x="431" y="278"/>
                  </a:lnTo>
                  <a:lnTo>
                    <a:pt x="432" y="280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6" y="286"/>
                  </a:lnTo>
                  <a:lnTo>
                    <a:pt x="436" y="287"/>
                  </a:lnTo>
                  <a:lnTo>
                    <a:pt x="436" y="288"/>
                  </a:lnTo>
                  <a:lnTo>
                    <a:pt x="436" y="289"/>
                  </a:lnTo>
                  <a:lnTo>
                    <a:pt x="436" y="289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6" y="290"/>
                  </a:lnTo>
                  <a:lnTo>
                    <a:pt x="435" y="290"/>
                  </a:lnTo>
                  <a:lnTo>
                    <a:pt x="434" y="290"/>
                  </a:lnTo>
                  <a:lnTo>
                    <a:pt x="433" y="290"/>
                  </a:lnTo>
                  <a:lnTo>
                    <a:pt x="431" y="289"/>
                  </a:lnTo>
                  <a:lnTo>
                    <a:pt x="430" y="289"/>
                  </a:lnTo>
                  <a:lnTo>
                    <a:pt x="425" y="287"/>
                  </a:lnTo>
                  <a:lnTo>
                    <a:pt x="423" y="286"/>
                  </a:lnTo>
                  <a:lnTo>
                    <a:pt x="421" y="285"/>
                  </a:lnTo>
                  <a:lnTo>
                    <a:pt x="420" y="284"/>
                  </a:lnTo>
                  <a:lnTo>
                    <a:pt x="417" y="283"/>
                  </a:lnTo>
                  <a:lnTo>
                    <a:pt x="417" y="282"/>
                  </a:lnTo>
                  <a:lnTo>
                    <a:pt x="416" y="282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2" y="281"/>
                  </a:lnTo>
                  <a:lnTo>
                    <a:pt x="411" y="281"/>
                  </a:lnTo>
                  <a:lnTo>
                    <a:pt x="411" y="281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09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7" y="283"/>
                  </a:lnTo>
                  <a:lnTo>
                    <a:pt x="407" y="284"/>
                  </a:lnTo>
                  <a:lnTo>
                    <a:pt x="407" y="285"/>
                  </a:lnTo>
                  <a:lnTo>
                    <a:pt x="405" y="288"/>
                  </a:lnTo>
                  <a:lnTo>
                    <a:pt x="404" y="290"/>
                  </a:lnTo>
                  <a:lnTo>
                    <a:pt x="404" y="291"/>
                  </a:lnTo>
                  <a:lnTo>
                    <a:pt x="403" y="292"/>
                  </a:lnTo>
                  <a:lnTo>
                    <a:pt x="402" y="292"/>
                  </a:lnTo>
                  <a:lnTo>
                    <a:pt x="401" y="293"/>
                  </a:lnTo>
                  <a:lnTo>
                    <a:pt x="400" y="294"/>
                  </a:lnTo>
                  <a:lnTo>
                    <a:pt x="399" y="295"/>
                  </a:lnTo>
                  <a:lnTo>
                    <a:pt x="398" y="296"/>
                  </a:lnTo>
                  <a:lnTo>
                    <a:pt x="396" y="296"/>
                  </a:lnTo>
                  <a:lnTo>
                    <a:pt x="394" y="297"/>
                  </a:lnTo>
                  <a:lnTo>
                    <a:pt x="392" y="299"/>
                  </a:lnTo>
                  <a:lnTo>
                    <a:pt x="392" y="299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87" y="302"/>
                  </a:lnTo>
                  <a:lnTo>
                    <a:pt x="384" y="303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80" y="305"/>
                  </a:lnTo>
                  <a:lnTo>
                    <a:pt x="378" y="307"/>
                  </a:lnTo>
                  <a:lnTo>
                    <a:pt x="376" y="308"/>
                  </a:lnTo>
                  <a:lnTo>
                    <a:pt x="374" y="309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0" y="312"/>
                  </a:lnTo>
                  <a:lnTo>
                    <a:pt x="369" y="313"/>
                  </a:lnTo>
                  <a:lnTo>
                    <a:pt x="368" y="314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67" y="316"/>
                  </a:lnTo>
                  <a:lnTo>
                    <a:pt x="367" y="317"/>
                  </a:lnTo>
                  <a:lnTo>
                    <a:pt x="367" y="317"/>
                  </a:lnTo>
                  <a:lnTo>
                    <a:pt x="367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66" y="323"/>
                  </a:lnTo>
                  <a:lnTo>
                    <a:pt x="365" y="324"/>
                  </a:lnTo>
                  <a:lnTo>
                    <a:pt x="364" y="325"/>
                  </a:lnTo>
                  <a:lnTo>
                    <a:pt x="362" y="326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1" y="327"/>
                  </a:lnTo>
                  <a:lnTo>
                    <a:pt x="360" y="328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1"/>
                  </a:lnTo>
                  <a:lnTo>
                    <a:pt x="361" y="334"/>
                  </a:lnTo>
                  <a:lnTo>
                    <a:pt x="361" y="334"/>
                  </a:lnTo>
                  <a:lnTo>
                    <a:pt x="361" y="335"/>
                  </a:lnTo>
                  <a:lnTo>
                    <a:pt x="361" y="335"/>
                  </a:lnTo>
                  <a:lnTo>
                    <a:pt x="361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59" y="336"/>
                  </a:lnTo>
                  <a:lnTo>
                    <a:pt x="359" y="337"/>
                  </a:lnTo>
                  <a:lnTo>
                    <a:pt x="358" y="337"/>
                  </a:lnTo>
                  <a:lnTo>
                    <a:pt x="357" y="337"/>
                  </a:lnTo>
                  <a:lnTo>
                    <a:pt x="356" y="337"/>
                  </a:lnTo>
                  <a:lnTo>
                    <a:pt x="355" y="336"/>
                  </a:lnTo>
                  <a:lnTo>
                    <a:pt x="353" y="336"/>
                  </a:lnTo>
                  <a:lnTo>
                    <a:pt x="352" y="335"/>
                  </a:lnTo>
                  <a:lnTo>
                    <a:pt x="351" y="335"/>
                  </a:lnTo>
                  <a:lnTo>
                    <a:pt x="350" y="335"/>
                  </a:lnTo>
                  <a:lnTo>
                    <a:pt x="349" y="335"/>
                  </a:lnTo>
                  <a:lnTo>
                    <a:pt x="347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6"/>
                  </a:lnTo>
                  <a:lnTo>
                    <a:pt x="341" y="336"/>
                  </a:lnTo>
                  <a:lnTo>
                    <a:pt x="340" y="336"/>
                  </a:lnTo>
                  <a:lnTo>
                    <a:pt x="339" y="335"/>
                  </a:lnTo>
                  <a:lnTo>
                    <a:pt x="338" y="335"/>
                  </a:lnTo>
                  <a:lnTo>
                    <a:pt x="338" y="335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6" y="335"/>
                  </a:lnTo>
                  <a:lnTo>
                    <a:pt x="334" y="336"/>
                  </a:lnTo>
                  <a:lnTo>
                    <a:pt x="333" y="336"/>
                  </a:lnTo>
                  <a:lnTo>
                    <a:pt x="332" y="337"/>
                  </a:lnTo>
                  <a:lnTo>
                    <a:pt x="329" y="337"/>
                  </a:lnTo>
                  <a:lnTo>
                    <a:pt x="327" y="338"/>
                  </a:lnTo>
                  <a:lnTo>
                    <a:pt x="326" y="338"/>
                  </a:lnTo>
                  <a:lnTo>
                    <a:pt x="325" y="338"/>
                  </a:lnTo>
                  <a:lnTo>
                    <a:pt x="324" y="338"/>
                  </a:lnTo>
                  <a:lnTo>
                    <a:pt x="324" y="338"/>
                  </a:lnTo>
                  <a:lnTo>
                    <a:pt x="323" y="337"/>
                  </a:lnTo>
                  <a:lnTo>
                    <a:pt x="322" y="337"/>
                  </a:lnTo>
                  <a:lnTo>
                    <a:pt x="321" y="336"/>
                  </a:lnTo>
                  <a:lnTo>
                    <a:pt x="320" y="336"/>
                  </a:lnTo>
                  <a:lnTo>
                    <a:pt x="316" y="333"/>
                  </a:lnTo>
                  <a:lnTo>
                    <a:pt x="315" y="332"/>
                  </a:lnTo>
                  <a:lnTo>
                    <a:pt x="314" y="331"/>
                  </a:lnTo>
                  <a:lnTo>
                    <a:pt x="313" y="330"/>
                  </a:lnTo>
                  <a:lnTo>
                    <a:pt x="311" y="330"/>
                  </a:lnTo>
                  <a:lnTo>
                    <a:pt x="309" y="329"/>
                  </a:lnTo>
                  <a:lnTo>
                    <a:pt x="306" y="328"/>
                  </a:lnTo>
                  <a:lnTo>
                    <a:pt x="305" y="327"/>
                  </a:lnTo>
                  <a:lnTo>
                    <a:pt x="305" y="327"/>
                  </a:lnTo>
                  <a:lnTo>
                    <a:pt x="303" y="326"/>
                  </a:lnTo>
                  <a:lnTo>
                    <a:pt x="302" y="325"/>
                  </a:lnTo>
                  <a:lnTo>
                    <a:pt x="300" y="323"/>
                  </a:lnTo>
                  <a:lnTo>
                    <a:pt x="299" y="322"/>
                  </a:lnTo>
                  <a:lnTo>
                    <a:pt x="298" y="322"/>
                  </a:lnTo>
                  <a:lnTo>
                    <a:pt x="297" y="321"/>
                  </a:lnTo>
                  <a:lnTo>
                    <a:pt x="296" y="321"/>
                  </a:lnTo>
                  <a:lnTo>
                    <a:pt x="293" y="319"/>
                  </a:lnTo>
                  <a:lnTo>
                    <a:pt x="291" y="319"/>
                  </a:lnTo>
                  <a:lnTo>
                    <a:pt x="290" y="318"/>
                  </a:lnTo>
                  <a:lnTo>
                    <a:pt x="289" y="317"/>
                  </a:lnTo>
                  <a:lnTo>
                    <a:pt x="288" y="316"/>
                  </a:lnTo>
                  <a:lnTo>
                    <a:pt x="287" y="315"/>
                  </a:lnTo>
                  <a:lnTo>
                    <a:pt x="286" y="314"/>
                  </a:lnTo>
                  <a:lnTo>
                    <a:pt x="284" y="311"/>
                  </a:lnTo>
                  <a:lnTo>
                    <a:pt x="282" y="310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81" y="309"/>
                  </a:lnTo>
                  <a:lnTo>
                    <a:pt x="279" y="308"/>
                  </a:lnTo>
                  <a:lnTo>
                    <a:pt x="278" y="307"/>
                  </a:lnTo>
                  <a:lnTo>
                    <a:pt x="277" y="307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1" y="305"/>
                  </a:lnTo>
                  <a:lnTo>
                    <a:pt x="270" y="305"/>
                  </a:lnTo>
                  <a:lnTo>
                    <a:pt x="270" y="304"/>
                  </a:lnTo>
                  <a:lnTo>
                    <a:pt x="269" y="304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8" y="301"/>
                  </a:lnTo>
                  <a:lnTo>
                    <a:pt x="267" y="300"/>
                  </a:lnTo>
                  <a:lnTo>
                    <a:pt x="266" y="296"/>
                  </a:lnTo>
                  <a:lnTo>
                    <a:pt x="266" y="295"/>
                  </a:lnTo>
                  <a:lnTo>
                    <a:pt x="265" y="294"/>
                  </a:lnTo>
                  <a:lnTo>
                    <a:pt x="265" y="293"/>
                  </a:lnTo>
                  <a:lnTo>
                    <a:pt x="264" y="293"/>
                  </a:lnTo>
                  <a:lnTo>
                    <a:pt x="264" y="292"/>
                  </a:lnTo>
                  <a:lnTo>
                    <a:pt x="263" y="292"/>
                  </a:lnTo>
                  <a:lnTo>
                    <a:pt x="261" y="289"/>
                  </a:lnTo>
                  <a:lnTo>
                    <a:pt x="261" y="288"/>
                  </a:lnTo>
                  <a:lnTo>
                    <a:pt x="260" y="288"/>
                  </a:lnTo>
                  <a:lnTo>
                    <a:pt x="259" y="287"/>
                  </a:lnTo>
                  <a:lnTo>
                    <a:pt x="258" y="287"/>
                  </a:lnTo>
                  <a:lnTo>
                    <a:pt x="257" y="286"/>
                  </a:lnTo>
                  <a:lnTo>
                    <a:pt x="255" y="286"/>
                  </a:lnTo>
                  <a:lnTo>
                    <a:pt x="252" y="285"/>
                  </a:lnTo>
                  <a:lnTo>
                    <a:pt x="248" y="284"/>
                  </a:lnTo>
                  <a:lnTo>
                    <a:pt x="246" y="283"/>
                  </a:lnTo>
                  <a:lnTo>
                    <a:pt x="243" y="283"/>
                  </a:lnTo>
                  <a:lnTo>
                    <a:pt x="242" y="282"/>
                  </a:lnTo>
                  <a:lnTo>
                    <a:pt x="241" y="282"/>
                  </a:lnTo>
                  <a:lnTo>
                    <a:pt x="240" y="282"/>
                  </a:lnTo>
                  <a:lnTo>
                    <a:pt x="239" y="282"/>
                  </a:lnTo>
                  <a:lnTo>
                    <a:pt x="238" y="283"/>
                  </a:lnTo>
                  <a:lnTo>
                    <a:pt x="236" y="284"/>
                  </a:lnTo>
                  <a:lnTo>
                    <a:pt x="234" y="284"/>
                  </a:lnTo>
                  <a:lnTo>
                    <a:pt x="233" y="285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29" y="289"/>
                  </a:lnTo>
                  <a:lnTo>
                    <a:pt x="228" y="289"/>
                  </a:lnTo>
                  <a:lnTo>
                    <a:pt x="228" y="290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3" y="292"/>
                  </a:lnTo>
                  <a:lnTo>
                    <a:pt x="222" y="293"/>
                  </a:lnTo>
                  <a:lnTo>
                    <a:pt x="221" y="293"/>
                  </a:lnTo>
                  <a:lnTo>
                    <a:pt x="218" y="295"/>
                  </a:lnTo>
                  <a:lnTo>
                    <a:pt x="217" y="296"/>
                  </a:lnTo>
                  <a:lnTo>
                    <a:pt x="216" y="296"/>
                  </a:lnTo>
                  <a:lnTo>
                    <a:pt x="215" y="296"/>
                  </a:lnTo>
                  <a:lnTo>
                    <a:pt x="215" y="296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3" y="296"/>
                  </a:lnTo>
                  <a:lnTo>
                    <a:pt x="212" y="296"/>
                  </a:lnTo>
                  <a:lnTo>
                    <a:pt x="211" y="296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8" y="294"/>
                  </a:lnTo>
                  <a:lnTo>
                    <a:pt x="207" y="294"/>
                  </a:lnTo>
                  <a:lnTo>
                    <a:pt x="207" y="293"/>
                  </a:lnTo>
                  <a:lnTo>
                    <a:pt x="206" y="292"/>
                  </a:lnTo>
                  <a:lnTo>
                    <a:pt x="206" y="291"/>
                  </a:lnTo>
                  <a:lnTo>
                    <a:pt x="205" y="288"/>
                  </a:lnTo>
                  <a:lnTo>
                    <a:pt x="204" y="286"/>
                  </a:lnTo>
                  <a:lnTo>
                    <a:pt x="204" y="285"/>
                  </a:lnTo>
                  <a:lnTo>
                    <a:pt x="203" y="283"/>
                  </a:lnTo>
                  <a:lnTo>
                    <a:pt x="202" y="282"/>
                  </a:lnTo>
                  <a:lnTo>
                    <a:pt x="201" y="282"/>
                  </a:lnTo>
                  <a:lnTo>
                    <a:pt x="201" y="281"/>
                  </a:lnTo>
                  <a:lnTo>
                    <a:pt x="200" y="281"/>
                  </a:lnTo>
                  <a:lnTo>
                    <a:pt x="200" y="280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80"/>
                  </a:lnTo>
                  <a:lnTo>
                    <a:pt x="194" y="281"/>
                  </a:lnTo>
                  <a:lnTo>
                    <a:pt x="193" y="282"/>
                  </a:lnTo>
                  <a:lnTo>
                    <a:pt x="192" y="283"/>
                  </a:lnTo>
                  <a:lnTo>
                    <a:pt x="191" y="284"/>
                  </a:lnTo>
                  <a:lnTo>
                    <a:pt x="190" y="285"/>
                  </a:lnTo>
                  <a:lnTo>
                    <a:pt x="189" y="285"/>
                  </a:lnTo>
                  <a:lnTo>
                    <a:pt x="189" y="286"/>
                  </a:lnTo>
                  <a:lnTo>
                    <a:pt x="188" y="287"/>
                  </a:lnTo>
                  <a:lnTo>
                    <a:pt x="188" y="287"/>
                  </a:lnTo>
                  <a:lnTo>
                    <a:pt x="187" y="288"/>
                  </a:lnTo>
                  <a:lnTo>
                    <a:pt x="186" y="291"/>
                  </a:lnTo>
                  <a:lnTo>
                    <a:pt x="186" y="292"/>
                  </a:lnTo>
                  <a:lnTo>
                    <a:pt x="185" y="292"/>
                  </a:lnTo>
                  <a:lnTo>
                    <a:pt x="185" y="293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3" y="295"/>
                  </a:lnTo>
                  <a:lnTo>
                    <a:pt x="182" y="296"/>
                  </a:lnTo>
                  <a:lnTo>
                    <a:pt x="181" y="296"/>
                  </a:lnTo>
                  <a:lnTo>
                    <a:pt x="180" y="296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5" y="298"/>
                  </a:lnTo>
                  <a:lnTo>
                    <a:pt x="172" y="299"/>
                  </a:lnTo>
                  <a:lnTo>
                    <a:pt x="171" y="300"/>
                  </a:lnTo>
                  <a:lnTo>
                    <a:pt x="170" y="300"/>
                  </a:lnTo>
                  <a:lnTo>
                    <a:pt x="170" y="300"/>
                  </a:lnTo>
                  <a:lnTo>
                    <a:pt x="168" y="300"/>
                  </a:lnTo>
                  <a:lnTo>
                    <a:pt x="167" y="300"/>
                  </a:lnTo>
                  <a:lnTo>
                    <a:pt x="167" y="300"/>
                  </a:lnTo>
                  <a:lnTo>
                    <a:pt x="165" y="299"/>
                  </a:lnTo>
                  <a:lnTo>
                    <a:pt x="163" y="298"/>
                  </a:lnTo>
                  <a:lnTo>
                    <a:pt x="161" y="298"/>
                  </a:lnTo>
                  <a:lnTo>
                    <a:pt x="161" y="297"/>
                  </a:lnTo>
                  <a:lnTo>
                    <a:pt x="160" y="297"/>
                  </a:lnTo>
                  <a:lnTo>
                    <a:pt x="159" y="297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2" y="297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7" y="297"/>
                  </a:lnTo>
                  <a:lnTo>
                    <a:pt x="146" y="297"/>
                  </a:lnTo>
                  <a:lnTo>
                    <a:pt x="144" y="297"/>
                  </a:lnTo>
                  <a:lnTo>
                    <a:pt x="144" y="297"/>
                  </a:lnTo>
                  <a:lnTo>
                    <a:pt x="143" y="297"/>
                  </a:lnTo>
                  <a:lnTo>
                    <a:pt x="142" y="296"/>
                  </a:lnTo>
                  <a:lnTo>
                    <a:pt x="141" y="296"/>
                  </a:lnTo>
                  <a:lnTo>
                    <a:pt x="140" y="296"/>
                  </a:lnTo>
                  <a:lnTo>
                    <a:pt x="139" y="294"/>
                  </a:lnTo>
                  <a:lnTo>
                    <a:pt x="138" y="294"/>
                  </a:lnTo>
                  <a:lnTo>
                    <a:pt x="138" y="294"/>
                  </a:lnTo>
                  <a:lnTo>
                    <a:pt x="137" y="293"/>
                  </a:lnTo>
                  <a:lnTo>
                    <a:pt x="137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6" y="293"/>
                  </a:lnTo>
                  <a:lnTo>
                    <a:pt x="135" y="293"/>
                  </a:lnTo>
                  <a:lnTo>
                    <a:pt x="132" y="295"/>
                  </a:lnTo>
                  <a:lnTo>
                    <a:pt x="131" y="296"/>
                  </a:lnTo>
                  <a:lnTo>
                    <a:pt x="130" y="296"/>
                  </a:lnTo>
                  <a:lnTo>
                    <a:pt x="128" y="296"/>
                  </a:lnTo>
                  <a:lnTo>
                    <a:pt x="127" y="296"/>
                  </a:lnTo>
                  <a:lnTo>
                    <a:pt x="126" y="297"/>
                  </a:lnTo>
                  <a:lnTo>
                    <a:pt x="125" y="297"/>
                  </a:lnTo>
                  <a:lnTo>
                    <a:pt x="125" y="298"/>
                  </a:lnTo>
                  <a:lnTo>
                    <a:pt x="124" y="298"/>
                  </a:lnTo>
                  <a:lnTo>
                    <a:pt x="123" y="299"/>
                  </a:lnTo>
                  <a:lnTo>
                    <a:pt x="123" y="300"/>
                  </a:lnTo>
                  <a:lnTo>
                    <a:pt x="122" y="300"/>
                  </a:lnTo>
                  <a:lnTo>
                    <a:pt x="122" y="301"/>
                  </a:lnTo>
                  <a:lnTo>
                    <a:pt x="121" y="303"/>
                  </a:lnTo>
                  <a:lnTo>
                    <a:pt x="121" y="303"/>
                  </a:lnTo>
                  <a:lnTo>
                    <a:pt x="120" y="304"/>
                  </a:lnTo>
                  <a:lnTo>
                    <a:pt x="120" y="305"/>
                  </a:lnTo>
                  <a:lnTo>
                    <a:pt x="118" y="306"/>
                  </a:lnTo>
                  <a:lnTo>
                    <a:pt x="117" y="307"/>
                  </a:lnTo>
                  <a:lnTo>
                    <a:pt x="116" y="307"/>
                  </a:lnTo>
                  <a:lnTo>
                    <a:pt x="115" y="308"/>
                  </a:lnTo>
                  <a:lnTo>
                    <a:pt x="114" y="308"/>
                  </a:lnTo>
                  <a:lnTo>
                    <a:pt x="112" y="310"/>
                  </a:lnTo>
                  <a:lnTo>
                    <a:pt x="111" y="310"/>
                  </a:lnTo>
                  <a:lnTo>
                    <a:pt x="110" y="311"/>
                  </a:lnTo>
                  <a:lnTo>
                    <a:pt x="109" y="311"/>
                  </a:lnTo>
                  <a:lnTo>
                    <a:pt x="108" y="312"/>
                  </a:lnTo>
                  <a:lnTo>
                    <a:pt x="107" y="312"/>
                  </a:lnTo>
                  <a:lnTo>
                    <a:pt x="106" y="312"/>
                  </a:lnTo>
                  <a:lnTo>
                    <a:pt x="105" y="312"/>
                  </a:lnTo>
                  <a:lnTo>
                    <a:pt x="104" y="313"/>
                  </a:lnTo>
                  <a:lnTo>
                    <a:pt x="103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1" y="312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7" y="311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10"/>
                  </a:lnTo>
                  <a:lnTo>
                    <a:pt x="97" y="309"/>
                  </a:lnTo>
                  <a:lnTo>
                    <a:pt x="97" y="308"/>
                  </a:lnTo>
                  <a:lnTo>
                    <a:pt x="97" y="306"/>
                  </a:lnTo>
                  <a:lnTo>
                    <a:pt x="97" y="306"/>
                  </a:lnTo>
                  <a:lnTo>
                    <a:pt x="97" y="305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2"/>
                  </a:lnTo>
                  <a:lnTo>
                    <a:pt x="96" y="302"/>
                  </a:lnTo>
                  <a:lnTo>
                    <a:pt x="96" y="301"/>
                  </a:lnTo>
                  <a:lnTo>
                    <a:pt x="94" y="301"/>
                  </a:lnTo>
                  <a:lnTo>
                    <a:pt x="93" y="300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89" y="297"/>
                  </a:lnTo>
                  <a:lnTo>
                    <a:pt x="88" y="297"/>
                  </a:lnTo>
                  <a:lnTo>
                    <a:pt x="87" y="297"/>
                  </a:lnTo>
                  <a:lnTo>
                    <a:pt x="85" y="296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4" y="292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8"/>
                  </a:lnTo>
                  <a:lnTo>
                    <a:pt x="75" y="287"/>
                  </a:lnTo>
                  <a:lnTo>
                    <a:pt x="74" y="286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4"/>
                  </a:lnTo>
                  <a:lnTo>
                    <a:pt x="75" y="283"/>
                  </a:lnTo>
                  <a:lnTo>
                    <a:pt x="76" y="282"/>
                  </a:lnTo>
                  <a:lnTo>
                    <a:pt x="77" y="281"/>
                  </a:lnTo>
                  <a:lnTo>
                    <a:pt x="78" y="279"/>
                  </a:lnTo>
                  <a:lnTo>
                    <a:pt x="79" y="278"/>
                  </a:lnTo>
                  <a:lnTo>
                    <a:pt x="80" y="277"/>
                  </a:lnTo>
                  <a:lnTo>
                    <a:pt x="81" y="275"/>
                  </a:lnTo>
                  <a:lnTo>
                    <a:pt x="82" y="274"/>
                  </a:lnTo>
                  <a:lnTo>
                    <a:pt x="82" y="273"/>
                  </a:lnTo>
                  <a:lnTo>
                    <a:pt x="83" y="271"/>
                  </a:lnTo>
                  <a:lnTo>
                    <a:pt x="83" y="270"/>
                  </a:lnTo>
                  <a:lnTo>
                    <a:pt x="84" y="269"/>
                  </a:lnTo>
                  <a:lnTo>
                    <a:pt x="84" y="268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6"/>
                  </a:lnTo>
                  <a:lnTo>
                    <a:pt x="84" y="266"/>
                  </a:lnTo>
                  <a:lnTo>
                    <a:pt x="83" y="264"/>
                  </a:lnTo>
                  <a:lnTo>
                    <a:pt x="83" y="263"/>
                  </a:lnTo>
                  <a:lnTo>
                    <a:pt x="82" y="261"/>
                  </a:lnTo>
                  <a:lnTo>
                    <a:pt x="82" y="260"/>
                  </a:lnTo>
                  <a:lnTo>
                    <a:pt x="80" y="258"/>
                  </a:lnTo>
                  <a:lnTo>
                    <a:pt x="79" y="257"/>
                  </a:lnTo>
                  <a:lnTo>
                    <a:pt x="78" y="255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3"/>
                  </a:lnTo>
                  <a:lnTo>
                    <a:pt x="78" y="251"/>
                  </a:lnTo>
                  <a:lnTo>
                    <a:pt x="78" y="249"/>
                  </a:lnTo>
                  <a:lnTo>
                    <a:pt x="78" y="248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3"/>
                  </a:lnTo>
                  <a:lnTo>
                    <a:pt x="79" y="242"/>
                  </a:lnTo>
                  <a:lnTo>
                    <a:pt x="79" y="240"/>
                  </a:lnTo>
                  <a:lnTo>
                    <a:pt x="78" y="237"/>
                  </a:lnTo>
                  <a:lnTo>
                    <a:pt x="78" y="235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8" y="231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29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3" y="226"/>
                  </a:lnTo>
                  <a:lnTo>
                    <a:pt x="72" y="225"/>
                  </a:lnTo>
                  <a:lnTo>
                    <a:pt x="72" y="224"/>
                  </a:lnTo>
                  <a:lnTo>
                    <a:pt x="71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69" y="224"/>
                  </a:lnTo>
                  <a:lnTo>
                    <a:pt x="68" y="224"/>
                  </a:lnTo>
                  <a:lnTo>
                    <a:pt x="68" y="224"/>
                  </a:lnTo>
                  <a:lnTo>
                    <a:pt x="66" y="225"/>
                  </a:lnTo>
                  <a:lnTo>
                    <a:pt x="65" y="225"/>
                  </a:lnTo>
                  <a:lnTo>
                    <a:pt x="63" y="226"/>
                  </a:lnTo>
                  <a:lnTo>
                    <a:pt x="59" y="227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2" y="227"/>
                  </a:lnTo>
                  <a:lnTo>
                    <a:pt x="49" y="227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3" y="226"/>
                  </a:lnTo>
                  <a:lnTo>
                    <a:pt x="39" y="227"/>
                  </a:lnTo>
                  <a:lnTo>
                    <a:pt x="38" y="227"/>
                  </a:lnTo>
                  <a:lnTo>
                    <a:pt x="37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5" y="226"/>
                  </a:lnTo>
                  <a:lnTo>
                    <a:pt x="34" y="226"/>
                  </a:lnTo>
                  <a:lnTo>
                    <a:pt x="33" y="226"/>
                  </a:lnTo>
                  <a:lnTo>
                    <a:pt x="33" y="225"/>
                  </a:lnTo>
                  <a:lnTo>
                    <a:pt x="32" y="225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2"/>
                  </a:lnTo>
                  <a:lnTo>
                    <a:pt x="29" y="221"/>
                  </a:lnTo>
                  <a:lnTo>
                    <a:pt x="29" y="220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4"/>
                  </a:lnTo>
                  <a:lnTo>
                    <a:pt x="28" y="214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0"/>
                  </a:lnTo>
                  <a:lnTo>
                    <a:pt x="24" y="209"/>
                  </a:lnTo>
                  <a:lnTo>
                    <a:pt x="23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1" y="205"/>
                  </a:lnTo>
                  <a:lnTo>
                    <a:pt x="20" y="205"/>
                  </a:lnTo>
                  <a:lnTo>
                    <a:pt x="20" y="204"/>
                  </a:lnTo>
                  <a:lnTo>
                    <a:pt x="19" y="204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5" y="202"/>
                  </a:lnTo>
                  <a:lnTo>
                    <a:pt x="12" y="202"/>
                  </a:lnTo>
                  <a:lnTo>
                    <a:pt x="11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8" y="201"/>
                  </a:lnTo>
                  <a:lnTo>
                    <a:pt x="7" y="200"/>
                  </a:lnTo>
                  <a:lnTo>
                    <a:pt x="6" y="200"/>
                  </a:lnTo>
                  <a:lnTo>
                    <a:pt x="6" y="199"/>
                  </a:lnTo>
                  <a:lnTo>
                    <a:pt x="5" y="199"/>
                  </a:lnTo>
                  <a:lnTo>
                    <a:pt x="5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3" y="194"/>
                  </a:lnTo>
                  <a:lnTo>
                    <a:pt x="3" y="193"/>
                  </a:lnTo>
                  <a:lnTo>
                    <a:pt x="2" y="192"/>
                  </a:lnTo>
                  <a:lnTo>
                    <a:pt x="1" y="190"/>
                  </a:lnTo>
                  <a:lnTo>
                    <a:pt x="1" y="189"/>
                  </a:lnTo>
                  <a:lnTo>
                    <a:pt x="1" y="189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1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3" y="183"/>
                  </a:lnTo>
                  <a:lnTo>
                    <a:pt x="5" y="181"/>
                  </a:lnTo>
                  <a:lnTo>
                    <a:pt x="6" y="181"/>
                  </a:lnTo>
                  <a:lnTo>
                    <a:pt x="6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79"/>
                  </a:lnTo>
                  <a:lnTo>
                    <a:pt x="8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5"/>
                  </a:lnTo>
                  <a:lnTo>
                    <a:pt x="13" y="164"/>
                  </a:lnTo>
                  <a:lnTo>
                    <a:pt x="12" y="162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2"/>
                  </a:lnTo>
                  <a:lnTo>
                    <a:pt x="7" y="151"/>
                  </a:lnTo>
                  <a:lnTo>
                    <a:pt x="7" y="150"/>
                  </a:lnTo>
                  <a:lnTo>
                    <a:pt x="7" y="149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0"/>
                  </a:lnTo>
                  <a:lnTo>
                    <a:pt x="6" y="138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4" y="125"/>
                  </a:lnTo>
                  <a:lnTo>
                    <a:pt x="5" y="124"/>
                  </a:lnTo>
                  <a:lnTo>
                    <a:pt x="6" y="123"/>
                  </a:lnTo>
                  <a:lnTo>
                    <a:pt x="8" y="121"/>
                  </a:lnTo>
                  <a:lnTo>
                    <a:pt x="9" y="120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20"/>
                  </a:lnTo>
                  <a:lnTo>
                    <a:pt x="11" y="121"/>
                  </a:lnTo>
                  <a:lnTo>
                    <a:pt x="13" y="121"/>
                  </a:lnTo>
                  <a:lnTo>
                    <a:pt x="15" y="123"/>
                  </a:lnTo>
                  <a:lnTo>
                    <a:pt x="17" y="124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4" y="127"/>
                  </a:lnTo>
                  <a:lnTo>
                    <a:pt x="25" y="128"/>
                  </a:lnTo>
                  <a:lnTo>
                    <a:pt x="27" y="129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FBEC1A1C-D6CE-B2DD-30F8-6DED8A6D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" y="2993"/>
              <a:ext cx="124" cy="138"/>
            </a:xfrm>
            <a:custGeom>
              <a:avLst/>
              <a:gdLst>
                <a:gd name="T0" fmla="*/ 3 w 124"/>
                <a:gd name="T1" fmla="*/ 131 h 138"/>
                <a:gd name="T2" fmla="*/ 7 w 124"/>
                <a:gd name="T3" fmla="*/ 131 h 138"/>
                <a:gd name="T4" fmla="*/ 9 w 124"/>
                <a:gd name="T5" fmla="*/ 130 h 138"/>
                <a:gd name="T6" fmla="*/ 15 w 124"/>
                <a:gd name="T7" fmla="*/ 123 h 138"/>
                <a:gd name="T8" fmla="*/ 18 w 124"/>
                <a:gd name="T9" fmla="*/ 121 h 138"/>
                <a:gd name="T10" fmla="*/ 20 w 124"/>
                <a:gd name="T11" fmla="*/ 120 h 138"/>
                <a:gd name="T12" fmla="*/ 24 w 124"/>
                <a:gd name="T13" fmla="*/ 120 h 138"/>
                <a:gd name="T14" fmla="*/ 29 w 124"/>
                <a:gd name="T15" fmla="*/ 123 h 138"/>
                <a:gd name="T16" fmla="*/ 35 w 124"/>
                <a:gd name="T17" fmla="*/ 124 h 138"/>
                <a:gd name="T18" fmla="*/ 39 w 124"/>
                <a:gd name="T19" fmla="*/ 126 h 138"/>
                <a:gd name="T20" fmla="*/ 46 w 124"/>
                <a:gd name="T21" fmla="*/ 129 h 138"/>
                <a:gd name="T22" fmla="*/ 50 w 124"/>
                <a:gd name="T23" fmla="*/ 129 h 138"/>
                <a:gd name="T24" fmla="*/ 52 w 124"/>
                <a:gd name="T25" fmla="*/ 130 h 138"/>
                <a:gd name="T26" fmla="*/ 53 w 124"/>
                <a:gd name="T27" fmla="*/ 133 h 138"/>
                <a:gd name="T28" fmla="*/ 54 w 124"/>
                <a:gd name="T29" fmla="*/ 136 h 138"/>
                <a:gd name="T30" fmla="*/ 56 w 124"/>
                <a:gd name="T31" fmla="*/ 138 h 138"/>
                <a:gd name="T32" fmla="*/ 59 w 124"/>
                <a:gd name="T33" fmla="*/ 138 h 138"/>
                <a:gd name="T34" fmla="*/ 63 w 124"/>
                <a:gd name="T35" fmla="*/ 138 h 138"/>
                <a:gd name="T36" fmla="*/ 66 w 124"/>
                <a:gd name="T37" fmla="*/ 136 h 138"/>
                <a:gd name="T38" fmla="*/ 70 w 124"/>
                <a:gd name="T39" fmla="*/ 133 h 138"/>
                <a:gd name="T40" fmla="*/ 71 w 124"/>
                <a:gd name="T41" fmla="*/ 130 h 138"/>
                <a:gd name="T42" fmla="*/ 70 w 124"/>
                <a:gd name="T43" fmla="*/ 124 h 138"/>
                <a:gd name="T44" fmla="*/ 71 w 124"/>
                <a:gd name="T45" fmla="*/ 121 h 138"/>
                <a:gd name="T46" fmla="*/ 75 w 124"/>
                <a:gd name="T47" fmla="*/ 117 h 138"/>
                <a:gd name="T48" fmla="*/ 80 w 124"/>
                <a:gd name="T49" fmla="*/ 112 h 138"/>
                <a:gd name="T50" fmla="*/ 82 w 124"/>
                <a:gd name="T51" fmla="*/ 111 h 138"/>
                <a:gd name="T52" fmla="*/ 85 w 124"/>
                <a:gd name="T53" fmla="*/ 112 h 138"/>
                <a:gd name="T54" fmla="*/ 88 w 124"/>
                <a:gd name="T55" fmla="*/ 117 h 138"/>
                <a:gd name="T56" fmla="*/ 91 w 124"/>
                <a:gd name="T57" fmla="*/ 120 h 138"/>
                <a:gd name="T58" fmla="*/ 96 w 124"/>
                <a:gd name="T59" fmla="*/ 122 h 138"/>
                <a:gd name="T60" fmla="*/ 99 w 124"/>
                <a:gd name="T61" fmla="*/ 122 h 138"/>
                <a:gd name="T62" fmla="*/ 105 w 124"/>
                <a:gd name="T63" fmla="*/ 120 h 138"/>
                <a:gd name="T64" fmla="*/ 110 w 124"/>
                <a:gd name="T65" fmla="*/ 121 h 138"/>
                <a:gd name="T66" fmla="*/ 113 w 124"/>
                <a:gd name="T67" fmla="*/ 121 h 138"/>
                <a:gd name="T68" fmla="*/ 119 w 124"/>
                <a:gd name="T69" fmla="*/ 120 h 138"/>
                <a:gd name="T70" fmla="*/ 122 w 124"/>
                <a:gd name="T71" fmla="*/ 118 h 138"/>
                <a:gd name="T72" fmla="*/ 124 w 124"/>
                <a:gd name="T73" fmla="*/ 117 h 138"/>
                <a:gd name="T74" fmla="*/ 123 w 124"/>
                <a:gd name="T75" fmla="*/ 113 h 138"/>
                <a:gd name="T76" fmla="*/ 120 w 124"/>
                <a:gd name="T77" fmla="*/ 109 h 138"/>
                <a:gd name="T78" fmla="*/ 114 w 124"/>
                <a:gd name="T79" fmla="*/ 99 h 138"/>
                <a:gd name="T80" fmla="*/ 111 w 124"/>
                <a:gd name="T81" fmla="*/ 92 h 138"/>
                <a:gd name="T82" fmla="*/ 111 w 124"/>
                <a:gd name="T83" fmla="*/ 88 h 138"/>
                <a:gd name="T84" fmla="*/ 113 w 124"/>
                <a:gd name="T85" fmla="*/ 79 h 138"/>
                <a:gd name="T86" fmla="*/ 113 w 124"/>
                <a:gd name="T87" fmla="*/ 76 h 138"/>
                <a:gd name="T88" fmla="*/ 111 w 124"/>
                <a:gd name="T89" fmla="*/ 72 h 138"/>
                <a:gd name="T90" fmla="*/ 109 w 124"/>
                <a:gd name="T91" fmla="*/ 65 h 138"/>
                <a:gd name="T92" fmla="*/ 109 w 124"/>
                <a:gd name="T93" fmla="*/ 59 h 138"/>
                <a:gd name="T94" fmla="*/ 107 w 124"/>
                <a:gd name="T95" fmla="*/ 51 h 138"/>
                <a:gd name="T96" fmla="*/ 105 w 124"/>
                <a:gd name="T97" fmla="*/ 43 h 138"/>
                <a:gd name="T98" fmla="*/ 105 w 124"/>
                <a:gd name="T99" fmla="*/ 29 h 138"/>
                <a:gd name="T100" fmla="*/ 106 w 124"/>
                <a:gd name="T101" fmla="*/ 20 h 138"/>
                <a:gd name="T102" fmla="*/ 104 w 124"/>
                <a:gd name="T103" fmla="*/ 16 h 138"/>
                <a:gd name="T104" fmla="*/ 99 w 124"/>
                <a:gd name="T105" fmla="*/ 8 h 138"/>
                <a:gd name="T106" fmla="*/ 97 w 124"/>
                <a:gd name="T107" fmla="*/ 3 h 138"/>
                <a:gd name="T108" fmla="*/ 98 w 124"/>
                <a:gd name="T10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38">
                  <a:moveTo>
                    <a:pt x="0" y="130"/>
                  </a:moveTo>
                  <a:lnTo>
                    <a:pt x="1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4" y="131"/>
                  </a:lnTo>
                  <a:lnTo>
                    <a:pt x="5" y="131"/>
                  </a:lnTo>
                  <a:lnTo>
                    <a:pt x="6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29"/>
                  </a:lnTo>
                  <a:lnTo>
                    <a:pt x="11" y="128"/>
                  </a:lnTo>
                  <a:lnTo>
                    <a:pt x="13" y="125"/>
                  </a:lnTo>
                  <a:lnTo>
                    <a:pt x="15" y="123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2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2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4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38" y="125"/>
                  </a:lnTo>
                  <a:lnTo>
                    <a:pt x="39" y="126"/>
                  </a:lnTo>
                  <a:lnTo>
                    <a:pt x="41" y="127"/>
                  </a:lnTo>
                  <a:lnTo>
                    <a:pt x="42" y="128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8" y="130"/>
                  </a:lnTo>
                  <a:lnTo>
                    <a:pt x="50" y="129"/>
                  </a:lnTo>
                  <a:lnTo>
                    <a:pt x="51" y="129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2" y="130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3" y="132"/>
                  </a:lnTo>
                  <a:lnTo>
                    <a:pt x="53" y="133"/>
                  </a:lnTo>
                  <a:lnTo>
                    <a:pt x="53" y="134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5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7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8"/>
                  </a:lnTo>
                  <a:lnTo>
                    <a:pt x="60" y="138"/>
                  </a:lnTo>
                  <a:lnTo>
                    <a:pt x="61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4" y="137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5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0" y="126"/>
                  </a:lnTo>
                  <a:lnTo>
                    <a:pt x="70" y="125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1"/>
                  </a:lnTo>
                  <a:lnTo>
                    <a:pt x="71" y="120"/>
                  </a:lnTo>
                  <a:lnTo>
                    <a:pt x="72" y="119"/>
                  </a:lnTo>
                  <a:lnTo>
                    <a:pt x="73" y="119"/>
                  </a:lnTo>
                  <a:lnTo>
                    <a:pt x="75" y="117"/>
                  </a:lnTo>
                  <a:lnTo>
                    <a:pt x="77" y="115"/>
                  </a:lnTo>
                  <a:lnTo>
                    <a:pt x="79" y="113"/>
                  </a:lnTo>
                  <a:lnTo>
                    <a:pt x="80" y="113"/>
                  </a:lnTo>
                  <a:lnTo>
                    <a:pt x="80" y="112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2" y="111"/>
                  </a:lnTo>
                  <a:lnTo>
                    <a:pt x="83" y="111"/>
                  </a:lnTo>
                  <a:lnTo>
                    <a:pt x="84" y="111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3"/>
                  </a:lnTo>
                  <a:lnTo>
                    <a:pt x="87" y="115"/>
                  </a:lnTo>
                  <a:lnTo>
                    <a:pt x="88" y="117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4" y="121"/>
                  </a:lnTo>
                  <a:lnTo>
                    <a:pt x="95" y="121"/>
                  </a:lnTo>
                  <a:lnTo>
                    <a:pt x="96" y="122"/>
                  </a:lnTo>
                  <a:lnTo>
                    <a:pt x="97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9" y="122"/>
                  </a:lnTo>
                  <a:lnTo>
                    <a:pt x="100" y="121"/>
                  </a:lnTo>
                  <a:lnTo>
                    <a:pt x="103" y="121"/>
                  </a:lnTo>
                  <a:lnTo>
                    <a:pt x="104" y="120"/>
                  </a:lnTo>
                  <a:lnTo>
                    <a:pt x="105" y="120"/>
                  </a:lnTo>
                  <a:lnTo>
                    <a:pt x="106" y="120"/>
                  </a:lnTo>
                  <a:lnTo>
                    <a:pt x="107" y="120"/>
                  </a:lnTo>
                  <a:lnTo>
                    <a:pt x="109" y="120"/>
                  </a:lnTo>
                  <a:lnTo>
                    <a:pt x="110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6" y="121"/>
                  </a:lnTo>
                  <a:lnTo>
                    <a:pt x="117" y="121"/>
                  </a:lnTo>
                  <a:lnTo>
                    <a:pt x="119" y="120"/>
                  </a:lnTo>
                  <a:lnTo>
                    <a:pt x="120" y="120"/>
                  </a:lnTo>
                  <a:lnTo>
                    <a:pt x="121" y="119"/>
                  </a:lnTo>
                  <a:lnTo>
                    <a:pt x="122" y="119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6"/>
                  </a:lnTo>
                  <a:lnTo>
                    <a:pt x="124" y="115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2" y="112"/>
                  </a:lnTo>
                  <a:lnTo>
                    <a:pt x="122" y="111"/>
                  </a:lnTo>
                  <a:lnTo>
                    <a:pt x="120" y="109"/>
                  </a:lnTo>
                  <a:lnTo>
                    <a:pt x="118" y="105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4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2"/>
                  </a:lnTo>
                  <a:lnTo>
                    <a:pt x="111" y="91"/>
                  </a:lnTo>
                  <a:lnTo>
                    <a:pt x="110" y="90"/>
                  </a:lnTo>
                  <a:lnTo>
                    <a:pt x="111" y="89"/>
                  </a:lnTo>
                  <a:lnTo>
                    <a:pt x="111" y="88"/>
                  </a:lnTo>
                  <a:lnTo>
                    <a:pt x="111" y="86"/>
                  </a:lnTo>
                  <a:lnTo>
                    <a:pt x="112" y="84"/>
                  </a:lnTo>
                  <a:lnTo>
                    <a:pt x="113" y="80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4"/>
                  </a:lnTo>
                  <a:lnTo>
                    <a:pt x="111" y="72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6"/>
                  </a:lnTo>
                  <a:lnTo>
                    <a:pt x="109" y="65"/>
                  </a:lnTo>
                  <a:lnTo>
                    <a:pt x="109" y="64"/>
                  </a:lnTo>
                  <a:lnTo>
                    <a:pt x="109" y="63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8" y="57"/>
                  </a:lnTo>
                  <a:lnTo>
                    <a:pt x="107" y="54"/>
                  </a:lnTo>
                  <a:lnTo>
                    <a:pt x="107" y="51"/>
                  </a:lnTo>
                  <a:lnTo>
                    <a:pt x="106" y="48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5" y="43"/>
                  </a:lnTo>
                  <a:lnTo>
                    <a:pt x="105" y="36"/>
                  </a:lnTo>
                  <a:lnTo>
                    <a:pt x="105" y="31"/>
                  </a:lnTo>
                  <a:lnTo>
                    <a:pt x="105" y="30"/>
                  </a:lnTo>
                  <a:lnTo>
                    <a:pt x="105" y="29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8"/>
                  </a:lnTo>
                  <a:lnTo>
                    <a:pt x="104" y="16"/>
                  </a:lnTo>
                  <a:lnTo>
                    <a:pt x="103" y="15"/>
                  </a:lnTo>
                  <a:lnTo>
                    <a:pt x="101" y="11"/>
                  </a:lnTo>
                  <a:lnTo>
                    <a:pt x="100" y="10"/>
                  </a:lnTo>
                  <a:lnTo>
                    <a:pt x="99" y="8"/>
                  </a:lnTo>
                  <a:lnTo>
                    <a:pt x="98" y="6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1336E8A5-3392-18FE-30D2-143BC88FB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50 w 442"/>
                <a:gd name="T3" fmla="*/ 29 h 291"/>
                <a:gd name="T4" fmla="*/ 179 w 442"/>
                <a:gd name="T5" fmla="*/ 25 h 291"/>
                <a:gd name="T6" fmla="*/ 192 w 442"/>
                <a:gd name="T7" fmla="*/ 43 h 291"/>
                <a:gd name="T8" fmla="*/ 213 w 442"/>
                <a:gd name="T9" fmla="*/ 58 h 291"/>
                <a:gd name="T10" fmla="*/ 242 w 442"/>
                <a:gd name="T11" fmla="*/ 75 h 291"/>
                <a:gd name="T12" fmla="*/ 261 w 442"/>
                <a:gd name="T13" fmla="*/ 74 h 291"/>
                <a:gd name="T14" fmla="*/ 282 w 442"/>
                <a:gd name="T15" fmla="*/ 75 h 291"/>
                <a:gd name="T16" fmla="*/ 287 w 442"/>
                <a:gd name="T17" fmla="*/ 63 h 291"/>
                <a:gd name="T18" fmla="*/ 298 w 442"/>
                <a:gd name="T19" fmla="*/ 47 h 291"/>
                <a:gd name="T20" fmla="*/ 325 w 442"/>
                <a:gd name="T21" fmla="*/ 31 h 291"/>
                <a:gd name="T22" fmla="*/ 336 w 442"/>
                <a:gd name="T23" fmla="*/ 20 h 291"/>
                <a:gd name="T24" fmla="*/ 359 w 442"/>
                <a:gd name="T25" fmla="*/ 29 h 291"/>
                <a:gd name="T26" fmla="*/ 389 w 442"/>
                <a:gd name="T27" fmla="*/ 47 h 291"/>
                <a:gd name="T28" fmla="*/ 408 w 442"/>
                <a:gd name="T29" fmla="*/ 34 h 291"/>
                <a:gd name="T30" fmla="*/ 427 w 442"/>
                <a:gd name="T31" fmla="*/ 6 h 291"/>
                <a:gd name="T32" fmla="*/ 441 w 442"/>
                <a:gd name="T33" fmla="*/ 1 h 291"/>
                <a:gd name="T34" fmla="*/ 430 w 442"/>
                <a:gd name="T35" fmla="*/ 40 h 291"/>
                <a:gd name="T36" fmla="*/ 426 w 442"/>
                <a:gd name="T37" fmla="*/ 62 h 291"/>
                <a:gd name="T38" fmla="*/ 416 w 442"/>
                <a:gd name="T39" fmla="*/ 87 h 291"/>
                <a:gd name="T40" fmla="*/ 402 w 442"/>
                <a:gd name="T41" fmla="*/ 96 h 291"/>
                <a:gd name="T42" fmla="*/ 412 w 442"/>
                <a:gd name="T43" fmla="*/ 133 h 291"/>
                <a:gd name="T44" fmla="*/ 409 w 442"/>
                <a:gd name="T45" fmla="*/ 161 h 291"/>
                <a:gd name="T46" fmla="*/ 416 w 442"/>
                <a:gd name="T47" fmla="*/ 185 h 291"/>
                <a:gd name="T48" fmla="*/ 429 w 442"/>
                <a:gd name="T49" fmla="*/ 210 h 291"/>
                <a:gd name="T50" fmla="*/ 436 w 442"/>
                <a:gd name="T51" fmla="*/ 220 h 291"/>
                <a:gd name="T52" fmla="*/ 440 w 442"/>
                <a:gd name="T53" fmla="*/ 241 h 291"/>
                <a:gd name="T54" fmla="*/ 433 w 442"/>
                <a:gd name="T55" fmla="*/ 265 h 291"/>
                <a:gd name="T56" fmla="*/ 423 w 442"/>
                <a:gd name="T57" fmla="*/ 278 h 291"/>
                <a:gd name="T58" fmla="*/ 390 w 442"/>
                <a:gd name="T59" fmla="*/ 267 h 291"/>
                <a:gd name="T60" fmla="*/ 363 w 442"/>
                <a:gd name="T61" fmla="*/ 268 h 291"/>
                <a:gd name="T62" fmla="*/ 351 w 442"/>
                <a:gd name="T63" fmla="*/ 283 h 291"/>
                <a:gd name="T64" fmla="*/ 325 w 442"/>
                <a:gd name="T65" fmla="*/ 284 h 291"/>
                <a:gd name="T66" fmla="*/ 311 w 442"/>
                <a:gd name="T67" fmla="*/ 290 h 291"/>
                <a:gd name="T68" fmla="*/ 290 w 442"/>
                <a:gd name="T69" fmla="*/ 275 h 291"/>
                <a:gd name="T70" fmla="*/ 261 w 442"/>
                <a:gd name="T71" fmla="*/ 255 h 291"/>
                <a:gd name="T72" fmla="*/ 224 w 442"/>
                <a:gd name="T73" fmla="*/ 242 h 291"/>
                <a:gd name="T74" fmla="*/ 207 w 442"/>
                <a:gd name="T75" fmla="*/ 230 h 291"/>
                <a:gd name="T76" fmla="*/ 188 w 442"/>
                <a:gd name="T77" fmla="*/ 221 h 291"/>
                <a:gd name="T78" fmla="*/ 173 w 442"/>
                <a:gd name="T79" fmla="*/ 241 h 291"/>
                <a:gd name="T80" fmla="*/ 148 w 442"/>
                <a:gd name="T81" fmla="*/ 233 h 291"/>
                <a:gd name="T82" fmla="*/ 143 w 442"/>
                <a:gd name="T83" fmla="*/ 218 h 291"/>
                <a:gd name="T84" fmla="*/ 123 w 442"/>
                <a:gd name="T85" fmla="*/ 209 h 291"/>
                <a:gd name="T86" fmla="*/ 109 w 442"/>
                <a:gd name="T87" fmla="*/ 199 h 291"/>
                <a:gd name="T88" fmla="*/ 89 w 442"/>
                <a:gd name="T89" fmla="*/ 186 h 291"/>
                <a:gd name="T90" fmla="*/ 68 w 442"/>
                <a:gd name="T91" fmla="*/ 186 h 291"/>
                <a:gd name="T92" fmla="*/ 38 w 442"/>
                <a:gd name="T93" fmla="*/ 157 h 291"/>
                <a:gd name="T94" fmla="*/ 46 w 442"/>
                <a:gd name="T95" fmla="*/ 131 h 291"/>
                <a:gd name="T96" fmla="*/ 41 w 442"/>
                <a:gd name="T97" fmla="*/ 114 h 291"/>
                <a:gd name="T98" fmla="*/ 28 w 442"/>
                <a:gd name="T99" fmla="*/ 99 h 291"/>
                <a:gd name="T100" fmla="*/ 15 w 442"/>
                <a:gd name="T101" fmla="*/ 93 h 291"/>
                <a:gd name="T102" fmla="*/ 0 w 442"/>
                <a:gd name="T103" fmla="*/ 82 h 291"/>
                <a:gd name="T104" fmla="*/ 4 w 442"/>
                <a:gd name="T105" fmla="*/ 74 h 291"/>
                <a:gd name="T106" fmla="*/ 11 w 442"/>
                <a:gd name="T107" fmla="*/ 61 h 291"/>
                <a:gd name="T108" fmla="*/ 11 w 442"/>
                <a:gd name="T109" fmla="*/ 52 h 291"/>
                <a:gd name="T110" fmla="*/ 22 w 442"/>
                <a:gd name="T111" fmla="*/ 51 h 291"/>
                <a:gd name="T112" fmla="*/ 40 w 442"/>
                <a:gd name="T113" fmla="*/ 45 h 291"/>
                <a:gd name="T114" fmla="*/ 57 w 442"/>
                <a:gd name="T115" fmla="*/ 32 h 291"/>
                <a:gd name="T116" fmla="*/ 73 w 442"/>
                <a:gd name="T117" fmla="*/ 36 h 291"/>
                <a:gd name="T118" fmla="*/ 94 w 442"/>
                <a:gd name="T119" fmla="*/ 38 h 291"/>
                <a:gd name="T120" fmla="*/ 111 w 442"/>
                <a:gd name="T121" fmla="*/ 2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40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4" y="35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7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3" y="23"/>
                  </a:lnTo>
                  <a:lnTo>
                    <a:pt x="114" y="22"/>
                  </a:lnTo>
                  <a:lnTo>
                    <a:pt x="115" y="21"/>
                  </a:lnTo>
                  <a:lnTo>
                    <a:pt x="116" y="20"/>
                  </a:lnTo>
                  <a:lnTo>
                    <a:pt x="118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18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1">
              <a:extLst>
                <a:ext uri="{FF2B5EF4-FFF2-40B4-BE49-F238E27FC236}">
                  <a16:creationId xmlns:a16="http://schemas.microsoft.com/office/drawing/2014/main" id="{8329A828-A62B-C6EA-612B-2339D152E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" y="3255"/>
              <a:ext cx="442" cy="291"/>
            </a:xfrm>
            <a:custGeom>
              <a:avLst/>
              <a:gdLst>
                <a:gd name="T0" fmla="*/ 131 w 442"/>
                <a:gd name="T1" fmla="*/ 34 h 291"/>
                <a:gd name="T2" fmla="*/ 148 w 442"/>
                <a:gd name="T3" fmla="*/ 30 h 291"/>
                <a:gd name="T4" fmla="*/ 170 w 442"/>
                <a:gd name="T5" fmla="*/ 23 h 291"/>
                <a:gd name="T6" fmla="*/ 190 w 442"/>
                <a:gd name="T7" fmla="*/ 40 h 291"/>
                <a:gd name="T8" fmla="*/ 208 w 442"/>
                <a:gd name="T9" fmla="*/ 53 h 291"/>
                <a:gd name="T10" fmla="*/ 231 w 442"/>
                <a:gd name="T11" fmla="*/ 68 h 291"/>
                <a:gd name="T12" fmla="*/ 255 w 442"/>
                <a:gd name="T13" fmla="*/ 75 h 291"/>
                <a:gd name="T14" fmla="*/ 274 w 442"/>
                <a:gd name="T15" fmla="*/ 74 h 291"/>
                <a:gd name="T16" fmla="*/ 282 w 442"/>
                <a:gd name="T17" fmla="*/ 69 h 291"/>
                <a:gd name="T18" fmla="*/ 289 w 442"/>
                <a:gd name="T19" fmla="*/ 56 h 291"/>
                <a:gd name="T20" fmla="*/ 312 w 442"/>
                <a:gd name="T21" fmla="*/ 39 h 291"/>
                <a:gd name="T22" fmla="*/ 329 w 442"/>
                <a:gd name="T23" fmla="*/ 22 h 291"/>
                <a:gd name="T24" fmla="*/ 343 w 442"/>
                <a:gd name="T25" fmla="*/ 24 h 291"/>
                <a:gd name="T26" fmla="*/ 365 w 442"/>
                <a:gd name="T27" fmla="*/ 33 h 291"/>
                <a:gd name="T28" fmla="*/ 392 w 442"/>
                <a:gd name="T29" fmla="*/ 48 h 291"/>
                <a:gd name="T30" fmla="*/ 409 w 442"/>
                <a:gd name="T31" fmla="*/ 33 h 291"/>
                <a:gd name="T32" fmla="*/ 428 w 442"/>
                <a:gd name="T33" fmla="*/ 6 h 291"/>
                <a:gd name="T34" fmla="*/ 441 w 442"/>
                <a:gd name="T35" fmla="*/ 1 h 291"/>
                <a:gd name="T36" fmla="*/ 430 w 442"/>
                <a:gd name="T37" fmla="*/ 39 h 291"/>
                <a:gd name="T38" fmla="*/ 426 w 442"/>
                <a:gd name="T39" fmla="*/ 61 h 291"/>
                <a:gd name="T40" fmla="*/ 423 w 442"/>
                <a:gd name="T41" fmla="*/ 81 h 291"/>
                <a:gd name="T42" fmla="*/ 403 w 442"/>
                <a:gd name="T43" fmla="*/ 95 h 291"/>
                <a:gd name="T44" fmla="*/ 407 w 442"/>
                <a:gd name="T45" fmla="*/ 119 h 291"/>
                <a:gd name="T46" fmla="*/ 413 w 442"/>
                <a:gd name="T47" fmla="*/ 154 h 291"/>
                <a:gd name="T48" fmla="*/ 410 w 442"/>
                <a:gd name="T49" fmla="*/ 173 h 291"/>
                <a:gd name="T50" fmla="*/ 426 w 442"/>
                <a:gd name="T51" fmla="*/ 200 h 291"/>
                <a:gd name="T52" fmla="*/ 428 w 442"/>
                <a:gd name="T53" fmla="*/ 218 h 291"/>
                <a:gd name="T54" fmla="*/ 441 w 442"/>
                <a:gd name="T55" fmla="*/ 225 h 291"/>
                <a:gd name="T56" fmla="*/ 433 w 442"/>
                <a:gd name="T57" fmla="*/ 251 h 291"/>
                <a:gd name="T58" fmla="*/ 431 w 442"/>
                <a:gd name="T59" fmla="*/ 274 h 291"/>
                <a:gd name="T60" fmla="*/ 415 w 442"/>
                <a:gd name="T61" fmla="*/ 275 h 291"/>
                <a:gd name="T62" fmla="*/ 384 w 442"/>
                <a:gd name="T63" fmla="*/ 268 h 291"/>
                <a:gd name="T64" fmla="*/ 358 w 442"/>
                <a:gd name="T65" fmla="*/ 266 h 291"/>
                <a:gd name="T66" fmla="*/ 350 w 442"/>
                <a:gd name="T67" fmla="*/ 283 h 291"/>
                <a:gd name="T68" fmla="*/ 324 w 442"/>
                <a:gd name="T69" fmla="*/ 284 h 291"/>
                <a:gd name="T70" fmla="*/ 311 w 442"/>
                <a:gd name="T71" fmla="*/ 290 h 291"/>
                <a:gd name="T72" fmla="*/ 292 w 442"/>
                <a:gd name="T73" fmla="*/ 276 h 291"/>
                <a:gd name="T74" fmla="*/ 264 w 442"/>
                <a:gd name="T75" fmla="*/ 258 h 291"/>
                <a:gd name="T76" fmla="*/ 230 w 442"/>
                <a:gd name="T77" fmla="*/ 242 h 291"/>
                <a:gd name="T78" fmla="*/ 210 w 442"/>
                <a:gd name="T79" fmla="*/ 232 h 291"/>
                <a:gd name="T80" fmla="*/ 191 w 442"/>
                <a:gd name="T81" fmla="*/ 223 h 291"/>
                <a:gd name="T82" fmla="*/ 179 w 442"/>
                <a:gd name="T83" fmla="*/ 234 h 291"/>
                <a:gd name="T84" fmla="*/ 163 w 442"/>
                <a:gd name="T85" fmla="*/ 241 h 291"/>
                <a:gd name="T86" fmla="*/ 147 w 442"/>
                <a:gd name="T87" fmla="*/ 222 h 291"/>
                <a:gd name="T88" fmla="*/ 132 w 442"/>
                <a:gd name="T89" fmla="*/ 213 h 291"/>
                <a:gd name="T90" fmla="*/ 120 w 442"/>
                <a:gd name="T91" fmla="*/ 203 h 291"/>
                <a:gd name="T92" fmla="*/ 101 w 442"/>
                <a:gd name="T93" fmla="*/ 192 h 291"/>
                <a:gd name="T94" fmla="*/ 84 w 442"/>
                <a:gd name="T95" fmla="*/ 187 h 291"/>
                <a:gd name="T96" fmla="*/ 64 w 442"/>
                <a:gd name="T97" fmla="*/ 184 h 291"/>
                <a:gd name="T98" fmla="*/ 39 w 442"/>
                <a:gd name="T99" fmla="*/ 149 h 291"/>
                <a:gd name="T100" fmla="*/ 45 w 442"/>
                <a:gd name="T101" fmla="*/ 127 h 291"/>
                <a:gd name="T102" fmla="*/ 37 w 442"/>
                <a:gd name="T103" fmla="*/ 112 h 291"/>
                <a:gd name="T104" fmla="*/ 28 w 442"/>
                <a:gd name="T105" fmla="*/ 99 h 291"/>
                <a:gd name="T106" fmla="*/ 15 w 442"/>
                <a:gd name="T107" fmla="*/ 93 h 291"/>
                <a:gd name="T108" fmla="*/ 0 w 442"/>
                <a:gd name="T109" fmla="*/ 83 h 291"/>
                <a:gd name="T110" fmla="*/ 5 w 442"/>
                <a:gd name="T111" fmla="*/ 76 h 291"/>
                <a:gd name="T112" fmla="*/ 10 w 442"/>
                <a:gd name="T113" fmla="*/ 66 h 291"/>
                <a:gd name="T114" fmla="*/ 10 w 442"/>
                <a:gd name="T115" fmla="*/ 54 h 291"/>
                <a:gd name="T116" fmla="*/ 19 w 442"/>
                <a:gd name="T117" fmla="*/ 49 h 291"/>
                <a:gd name="T118" fmla="*/ 33 w 442"/>
                <a:gd name="T119" fmla="*/ 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91">
                  <a:moveTo>
                    <a:pt x="121" y="18"/>
                  </a:moveTo>
                  <a:lnTo>
                    <a:pt x="121" y="18"/>
                  </a:lnTo>
                  <a:lnTo>
                    <a:pt x="122" y="19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5" y="22"/>
                  </a:lnTo>
                  <a:lnTo>
                    <a:pt x="126" y="24"/>
                  </a:lnTo>
                  <a:lnTo>
                    <a:pt x="126" y="25"/>
                  </a:lnTo>
                  <a:lnTo>
                    <a:pt x="127" y="27"/>
                  </a:lnTo>
                  <a:lnTo>
                    <a:pt x="128" y="30"/>
                  </a:lnTo>
                  <a:lnTo>
                    <a:pt x="128" y="31"/>
                  </a:lnTo>
                  <a:lnTo>
                    <a:pt x="129" y="32"/>
                  </a:lnTo>
                  <a:lnTo>
                    <a:pt x="129" y="33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5" y="35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8" y="35"/>
                  </a:lnTo>
                  <a:lnTo>
                    <a:pt x="139" y="35"/>
                  </a:lnTo>
                  <a:lnTo>
                    <a:pt x="140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5" y="31"/>
                  </a:lnTo>
                  <a:lnTo>
                    <a:pt x="148" y="30"/>
                  </a:lnTo>
                  <a:lnTo>
                    <a:pt x="149" y="29"/>
                  </a:lnTo>
                  <a:lnTo>
                    <a:pt x="150" y="29"/>
                  </a:lnTo>
                  <a:lnTo>
                    <a:pt x="150" y="28"/>
                  </a:lnTo>
                  <a:lnTo>
                    <a:pt x="151" y="28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4"/>
                  </a:lnTo>
                  <a:lnTo>
                    <a:pt x="156" y="23"/>
                  </a:lnTo>
                  <a:lnTo>
                    <a:pt x="158" y="23"/>
                  </a:lnTo>
                  <a:lnTo>
                    <a:pt x="160" y="22"/>
                  </a:lnTo>
                  <a:lnTo>
                    <a:pt x="161" y="21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70" y="23"/>
                  </a:lnTo>
                  <a:lnTo>
                    <a:pt x="174" y="24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0" y="26"/>
                  </a:lnTo>
                  <a:lnTo>
                    <a:pt x="181" y="26"/>
                  </a:lnTo>
                  <a:lnTo>
                    <a:pt x="182" y="27"/>
                  </a:lnTo>
                  <a:lnTo>
                    <a:pt x="183" y="27"/>
                  </a:lnTo>
                  <a:lnTo>
                    <a:pt x="183" y="28"/>
                  </a:lnTo>
                  <a:lnTo>
                    <a:pt x="185" y="31"/>
                  </a:lnTo>
                  <a:lnTo>
                    <a:pt x="186" y="31"/>
                  </a:lnTo>
                  <a:lnTo>
                    <a:pt x="186" y="32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88" y="35"/>
                  </a:lnTo>
                  <a:lnTo>
                    <a:pt x="189" y="39"/>
                  </a:lnTo>
                  <a:lnTo>
                    <a:pt x="190" y="40"/>
                  </a:lnTo>
                  <a:lnTo>
                    <a:pt x="190" y="41"/>
                  </a:lnTo>
                  <a:lnTo>
                    <a:pt x="191" y="42"/>
                  </a:lnTo>
                  <a:lnTo>
                    <a:pt x="191" y="43"/>
                  </a:lnTo>
                  <a:lnTo>
                    <a:pt x="192" y="43"/>
                  </a:lnTo>
                  <a:lnTo>
                    <a:pt x="192" y="44"/>
                  </a:lnTo>
                  <a:lnTo>
                    <a:pt x="193" y="44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6"/>
                  </a:lnTo>
                  <a:lnTo>
                    <a:pt x="200" y="46"/>
                  </a:lnTo>
                  <a:lnTo>
                    <a:pt x="201" y="47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4" y="49"/>
                  </a:lnTo>
                  <a:lnTo>
                    <a:pt x="206" y="50"/>
                  </a:lnTo>
                  <a:lnTo>
                    <a:pt x="208" y="53"/>
                  </a:lnTo>
                  <a:lnTo>
                    <a:pt x="209" y="54"/>
                  </a:lnTo>
                  <a:lnTo>
                    <a:pt x="210" y="55"/>
                  </a:lnTo>
                  <a:lnTo>
                    <a:pt x="211" y="56"/>
                  </a:lnTo>
                  <a:lnTo>
                    <a:pt x="212" y="57"/>
                  </a:lnTo>
                  <a:lnTo>
                    <a:pt x="213" y="58"/>
                  </a:lnTo>
                  <a:lnTo>
                    <a:pt x="215" y="58"/>
                  </a:lnTo>
                  <a:lnTo>
                    <a:pt x="218" y="60"/>
                  </a:lnTo>
                  <a:lnTo>
                    <a:pt x="219" y="60"/>
                  </a:lnTo>
                  <a:lnTo>
                    <a:pt x="220" y="61"/>
                  </a:lnTo>
                  <a:lnTo>
                    <a:pt x="221" y="61"/>
                  </a:lnTo>
                  <a:lnTo>
                    <a:pt x="222" y="62"/>
                  </a:lnTo>
                  <a:lnTo>
                    <a:pt x="224" y="64"/>
                  </a:lnTo>
                  <a:lnTo>
                    <a:pt x="225" y="65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8" y="67"/>
                  </a:lnTo>
                  <a:lnTo>
                    <a:pt x="231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6" y="70"/>
                  </a:lnTo>
                  <a:lnTo>
                    <a:pt x="237" y="71"/>
                  </a:lnTo>
                  <a:lnTo>
                    <a:pt x="238" y="72"/>
                  </a:lnTo>
                  <a:lnTo>
                    <a:pt x="242" y="75"/>
                  </a:lnTo>
                  <a:lnTo>
                    <a:pt x="243" y="75"/>
                  </a:lnTo>
                  <a:lnTo>
                    <a:pt x="244" y="76"/>
                  </a:lnTo>
                  <a:lnTo>
                    <a:pt x="245" y="76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7" y="77"/>
                  </a:lnTo>
                  <a:lnTo>
                    <a:pt x="248" y="77"/>
                  </a:lnTo>
                  <a:lnTo>
                    <a:pt x="249" y="77"/>
                  </a:lnTo>
                  <a:lnTo>
                    <a:pt x="251" y="76"/>
                  </a:lnTo>
                  <a:lnTo>
                    <a:pt x="254" y="76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1" y="74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6" y="75"/>
                  </a:lnTo>
                  <a:lnTo>
                    <a:pt x="269" y="75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4" y="74"/>
                  </a:lnTo>
                  <a:lnTo>
                    <a:pt x="275" y="75"/>
                  </a:lnTo>
                  <a:lnTo>
                    <a:pt x="277" y="75"/>
                  </a:lnTo>
                  <a:lnTo>
                    <a:pt x="278" y="76"/>
                  </a:lnTo>
                  <a:lnTo>
                    <a:pt x="279" y="76"/>
                  </a:lnTo>
                  <a:lnTo>
                    <a:pt x="280" y="76"/>
                  </a:lnTo>
                  <a:lnTo>
                    <a:pt x="281" y="76"/>
                  </a:lnTo>
                  <a:lnTo>
                    <a:pt x="281" y="75"/>
                  </a:lnTo>
                  <a:lnTo>
                    <a:pt x="282" y="75"/>
                  </a:lnTo>
                  <a:lnTo>
                    <a:pt x="282" y="75"/>
                  </a:lnTo>
                  <a:lnTo>
                    <a:pt x="283" y="75"/>
                  </a:lnTo>
                  <a:lnTo>
                    <a:pt x="283" y="74"/>
                  </a:lnTo>
                  <a:lnTo>
                    <a:pt x="283" y="74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2" y="70"/>
                  </a:lnTo>
                  <a:lnTo>
                    <a:pt x="282" y="69"/>
                  </a:lnTo>
                  <a:lnTo>
                    <a:pt x="282" y="69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7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4" y="65"/>
                  </a:lnTo>
                  <a:lnTo>
                    <a:pt x="286" y="64"/>
                  </a:lnTo>
                  <a:lnTo>
                    <a:pt x="287" y="63"/>
                  </a:lnTo>
                  <a:lnTo>
                    <a:pt x="288" y="62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0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5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1" y="52"/>
                  </a:lnTo>
                  <a:lnTo>
                    <a:pt x="292" y="51"/>
                  </a:lnTo>
                  <a:lnTo>
                    <a:pt x="293" y="50"/>
                  </a:lnTo>
                  <a:lnTo>
                    <a:pt x="294" y="50"/>
                  </a:lnTo>
                  <a:lnTo>
                    <a:pt x="296" y="48"/>
                  </a:lnTo>
                  <a:lnTo>
                    <a:pt x="298" y="47"/>
                  </a:lnTo>
                  <a:lnTo>
                    <a:pt x="300" y="46"/>
                  </a:lnTo>
                  <a:lnTo>
                    <a:pt x="302" y="44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6" y="42"/>
                  </a:lnTo>
                  <a:lnTo>
                    <a:pt x="309" y="41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6" y="36"/>
                  </a:lnTo>
                  <a:lnTo>
                    <a:pt x="318" y="35"/>
                  </a:lnTo>
                  <a:lnTo>
                    <a:pt x="320" y="35"/>
                  </a:lnTo>
                  <a:lnTo>
                    <a:pt x="321" y="34"/>
                  </a:lnTo>
                  <a:lnTo>
                    <a:pt x="322" y="33"/>
                  </a:lnTo>
                  <a:lnTo>
                    <a:pt x="323" y="32"/>
                  </a:lnTo>
                  <a:lnTo>
                    <a:pt x="324" y="31"/>
                  </a:lnTo>
                  <a:lnTo>
                    <a:pt x="325" y="31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7" y="27"/>
                  </a:lnTo>
                  <a:lnTo>
                    <a:pt x="329" y="24"/>
                  </a:lnTo>
                  <a:lnTo>
                    <a:pt x="329" y="23"/>
                  </a:lnTo>
                  <a:lnTo>
                    <a:pt x="329" y="22"/>
                  </a:lnTo>
                  <a:lnTo>
                    <a:pt x="330" y="21"/>
                  </a:lnTo>
                  <a:lnTo>
                    <a:pt x="330" y="21"/>
                  </a:lnTo>
                  <a:lnTo>
                    <a:pt x="331" y="21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39" y="22"/>
                  </a:lnTo>
                  <a:lnTo>
                    <a:pt x="342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7" y="26"/>
                  </a:lnTo>
                  <a:lnTo>
                    <a:pt x="352" y="28"/>
                  </a:lnTo>
                  <a:lnTo>
                    <a:pt x="353" y="28"/>
                  </a:lnTo>
                  <a:lnTo>
                    <a:pt x="355" y="29"/>
                  </a:lnTo>
                  <a:lnTo>
                    <a:pt x="356" y="29"/>
                  </a:lnTo>
                  <a:lnTo>
                    <a:pt x="357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8" y="29"/>
                  </a:lnTo>
                  <a:lnTo>
                    <a:pt x="359" y="29"/>
                  </a:lnTo>
                  <a:lnTo>
                    <a:pt x="359" y="29"/>
                  </a:lnTo>
                  <a:lnTo>
                    <a:pt x="360" y="30"/>
                  </a:lnTo>
                  <a:lnTo>
                    <a:pt x="362" y="31"/>
                  </a:lnTo>
                  <a:lnTo>
                    <a:pt x="363" y="32"/>
                  </a:lnTo>
                  <a:lnTo>
                    <a:pt x="365" y="33"/>
                  </a:lnTo>
                  <a:lnTo>
                    <a:pt x="366" y="34"/>
                  </a:lnTo>
                  <a:lnTo>
                    <a:pt x="367" y="35"/>
                  </a:lnTo>
                  <a:lnTo>
                    <a:pt x="370" y="38"/>
                  </a:lnTo>
                  <a:lnTo>
                    <a:pt x="371" y="39"/>
                  </a:lnTo>
                  <a:lnTo>
                    <a:pt x="373" y="40"/>
                  </a:lnTo>
                  <a:lnTo>
                    <a:pt x="374" y="41"/>
                  </a:lnTo>
                  <a:lnTo>
                    <a:pt x="375" y="41"/>
                  </a:lnTo>
                  <a:lnTo>
                    <a:pt x="376" y="42"/>
                  </a:lnTo>
                  <a:lnTo>
                    <a:pt x="377" y="43"/>
                  </a:lnTo>
                  <a:lnTo>
                    <a:pt x="378" y="43"/>
                  </a:lnTo>
                  <a:lnTo>
                    <a:pt x="380" y="44"/>
                  </a:lnTo>
                  <a:lnTo>
                    <a:pt x="383" y="45"/>
                  </a:lnTo>
                  <a:lnTo>
                    <a:pt x="387" y="46"/>
                  </a:lnTo>
                  <a:lnTo>
                    <a:pt x="389" y="47"/>
                  </a:lnTo>
                  <a:lnTo>
                    <a:pt x="390" y="47"/>
                  </a:lnTo>
                  <a:lnTo>
                    <a:pt x="391" y="48"/>
                  </a:lnTo>
                  <a:lnTo>
                    <a:pt x="392" y="48"/>
                  </a:lnTo>
                  <a:lnTo>
                    <a:pt x="393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5" y="47"/>
                  </a:lnTo>
                  <a:lnTo>
                    <a:pt x="396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8" y="46"/>
                  </a:lnTo>
                  <a:lnTo>
                    <a:pt x="399" y="45"/>
                  </a:lnTo>
                  <a:lnTo>
                    <a:pt x="400" y="45"/>
                  </a:lnTo>
                  <a:lnTo>
                    <a:pt x="401" y="44"/>
                  </a:lnTo>
                  <a:lnTo>
                    <a:pt x="402" y="42"/>
                  </a:lnTo>
                  <a:lnTo>
                    <a:pt x="406" y="37"/>
                  </a:lnTo>
                  <a:lnTo>
                    <a:pt x="407" y="35"/>
                  </a:lnTo>
                  <a:lnTo>
                    <a:pt x="408" y="34"/>
                  </a:lnTo>
                  <a:lnTo>
                    <a:pt x="408" y="33"/>
                  </a:lnTo>
                  <a:lnTo>
                    <a:pt x="409" y="33"/>
                  </a:lnTo>
                  <a:lnTo>
                    <a:pt x="412" y="30"/>
                  </a:lnTo>
                  <a:lnTo>
                    <a:pt x="414" y="28"/>
                  </a:lnTo>
                  <a:lnTo>
                    <a:pt x="416" y="27"/>
                  </a:lnTo>
                  <a:lnTo>
                    <a:pt x="417" y="26"/>
                  </a:lnTo>
                  <a:lnTo>
                    <a:pt x="418" y="24"/>
                  </a:lnTo>
                  <a:lnTo>
                    <a:pt x="419" y="22"/>
                  </a:lnTo>
                  <a:lnTo>
                    <a:pt x="420" y="21"/>
                  </a:lnTo>
                  <a:lnTo>
                    <a:pt x="421" y="20"/>
                  </a:lnTo>
                  <a:lnTo>
                    <a:pt x="421" y="18"/>
                  </a:lnTo>
                  <a:lnTo>
                    <a:pt x="422" y="17"/>
                  </a:lnTo>
                  <a:lnTo>
                    <a:pt x="424" y="12"/>
                  </a:lnTo>
                  <a:lnTo>
                    <a:pt x="424" y="11"/>
                  </a:lnTo>
                  <a:lnTo>
                    <a:pt x="425" y="10"/>
                  </a:lnTo>
                  <a:lnTo>
                    <a:pt x="426" y="9"/>
                  </a:lnTo>
                  <a:lnTo>
                    <a:pt x="426" y="7"/>
                  </a:lnTo>
                  <a:lnTo>
                    <a:pt x="427" y="6"/>
                  </a:lnTo>
                  <a:lnTo>
                    <a:pt x="428" y="6"/>
                  </a:lnTo>
                  <a:lnTo>
                    <a:pt x="429" y="5"/>
                  </a:lnTo>
                  <a:lnTo>
                    <a:pt x="430" y="4"/>
                  </a:lnTo>
                  <a:lnTo>
                    <a:pt x="431" y="3"/>
                  </a:lnTo>
                  <a:lnTo>
                    <a:pt x="432" y="2"/>
                  </a:lnTo>
                  <a:lnTo>
                    <a:pt x="433" y="2"/>
                  </a:lnTo>
                  <a:lnTo>
                    <a:pt x="434" y="1"/>
                  </a:lnTo>
                  <a:lnTo>
                    <a:pt x="435" y="1"/>
                  </a:lnTo>
                  <a:lnTo>
                    <a:pt x="436" y="0"/>
                  </a:lnTo>
                  <a:lnTo>
                    <a:pt x="437" y="0"/>
                  </a:lnTo>
                  <a:lnTo>
                    <a:pt x="438" y="0"/>
                  </a:lnTo>
                  <a:lnTo>
                    <a:pt x="439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1" y="1"/>
                  </a:lnTo>
                  <a:lnTo>
                    <a:pt x="442" y="1"/>
                  </a:lnTo>
                  <a:lnTo>
                    <a:pt x="442" y="1"/>
                  </a:lnTo>
                  <a:lnTo>
                    <a:pt x="442" y="3"/>
                  </a:lnTo>
                  <a:lnTo>
                    <a:pt x="442" y="4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0" y="11"/>
                  </a:lnTo>
                  <a:lnTo>
                    <a:pt x="440" y="13"/>
                  </a:lnTo>
                  <a:lnTo>
                    <a:pt x="439" y="17"/>
                  </a:lnTo>
                  <a:lnTo>
                    <a:pt x="437" y="20"/>
                  </a:lnTo>
                  <a:lnTo>
                    <a:pt x="435" y="28"/>
                  </a:lnTo>
                  <a:lnTo>
                    <a:pt x="433" y="32"/>
                  </a:lnTo>
                  <a:lnTo>
                    <a:pt x="433" y="33"/>
                  </a:lnTo>
                  <a:lnTo>
                    <a:pt x="431" y="35"/>
                  </a:lnTo>
                  <a:lnTo>
                    <a:pt x="430" y="39"/>
                  </a:lnTo>
                  <a:lnTo>
                    <a:pt x="430" y="40"/>
                  </a:lnTo>
                  <a:lnTo>
                    <a:pt x="429" y="42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6"/>
                  </a:lnTo>
                  <a:lnTo>
                    <a:pt x="428" y="47"/>
                  </a:lnTo>
                  <a:lnTo>
                    <a:pt x="428" y="51"/>
                  </a:lnTo>
                  <a:lnTo>
                    <a:pt x="428" y="52"/>
                  </a:lnTo>
                  <a:lnTo>
                    <a:pt x="428" y="53"/>
                  </a:lnTo>
                  <a:lnTo>
                    <a:pt x="428" y="54"/>
                  </a:lnTo>
                  <a:lnTo>
                    <a:pt x="428" y="55"/>
                  </a:lnTo>
                  <a:lnTo>
                    <a:pt x="427" y="58"/>
                  </a:lnTo>
                  <a:lnTo>
                    <a:pt x="427" y="59"/>
                  </a:lnTo>
                  <a:lnTo>
                    <a:pt x="426" y="60"/>
                  </a:lnTo>
                  <a:lnTo>
                    <a:pt x="426" y="61"/>
                  </a:lnTo>
                  <a:lnTo>
                    <a:pt x="426" y="62"/>
                  </a:lnTo>
                  <a:lnTo>
                    <a:pt x="426" y="62"/>
                  </a:lnTo>
                  <a:lnTo>
                    <a:pt x="427" y="63"/>
                  </a:lnTo>
                  <a:lnTo>
                    <a:pt x="427" y="66"/>
                  </a:lnTo>
                  <a:lnTo>
                    <a:pt x="427" y="67"/>
                  </a:lnTo>
                  <a:lnTo>
                    <a:pt x="428" y="70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8" y="74"/>
                  </a:lnTo>
                  <a:lnTo>
                    <a:pt x="427" y="75"/>
                  </a:lnTo>
                  <a:lnTo>
                    <a:pt x="427" y="76"/>
                  </a:lnTo>
                  <a:lnTo>
                    <a:pt x="426" y="77"/>
                  </a:lnTo>
                  <a:lnTo>
                    <a:pt x="426" y="78"/>
                  </a:lnTo>
                  <a:lnTo>
                    <a:pt x="426" y="78"/>
                  </a:lnTo>
                  <a:lnTo>
                    <a:pt x="425" y="79"/>
                  </a:lnTo>
                  <a:lnTo>
                    <a:pt x="424" y="79"/>
                  </a:lnTo>
                  <a:lnTo>
                    <a:pt x="423" y="81"/>
                  </a:lnTo>
                  <a:lnTo>
                    <a:pt x="420" y="83"/>
                  </a:lnTo>
                  <a:lnTo>
                    <a:pt x="419" y="84"/>
                  </a:lnTo>
                  <a:lnTo>
                    <a:pt x="416" y="87"/>
                  </a:lnTo>
                  <a:lnTo>
                    <a:pt x="416" y="88"/>
                  </a:lnTo>
                  <a:lnTo>
                    <a:pt x="415" y="89"/>
                  </a:lnTo>
                  <a:lnTo>
                    <a:pt x="414" y="90"/>
                  </a:lnTo>
                  <a:lnTo>
                    <a:pt x="413" y="91"/>
                  </a:lnTo>
                  <a:lnTo>
                    <a:pt x="412" y="91"/>
                  </a:lnTo>
                  <a:lnTo>
                    <a:pt x="412" y="92"/>
                  </a:lnTo>
                  <a:lnTo>
                    <a:pt x="411" y="92"/>
                  </a:lnTo>
                  <a:lnTo>
                    <a:pt x="410" y="93"/>
                  </a:lnTo>
                  <a:lnTo>
                    <a:pt x="410" y="93"/>
                  </a:lnTo>
                  <a:lnTo>
                    <a:pt x="409" y="93"/>
                  </a:lnTo>
                  <a:lnTo>
                    <a:pt x="406" y="94"/>
                  </a:lnTo>
                  <a:lnTo>
                    <a:pt x="405" y="94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2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2" y="97"/>
                  </a:lnTo>
                  <a:lnTo>
                    <a:pt x="401" y="98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2" y="101"/>
                  </a:lnTo>
                  <a:lnTo>
                    <a:pt x="404" y="105"/>
                  </a:lnTo>
                  <a:lnTo>
                    <a:pt x="405" y="108"/>
                  </a:lnTo>
                  <a:lnTo>
                    <a:pt x="405" y="110"/>
                  </a:lnTo>
                  <a:lnTo>
                    <a:pt x="406" y="115"/>
                  </a:lnTo>
                  <a:lnTo>
                    <a:pt x="407" y="117"/>
                  </a:lnTo>
                  <a:lnTo>
                    <a:pt x="407" y="119"/>
                  </a:lnTo>
                  <a:lnTo>
                    <a:pt x="408" y="121"/>
                  </a:lnTo>
                  <a:lnTo>
                    <a:pt x="410" y="126"/>
                  </a:lnTo>
                  <a:lnTo>
                    <a:pt x="411" y="131"/>
                  </a:lnTo>
                  <a:lnTo>
                    <a:pt x="412" y="132"/>
                  </a:lnTo>
                  <a:lnTo>
                    <a:pt x="412" y="133"/>
                  </a:lnTo>
                  <a:lnTo>
                    <a:pt x="412" y="135"/>
                  </a:lnTo>
                  <a:lnTo>
                    <a:pt x="413" y="139"/>
                  </a:lnTo>
                  <a:lnTo>
                    <a:pt x="413" y="142"/>
                  </a:lnTo>
                  <a:lnTo>
                    <a:pt x="413" y="143"/>
                  </a:lnTo>
                  <a:lnTo>
                    <a:pt x="413" y="145"/>
                  </a:lnTo>
                  <a:lnTo>
                    <a:pt x="414" y="148"/>
                  </a:lnTo>
                  <a:lnTo>
                    <a:pt x="414" y="150"/>
                  </a:lnTo>
                  <a:lnTo>
                    <a:pt x="414" y="151"/>
                  </a:lnTo>
                  <a:lnTo>
                    <a:pt x="414" y="151"/>
                  </a:lnTo>
                  <a:lnTo>
                    <a:pt x="414" y="152"/>
                  </a:lnTo>
                  <a:lnTo>
                    <a:pt x="414" y="153"/>
                  </a:lnTo>
                  <a:lnTo>
                    <a:pt x="413" y="154"/>
                  </a:lnTo>
                  <a:lnTo>
                    <a:pt x="413" y="154"/>
                  </a:lnTo>
                  <a:lnTo>
                    <a:pt x="411" y="157"/>
                  </a:lnTo>
                  <a:lnTo>
                    <a:pt x="410" y="158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09" y="161"/>
                  </a:lnTo>
                  <a:lnTo>
                    <a:pt x="409" y="162"/>
                  </a:lnTo>
                  <a:lnTo>
                    <a:pt x="409" y="163"/>
                  </a:lnTo>
                  <a:lnTo>
                    <a:pt x="408" y="164"/>
                  </a:lnTo>
                  <a:lnTo>
                    <a:pt x="408" y="165"/>
                  </a:lnTo>
                  <a:lnTo>
                    <a:pt x="408" y="166"/>
                  </a:lnTo>
                  <a:lnTo>
                    <a:pt x="408" y="167"/>
                  </a:lnTo>
                  <a:lnTo>
                    <a:pt x="408" y="169"/>
                  </a:lnTo>
                  <a:lnTo>
                    <a:pt x="409" y="170"/>
                  </a:lnTo>
                  <a:lnTo>
                    <a:pt x="409" y="171"/>
                  </a:lnTo>
                  <a:lnTo>
                    <a:pt x="409" y="172"/>
                  </a:lnTo>
                  <a:lnTo>
                    <a:pt x="410" y="173"/>
                  </a:lnTo>
                  <a:lnTo>
                    <a:pt x="412" y="176"/>
                  </a:lnTo>
                  <a:lnTo>
                    <a:pt x="413" y="177"/>
                  </a:lnTo>
                  <a:lnTo>
                    <a:pt x="413" y="178"/>
                  </a:lnTo>
                  <a:lnTo>
                    <a:pt x="413" y="179"/>
                  </a:lnTo>
                  <a:lnTo>
                    <a:pt x="414" y="180"/>
                  </a:lnTo>
                  <a:lnTo>
                    <a:pt x="415" y="183"/>
                  </a:lnTo>
                  <a:lnTo>
                    <a:pt x="416" y="185"/>
                  </a:lnTo>
                  <a:lnTo>
                    <a:pt x="416" y="187"/>
                  </a:lnTo>
                  <a:lnTo>
                    <a:pt x="417" y="189"/>
                  </a:lnTo>
                  <a:lnTo>
                    <a:pt x="418" y="190"/>
                  </a:lnTo>
                  <a:lnTo>
                    <a:pt x="419" y="191"/>
                  </a:lnTo>
                  <a:lnTo>
                    <a:pt x="421" y="193"/>
                  </a:lnTo>
                  <a:lnTo>
                    <a:pt x="422" y="195"/>
                  </a:lnTo>
                  <a:lnTo>
                    <a:pt x="425" y="198"/>
                  </a:lnTo>
                  <a:lnTo>
                    <a:pt x="425" y="199"/>
                  </a:lnTo>
                  <a:lnTo>
                    <a:pt x="426" y="199"/>
                  </a:lnTo>
                  <a:lnTo>
                    <a:pt x="426" y="200"/>
                  </a:lnTo>
                  <a:lnTo>
                    <a:pt x="427" y="201"/>
                  </a:lnTo>
                  <a:lnTo>
                    <a:pt x="427" y="202"/>
                  </a:lnTo>
                  <a:lnTo>
                    <a:pt x="427" y="205"/>
                  </a:lnTo>
                  <a:lnTo>
                    <a:pt x="427" y="206"/>
                  </a:lnTo>
                  <a:lnTo>
                    <a:pt x="428" y="206"/>
                  </a:lnTo>
                  <a:lnTo>
                    <a:pt x="429" y="209"/>
                  </a:lnTo>
                  <a:lnTo>
                    <a:pt x="429" y="210"/>
                  </a:lnTo>
                  <a:lnTo>
                    <a:pt x="429" y="210"/>
                  </a:lnTo>
                  <a:lnTo>
                    <a:pt x="429" y="211"/>
                  </a:lnTo>
                  <a:lnTo>
                    <a:pt x="429" y="212"/>
                  </a:lnTo>
                  <a:lnTo>
                    <a:pt x="429" y="213"/>
                  </a:lnTo>
                  <a:lnTo>
                    <a:pt x="428" y="215"/>
                  </a:lnTo>
                  <a:lnTo>
                    <a:pt x="428" y="216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8" y="218"/>
                  </a:lnTo>
                  <a:lnTo>
                    <a:pt x="428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0" y="218"/>
                  </a:lnTo>
                  <a:lnTo>
                    <a:pt x="431" y="218"/>
                  </a:lnTo>
                  <a:lnTo>
                    <a:pt x="432" y="219"/>
                  </a:lnTo>
                  <a:lnTo>
                    <a:pt x="435" y="219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7" y="220"/>
                  </a:lnTo>
                  <a:lnTo>
                    <a:pt x="438" y="221"/>
                  </a:lnTo>
                  <a:lnTo>
                    <a:pt x="439" y="221"/>
                  </a:lnTo>
                  <a:lnTo>
                    <a:pt x="439" y="222"/>
                  </a:lnTo>
                  <a:lnTo>
                    <a:pt x="440" y="223"/>
                  </a:lnTo>
                  <a:lnTo>
                    <a:pt x="440" y="223"/>
                  </a:lnTo>
                  <a:lnTo>
                    <a:pt x="441" y="224"/>
                  </a:lnTo>
                  <a:lnTo>
                    <a:pt x="441" y="225"/>
                  </a:lnTo>
                  <a:lnTo>
                    <a:pt x="441" y="226"/>
                  </a:lnTo>
                  <a:lnTo>
                    <a:pt x="441" y="227"/>
                  </a:lnTo>
                  <a:lnTo>
                    <a:pt x="442" y="231"/>
                  </a:lnTo>
                  <a:lnTo>
                    <a:pt x="442" y="232"/>
                  </a:lnTo>
                  <a:lnTo>
                    <a:pt x="442" y="233"/>
                  </a:lnTo>
                  <a:lnTo>
                    <a:pt x="442" y="235"/>
                  </a:lnTo>
                  <a:lnTo>
                    <a:pt x="442" y="237"/>
                  </a:lnTo>
                  <a:lnTo>
                    <a:pt x="441" y="238"/>
                  </a:lnTo>
                  <a:lnTo>
                    <a:pt x="441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0" y="242"/>
                  </a:lnTo>
                  <a:lnTo>
                    <a:pt x="439" y="243"/>
                  </a:lnTo>
                  <a:lnTo>
                    <a:pt x="437" y="246"/>
                  </a:lnTo>
                  <a:lnTo>
                    <a:pt x="434" y="249"/>
                  </a:lnTo>
                  <a:lnTo>
                    <a:pt x="434" y="250"/>
                  </a:lnTo>
                  <a:lnTo>
                    <a:pt x="433" y="251"/>
                  </a:lnTo>
                  <a:lnTo>
                    <a:pt x="432" y="252"/>
                  </a:lnTo>
                  <a:lnTo>
                    <a:pt x="432" y="253"/>
                  </a:lnTo>
                  <a:lnTo>
                    <a:pt x="431" y="254"/>
                  </a:lnTo>
                  <a:lnTo>
                    <a:pt x="431" y="255"/>
                  </a:lnTo>
                  <a:lnTo>
                    <a:pt x="431" y="256"/>
                  </a:lnTo>
                  <a:lnTo>
                    <a:pt x="431" y="258"/>
                  </a:lnTo>
                  <a:lnTo>
                    <a:pt x="431" y="259"/>
                  </a:lnTo>
                  <a:lnTo>
                    <a:pt x="431" y="259"/>
                  </a:lnTo>
                  <a:lnTo>
                    <a:pt x="431" y="260"/>
                  </a:lnTo>
                  <a:lnTo>
                    <a:pt x="432" y="262"/>
                  </a:lnTo>
                  <a:lnTo>
                    <a:pt x="433" y="265"/>
                  </a:lnTo>
                  <a:lnTo>
                    <a:pt x="433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9"/>
                  </a:lnTo>
                  <a:lnTo>
                    <a:pt x="432" y="271"/>
                  </a:lnTo>
                  <a:lnTo>
                    <a:pt x="431" y="274"/>
                  </a:lnTo>
                  <a:lnTo>
                    <a:pt x="431" y="276"/>
                  </a:lnTo>
                  <a:lnTo>
                    <a:pt x="431" y="278"/>
                  </a:lnTo>
                  <a:lnTo>
                    <a:pt x="431" y="278"/>
                  </a:lnTo>
                  <a:lnTo>
                    <a:pt x="431" y="279"/>
                  </a:lnTo>
                  <a:lnTo>
                    <a:pt x="431" y="279"/>
                  </a:lnTo>
                  <a:lnTo>
                    <a:pt x="430" y="279"/>
                  </a:lnTo>
                  <a:lnTo>
                    <a:pt x="430" y="279"/>
                  </a:lnTo>
                  <a:lnTo>
                    <a:pt x="429" y="279"/>
                  </a:lnTo>
                  <a:lnTo>
                    <a:pt x="427" y="279"/>
                  </a:lnTo>
                  <a:lnTo>
                    <a:pt x="426" y="279"/>
                  </a:lnTo>
                  <a:lnTo>
                    <a:pt x="425" y="279"/>
                  </a:lnTo>
                  <a:lnTo>
                    <a:pt x="423" y="278"/>
                  </a:lnTo>
                  <a:lnTo>
                    <a:pt x="421" y="278"/>
                  </a:lnTo>
                  <a:lnTo>
                    <a:pt x="420" y="277"/>
                  </a:lnTo>
                  <a:lnTo>
                    <a:pt x="418" y="277"/>
                  </a:lnTo>
                  <a:lnTo>
                    <a:pt x="416" y="276"/>
                  </a:lnTo>
                  <a:lnTo>
                    <a:pt x="415" y="275"/>
                  </a:lnTo>
                  <a:lnTo>
                    <a:pt x="413" y="275"/>
                  </a:lnTo>
                  <a:lnTo>
                    <a:pt x="406" y="271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9"/>
                  </a:lnTo>
                  <a:lnTo>
                    <a:pt x="400" y="269"/>
                  </a:lnTo>
                  <a:lnTo>
                    <a:pt x="398" y="268"/>
                  </a:lnTo>
                  <a:lnTo>
                    <a:pt x="397" y="268"/>
                  </a:lnTo>
                  <a:lnTo>
                    <a:pt x="396" y="268"/>
                  </a:lnTo>
                  <a:lnTo>
                    <a:pt x="393" y="268"/>
                  </a:lnTo>
                  <a:lnTo>
                    <a:pt x="392" y="267"/>
                  </a:lnTo>
                  <a:lnTo>
                    <a:pt x="391" y="267"/>
                  </a:lnTo>
                  <a:lnTo>
                    <a:pt x="390" y="267"/>
                  </a:lnTo>
                  <a:lnTo>
                    <a:pt x="388" y="268"/>
                  </a:lnTo>
                  <a:lnTo>
                    <a:pt x="386" y="268"/>
                  </a:lnTo>
                  <a:lnTo>
                    <a:pt x="385" y="268"/>
                  </a:lnTo>
                  <a:lnTo>
                    <a:pt x="384" y="268"/>
                  </a:lnTo>
                  <a:lnTo>
                    <a:pt x="383" y="268"/>
                  </a:lnTo>
                  <a:lnTo>
                    <a:pt x="383" y="268"/>
                  </a:lnTo>
                  <a:lnTo>
                    <a:pt x="380" y="267"/>
                  </a:lnTo>
                  <a:lnTo>
                    <a:pt x="379" y="267"/>
                  </a:lnTo>
                  <a:lnTo>
                    <a:pt x="378" y="267"/>
                  </a:lnTo>
                  <a:lnTo>
                    <a:pt x="377" y="267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3" y="268"/>
                  </a:lnTo>
                  <a:lnTo>
                    <a:pt x="371" y="268"/>
                  </a:lnTo>
                  <a:lnTo>
                    <a:pt x="370" y="268"/>
                  </a:lnTo>
                  <a:lnTo>
                    <a:pt x="368" y="268"/>
                  </a:lnTo>
                  <a:lnTo>
                    <a:pt x="365" y="268"/>
                  </a:lnTo>
                  <a:lnTo>
                    <a:pt x="363" y="268"/>
                  </a:lnTo>
                  <a:lnTo>
                    <a:pt x="362" y="267"/>
                  </a:lnTo>
                  <a:lnTo>
                    <a:pt x="359" y="267"/>
                  </a:lnTo>
                  <a:lnTo>
                    <a:pt x="358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6" y="267"/>
                  </a:lnTo>
                  <a:lnTo>
                    <a:pt x="356" y="268"/>
                  </a:lnTo>
                  <a:lnTo>
                    <a:pt x="355" y="269"/>
                  </a:lnTo>
                  <a:lnTo>
                    <a:pt x="355" y="271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2" y="281"/>
                  </a:lnTo>
                  <a:lnTo>
                    <a:pt x="352" y="282"/>
                  </a:lnTo>
                  <a:lnTo>
                    <a:pt x="351" y="283"/>
                  </a:lnTo>
                  <a:lnTo>
                    <a:pt x="351" y="283"/>
                  </a:lnTo>
                  <a:lnTo>
                    <a:pt x="350" y="283"/>
                  </a:lnTo>
                  <a:lnTo>
                    <a:pt x="350" y="283"/>
                  </a:lnTo>
                  <a:lnTo>
                    <a:pt x="349" y="284"/>
                  </a:lnTo>
                  <a:lnTo>
                    <a:pt x="348" y="284"/>
                  </a:lnTo>
                  <a:lnTo>
                    <a:pt x="346" y="284"/>
                  </a:lnTo>
                  <a:lnTo>
                    <a:pt x="344" y="284"/>
                  </a:lnTo>
                  <a:lnTo>
                    <a:pt x="343" y="284"/>
                  </a:lnTo>
                  <a:lnTo>
                    <a:pt x="341" y="284"/>
                  </a:lnTo>
                  <a:lnTo>
                    <a:pt x="337" y="283"/>
                  </a:lnTo>
                  <a:lnTo>
                    <a:pt x="336" y="283"/>
                  </a:lnTo>
                  <a:lnTo>
                    <a:pt x="335" y="283"/>
                  </a:lnTo>
                  <a:lnTo>
                    <a:pt x="335" y="283"/>
                  </a:lnTo>
                  <a:lnTo>
                    <a:pt x="334" y="283"/>
                  </a:lnTo>
                  <a:lnTo>
                    <a:pt x="331" y="283"/>
                  </a:lnTo>
                  <a:lnTo>
                    <a:pt x="329" y="284"/>
                  </a:lnTo>
                  <a:lnTo>
                    <a:pt x="327" y="284"/>
                  </a:lnTo>
                  <a:lnTo>
                    <a:pt x="326" y="284"/>
                  </a:lnTo>
                  <a:lnTo>
                    <a:pt x="325" y="284"/>
                  </a:lnTo>
                  <a:lnTo>
                    <a:pt x="324" y="284"/>
                  </a:lnTo>
                  <a:lnTo>
                    <a:pt x="324" y="284"/>
                  </a:lnTo>
                  <a:lnTo>
                    <a:pt x="323" y="283"/>
                  </a:lnTo>
                  <a:lnTo>
                    <a:pt x="322" y="283"/>
                  </a:lnTo>
                  <a:lnTo>
                    <a:pt x="322" y="283"/>
                  </a:lnTo>
                  <a:lnTo>
                    <a:pt x="321" y="283"/>
                  </a:lnTo>
                  <a:lnTo>
                    <a:pt x="321" y="283"/>
                  </a:lnTo>
                  <a:lnTo>
                    <a:pt x="320" y="283"/>
                  </a:lnTo>
                  <a:lnTo>
                    <a:pt x="319" y="283"/>
                  </a:lnTo>
                  <a:lnTo>
                    <a:pt x="318" y="283"/>
                  </a:lnTo>
                  <a:lnTo>
                    <a:pt x="317" y="284"/>
                  </a:lnTo>
                  <a:lnTo>
                    <a:pt x="316" y="284"/>
                  </a:lnTo>
                  <a:lnTo>
                    <a:pt x="316" y="285"/>
                  </a:lnTo>
                  <a:lnTo>
                    <a:pt x="315" y="285"/>
                  </a:lnTo>
                  <a:lnTo>
                    <a:pt x="314" y="287"/>
                  </a:lnTo>
                  <a:lnTo>
                    <a:pt x="313" y="288"/>
                  </a:lnTo>
                  <a:lnTo>
                    <a:pt x="311" y="289"/>
                  </a:lnTo>
                  <a:lnTo>
                    <a:pt x="311" y="290"/>
                  </a:lnTo>
                  <a:lnTo>
                    <a:pt x="310" y="290"/>
                  </a:lnTo>
                  <a:lnTo>
                    <a:pt x="310" y="291"/>
                  </a:lnTo>
                  <a:lnTo>
                    <a:pt x="309" y="291"/>
                  </a:lnTo>
                  <a:lnTo>
                    <a:pt x="309" y="291"/>
                  </a:lnTo>
                  <a:lnTo>
                    <a:pt x="308" y="291"/>
                  </a:lnTo>
                  <a:lnTo>
                    <a:pt x="308" y="291"/>
                  </a:lnTo>
                  <a:lnTo>
                    <a:pt x="307" y="291"/>
                  </a:lnTo>
                  <a:lnTo>
                    <a:pt x="307" y="290"/>
                  </a:lnTo>
                  <a:lnTo>
                    <a:pt x="307" y="290"/>
                  </a:lnTo>
                  <a:lnTo>
                    <a:pt x="303" y="284"/>
                  </a:lnTo>
                  <a:lnTo>
                    <a:pt x="302" y="283"/>
                  </a:lnTo>
                  <a:lnTo>
                    <a:pt x="301" y="282"/>
                  </a:lnTo>
                  <a:lnTo>
                    <a:pt x="300" y="281"/>
                  </a:lnTo>
                  <a:lnTo>
                    <a:pt x="299" y="281"/>
                  </a:lnTo>
                  <a:lnTo>
                    <a:pt x="296" y="279"/>
                  </a:lnTo>
                  <a:lnTo>
                    <a:pt x="293" y="277"/>
                  </a:lnTo>
                  <a:lnTo>
                    <a:pt x="292" y="276"/>
                  </a:lnTo>
                  <a:lnTo>
                    <a:pt x="290" y="275"/>
                  </a:lnTo>
                  <a:lnTo>
                    <a:pt x="289" y="275"/>
                  </a:lnTo>
                  <a:lnTo>
                    <a:pt x="285" y="274"/>
                  </a:lnTo>
                  <a:lnTo>
                    <a:pt x="281" y="272"/>
                  </a:lnTo>
                  <a:lnTo>
                    <a:pt x="280" y="272"/>
                  </a:lnTo>
                  <a:lnTo>
                    <a:pt x="278" y="272"/>
                  </a:lnTo>
                  <a:lnTo>
                    <a:pt x="277" y="271"/>
                  </a:lnTo>
                  <a:lnTo>
                    <a:pt x="276" y="271"/>
                  </a:lnTo>
                  <a:lnTo>
                    <a:pt x="276" y="271"/>
                  </a:lnTo>
                  <a:lnTo>
                    <a:pt x="275" y="270"/>
                  </a:lnTo>
                  <a:lnTo>
                    <a:pt x="273" y="269"/>
                  </a:lnTo>
                  <a:lnTo>
                    <a:pt x="272" y="267"/>
                  </a:lnTo>
                  <a:lnTo>
                    <a:pt x="271" y="266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2"/>
                  </a:lnTo>
                  <a:lnTo>
                    <a:pt x="264" y="258"/>
                  </a:lnTo>
                  <a:lnTo>
                    <a:pt x="262" y="256"/>
                  </a:lnTo>
                  <a:lnTo>
                    <a:pt x="261" y="255"/>
                  </a:lnTo>
                  <a:lnTo>
                    <a:pt x="260" y="254"/>
                  </a:lnTo>
                  <a:lnTo>
                    <a:pt x="258" y="254"/>
                  </a:lnTo>
                  <a:lnTo>
                    <a:pt x="257" y="253"/>
                  </a:lnTo>
                  <a:lnTo>
                    <a:pt x="256" y="252"/>
                  </a:lnTo>
                  <a:lnTo>
                    <a:pt x="252" y="250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6" y="247"/>
                  </a:lnTo>
                  <a:lnTo>
                    <a:pt x="243" y="246"/>
                  </a:lnTo>
                  <a:lnTo>
                    <a:pt x="239" y="245"/>
                  </a:lnTo>
                  <a:lnTo>
                    <a:pt x="235" y="244"/>
                  </a:lnTo>
                  <a:lnTo>
                    <a:pt x="234" y="244"/>
                  </a:lnTo>
                  <a:lnTo>
                    <a:pt x="232" y="243"/>
                  </a:lnTo>
                  <a:lnTo>
                    <a:pt x="231" y="243"/>
                  </a:lnTo>
                  <a:lnTo>
                    <a:pt x="230" y="242"/>
                  </a:lnTo>
                  <a:lnTo>
                    <a:pt x="229" y="242"/>
                  </a:lnTo>
                  <a:lnTo>
                    <a:pt x="228" y="242"/>
                  </a:lnTo>
                  <a:lnTo>
                    <a:pt x="224" y="242"/>
                  </a:lnTo>
                  <a:lnTo>
                    <a:pt x="222" y="242"/>
                  </a:lnTo>
                  <a:lnTo>
                    <a:pt x="221" y="242"/>
                  </a:lnTo>
                  <a:lnTo>
                    <a:pt x="221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19" y="241"/>
                  </a:lnTo>
                  <a:lnTo>
                    <a:pt x="219" y="240"/>
                  </a:lnTo>
                  <a:lnTo>
                    <a:pt x="218" y="240"/>
                  </a:lnTo>
                  <a:lnTo>
                    <a:pt x="216" y="238"/>
                  </a:lnTo>
                  <a:lnTo>
                    <a:pt x="214" y="236"/>
                  </a:lnTo>
                  <a:lnTo>
                    <a:pt x="213" y="235"/>
                  </a:lnTo>
                  <a:lnTo>
                    <a:pt x="212" y="233"/>
                  </a:lnTo>
                  <a:lnTo>
                    <a:pt x="211" y="233"/>
                  </a:lnTo>
                  <a:lnTo>
                    <a:pt x="210" y="232"/>
                  </a:lnTo>
                  <a:lnTo>
                    <a:pt x="209" y="232"/>
                  </a:lnTo>
                  <a:lnTo>
                    <a:pt x="209" y="231"/>
                  </a:lnTo>
                  <a:lnTo>
                    <a:pt x="208" y="231"/>
                  </a:lnTo>
                  <a:lnTo>
                    <a:pt x="207" y="230"/>
                  </a:lnTo>
                  <a:lnTo>
                    <a:pt x="205" y="230"/>
                  </a:lnTo>
                  <a:lnTo>
                    <a:pt x="202" y="230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6" y="227"/>
                  </a:lnTo>
                  <a:lnTo>
                    <a:pt x="195" y="227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3" y="225"/>
                  </a:lnTo>
                  <a:lnTo>
                    <a:pt x="192" y="224"/>
                  </a:lnTo>
                  <a:lnTo>
                    <a:pt x="191" y="223"/>
                  </a:lnTo>
                  <a:lnTo>
                    <a:pt x="190" y="222"/>
                  </a:lnTo>
                  <a:lnTo>
                    <a:pt x="190" y="221"/>
                  </a:lnTo>
                  <a:lnTo>
                    <a:pt x="189" y="221"/>
                  </a:lnTo>
                  <a:lnTo>
                    <a:pt x="189" y="221"/>
                  </a:lnTo>
                  <a:lnTo>
                    <a:pt x="188" y="221"/>
                  </a:lnTo>
                  <a:lnTo>
                    <a:pt x="188" y="221"/>
                  </a:lnTo>
                  <a:lnTo>
                    <a:pt x="187" y="221"/>
                  </a:lnTo>
                  <a:lnTo>
                    <a:pt x="186" y="222"/>
                  </a:lnTo>
                  <a:lnTo>
                    <a:pt x="185" y="223"/>
                  </a:lnTo>
                  <a:lnTo>
                    <a:pt x="184" y="224"/>
                  </a:lnTo>
                  <a:lnTo>
                    <a:pt x="183" y="225"/>
                  </a:lnTo>
                  <a:lnTo>
                    <a:pt x="182" y="226"/>
                  </a:lnTo>
                  <a:lnTo>
                    <a:pt x="181" y="228"/>
                  </a:lnTo>
                  <a:lnTo>
                    <a:pt x="180" y="230"/>
                  </a:lnTo>
                  <a:lnTo>
                    <a:pt x="179" y="233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8" y="235"/>
                  </a:lnTo>
                  <a:lnTo>
                    <a:pt x="176" y="237"/>
                  </a:lnTo>
                  <a:lnTo>
                    <a:pt x="175" y="240"/>
                  </a:lnTo>
                  <a:lnTo>
                    <a:pt x="174" y="240"/>
                  </a:lnTo>
                  <a:lnTo>
                    <a:pt x="174" y="241"/>
                  </a:lnTo>
                  <a:lnTo>
                    <a:pt x="173" y="241"/>
                  </a:lnTo>
                  <a:lnTo>
                    <a:pt x="173" y="241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6" y="242"/>
                  </a:lnTo>
                  <a:lnTo>
                    <a:pt x="165" y="242"/>
                  </a:lnTo>
                  <a:lnTo>
                    <a:pt x="164" y="242"/>
                  </a:lnTo>
                  <a:lnTo>
                    <a:pt x="164" y="241"/>
                  </a:lnTo>
                  <a:lnTo>
                    <a:pt x="163" y="241"/>
                  </a:lnTo>
                  <a:lnTo>
                    <a:pt x="161" y="240"/>
                  </a:lnTo>
                  <a:lnTo>
                    <a:pt x="158" y="239"/>
                  </a:lnTo>
                  <a:lnTo>
                    <a:pt x="152" y="236"/>
                  </a:lnTo>
                  <a:lnTo>
                    <a:pt x="150" y="235"/>
                  </a:lnTo>
                  <a:lnTo>
                    <a:pt x="150" y="234"/>
                  </a:lnTo>
                  <a:lnTo>
                    <a:pt x="149" y="234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6" y="231"/>
                  </a:lnTo>
                  <a:lnTo>
                    <a:pt x="146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5" y="227"/>
                  </a:lnTo>
                  <a:lnTo>
                    <a:pt x="146" y="226"/>
                  </a:lnTo>
                  <a:lnTo>
                    <a:pt x="146" y="225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6" y="219"/>
                  </a:lnTo>
                  <a:lnTo>
                    <a:pt x="145" y="219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7"/>
                  </a:lnTo>
                  <a:lnTo>
                    <a:pt x="140" y="217"/>
                  </a:lnTo>
                  <a:lnTo>
                    <a:pt x="139" y="216"/>
                  </a:lnTo>
                  <a:lnTo>
                    <a:pt x="138" y="216"/>
                  </a:lnTo>
                  <a:lnTo>
                    <a:pt x="137" y="215"/>
                  </a:lnTo>
                  <a:lnTo>
                    <a:pt x="135" y="214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1" y="212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7" y="211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3" y="210"/>
                  </a:lnTo>
                  <a:lnTo>
                    <a:pt x="123" y="209"/>
                  </a:lnTo>
                  <a:lnTo>
                    <a:pt x="122" y="209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3"/>
                  </a:lnTo>
                  <a:lnTo>
                    <a:pt x="120" y="203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19" y="202"/>
                  </a:lnTo>
                  <a:lnTo>
                    <a:pt x="119" y="201"/>
                  </a:lnTo>
                  <a:lnTo>
                    <a:pt x="118" y="201"/>
                  </a:lnTo>
                  <a:lnTo>
                    <a:pt x="115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9" y="199"/>
                  </a:lnTo>
                  <a:lnTo>
                    <a:pt x="108" y="198"/>
                  </a:lnTo>
                  <a:lnTo>
                    <a:pt x="107" y="198"/>
                  </a:lnTo>
                  <a:lnTo>
                    <a:pt x="106" y="197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4" y="195"/>
                  </a:lnTo>
                  <a:lnTo>
                    <a:pt x="101" y="192"/>
                  </a:lnTo>
                  <a:lnTo>
                    <a:pt x="101" y="192"/>
                  </a:lnTo>
                  <a:lnTo>
                    <a:pt x="100" y="191"/>
                  </a:lnTo>
                  <a:lnTo>
                    <a:pt x="99" y="191"/>
                  </a:lnTo>
                  <a:lnTo>
                    <a:pt x="98" y="190"/>
                  </a:lnTo>
                  <a:lnTo>
                    <a:pt x="95" y="189"/>
                  </a:lnTo>
                  <a:lnTo>
                    <a:pt x="94" y="189"/>
                  </a:lnTo>
                  <a:lnTo>
                    <a:pt x="93" y="188"/>
                  </a:lnTo>
                  <a:lnTo>
                    <a:pt x="93" y="187"/>
                  </a:lnTo>
                  <a:lnTo>
                    <a:pt x="92" y="187"/>
                  </a:lnTo>
                  <a:lnTo>
                    <a:pt x="91" y="187"/>
                  </a:lnTo>
                  <a:lnTo>
                    <a:pt x="89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7" y="186"/>
                  </a:lnTo>
                  <a:lnTo>
                    <a:pt x="73" y="186"/>
                  </a:lnTo>
                  <a:lnTo>
                    <a:pt x="72" y="186"/>
                  </a:lnTo>
                  <a:lnTo>
                    <a:pt x="71" y="186"/>
                  </a:lnTo>
                  <a:lnTo>
                    <a:pt x="69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7" y="186"/>
                  </a:lnTo>
                  <a:lnTo>
                    <a:pt x="66" y="186"/>
                  </a:lnTo>
                  <a:lnTo>
                    <a:pt x="66" y="185"/>
                  </a:lnTo>
                  <a:lnTo>
                    <a:pt x="64" y="184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0"/>
                  </a:lnTo>
                  <a:lnTo>
                    <a:pt x="59" y="179"/>
                  </a:lnTo>
                  <a:lnTo>
                    <a:pt x="52" y="174"/>
                  </a:lnTo>
                  <a:lnTo>
                    <a:pt x="49" y="172"/>
                  </a:lnTo>
                  <a:lnTo>
                    <a:pt x="47" y="171"/>
                  </a:lnTo>
                  <a:lnTo>
                    <a:pt x="42" y="167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8" y="161"/>
                  </a:lnTo>
                  <a:lnTo>
                    <a:pt x="38" y="157"/>
                  </a:lnTo>
                  <a:lnTo>
                    <a:pt x="39" y="154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9" y="149"/>
                  </a:lnTo>
                  <a:lnTo>
                    <a:pt x="39" y="148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2" y="145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4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6" y="131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19"/>
                  </a:lnTo>
                  <a:lnTo>
                    <a:pt x="46" y="118"/>
                  </a:lnTo>
                  <a:lnTo>
                    <a:pt x="45" y="118"/>
                  </a:lnTo>
                  <a:lnTo>
                    <a:pt x="45" y="117"/>
                  </a:lnTo>
                  <a:lnTo>
                    <a:pt x="44" y="116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1" y="114"/>
                  </a:lnTo>
                  <a:lnTo>
                    <a:pt x="38" y="113"/>
                  </a:lnTo>
                  <a:lnTo>
                    <a:pt x="37" y="112"/>
                  </a:lnTo>
                  <a:lnTo>
                    <a:pt x="35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29" y="106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5" y="98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3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8"/>
                  </a:lnTo>
                  <a:lnTo>
                    <a:pt x="5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2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3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8" y="4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">
              <a:extLst>
                <a:ext uri="{FF2B5EF4-FFF2-40B4-BE49-F238E27FC236}">
                  <a16:creationId xmlns:a16="http://schemas.microsoft.com/office/drawing/2014/main" id="{E3E7B398-844C-20AC-7E7B-1C3226E35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" y="3273"/>
              <a:ext cx="83" cy="28"/>
            </a:xfrm>
            <a:custGeom>
              <a:avLst/>
              <a:gdLst>
                <a:gd name="T0" fmla="*/ 1 w 83"/>
                <a:gd name="T1" fmla="*/ 28 h 28"/>
                <a:gd name="T2" fmla="*/ 4 w 83"/>
                <a:gd name="T3" fmla="*/ 26 h 28"/>
                <a:gd name="T4" fmla="*/ 5 w 83"/>
                <a:gd name="T5" fmla="*/ 24 h 28"/>
                <a:gd name="T6" fmla="*/ 6 w 83"/>
                <a:gd name="T7" fmla="*/ 22 h 28"/>
                <a:gd name="T8" fmla="*/ 7 w 83"/>
                <a:gd name="T9" fmla="*/ 21 h 28"/>
                <a:gd name="T10" fmla="*/ 8 w 83"/>
                <a:gd name="T11" fmla="*/ 19 h 28"/>
                <a:gd name="T12" fmla="*/ 9 w 83"/>
                <a:gd name="T13" fmla="*/ 18 h 28"/>
                <a:gd name="T14" fmla="*/ 11 w 83"/>
                <a:gd name="T15" fmla="*/ 17 h 28"/>
                <a:gd name="T16" fmla="*/ 14 w 83"/>
                <a:gd name="T17" fmla="*/ 17 h 28"/>
                <a:gd name="T18" fmla="*/ 16 w 83"/>
                <a:gd name="T19" fmla="*/ 16 h 28"/>
                <a:gd name="T20" fmla="*/ 20 w 83"/>
                <a:gd name="T21" fmla="*/ 14 h 28"/>
                <a:gd name="T22" fmla="*/ 20 w 83"/>
                <a:gd name="T23" fmla="*/ 14 h 28"/>
                <a:gd name="T24" fmla="*/ 21 w 83"/>
                <a:gd name="T25" fmla="*/ 14 h 28"/>
                <a:gd name="T26" fmla="*/ 22 w 83"/>
                <a:gd name="T27" fmla="*/ 15 h 28"/>
                <a:gd name="T28" fmla="*/ 24 w 83"/>
                <a:gd name="T29" fmla="*/ 17 h 28"/>
                <a:gd name="T30" fmla="*/ 26 w 83"/>
                <a:gd name="T31" fmla="*/ 17 h 28"/>
                <a:gd name="T32" fmla="*/ 28 w 83"/>
                <a:gd name="T33" fmla="*/ 18 h 28"/>
                <a:gd name="T34" fmla="*/ 30 w 83"/>
                <a:gd name="T35" fmla="*/ 18 h 28"/>
                <a:gd name="T36" fmla="*/ 32 w 83"/>
                <a:gd name="T37" fmla="*/ 18 h 28"/>
                <a:gd name="T38" fmla="*/ 36 w 83"/>
                <a:gd name="T39" fmla="*/ 18 h 28"/>
                <a:gd name="T40" fmla="*/ 39 w 83"/>
                <a:gd name="T41" fmla="*/ 18 h 28"/>
                <a:gd name="T42" fmla="*/ 42 w 83"/>
                <a:gd name="T43" fmla="*/ 18 h 28"/>
                <a:gd name="T44" fmla="*/ 44 w 83"/>
                <a:gd name="T45" fmla="*/ 18 h 28"/>
                <a:gd name="T46" fmla="*/ 45 w 83"/>
                <a:gd name="T47" fmla="*/ 19 h 28"/>
                <a:gd name="T48" fmla="*/ 49 w 83"/>
                <a:gd name="T49" fmla="*/ 20 h 28"/>
                <a:gd name="T50" fmla="*/ 51 w 83"/>
                <a:gd name="T51" fmla="*/ 21 h 28"/>
                <a:gd name="T52" fmla="*/ 54 w 83"/>
                <a:gd name="T53" fmla="*/ 21 h 28"/>
                <a:gd name="T54" fmla="*/ 55 w 83"/>
                <a:gd name="T55" fmla="*/ 21 h 28"/>
                <a:gd name="T56" fmla="*/ 59 w 83"/>
                <a:gd name="T57" fmla="*/ 19 h 28"/>
                <a:gd name="T58" fmla="*/ 62 w 83"/>
                <a:gd name="T59" fmla="*/ 18 h 28"/>
                <a:gd name="T60" fmla="*/ 65 w 83"/>
                <a:gd name="T61" fmla="*/ 17 h 28"/>
                <a:gd name="T62" fmla="*/ 67 w 83"/>
                <a:gd name="T63" fmla="*/ 16 h 28"/>
                <a:gd name="T64" fmla="*/ 68 w 83"/>
                <a:gd name="T65" fmla="*/ 15 h 28"/>
                <a:gd name="T66" fmla="*/ 69 w 83"/>
                <a:gd name="T67" fmla="*/ 13 h 28"/>
                <a:gd name="T68" fmla="*/ 70 w 83"/>
                <a:gd name="T69" fmla="*/ 12 h 28"/>
                <a:gd name="T70" fmla="*/ 72 w 83"/>
                <a:gd name="T71" fmla="*/ 8 h 28"/>
                <a:gd name="T72" fmla="*/ 73 w 83"/>
                <a:gd name="T73" fmla="*/ 7 h 28"/>
                <a:gd name="T74" fmla="*/ 74 w 83"/>
                <a:gd name="T75" fmla="*/ 6 h 28"/>
                <a:gd name="T76" fmla="*/ 76 w 83"/>
                <a:gd name="T77" fmla="*/ 4 h 28"/>
                <a:gd name="T78" fmla="*/ 78 w 83"/>
                <a:gd name="T79" fmla="*/ 2 h 28"/>
                <a:gd name="T80" fmla="*/ 82 w 83"/>
                <a:gd name="T81" fmla="*/ 0 h 28"/>
                <a:gd name="T82" fmla="*/ 82 w 83"/>
                <a:gd name="T8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3" h="28">
                  <a:moveTo>
                    <a:pt x="0" y="28"/>
                  </a:moveTo>
                  <a:lnTo>
                    <a:pt x="1" y="28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1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5" y="5"/>
                  </a:lnTo>
                  <a:lnTo>
                    <a:pt x="76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80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3">
              <a:extLst>
                <a:ext uri="{FF2B5EF4-FFF2-40B4-BE49-F238E27FC236}">
                  <a16:creationId xmlns:a16="http://schemas.microsoft.com/office/drawing/2014/main" id="{1414E6A3-7514-7172-83FE-38A3ABDE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457" cy="425"/>
            </a:xfrm>
            <a:custGeom>
              <a:avLst/>
              <a:gdLst>
                <a:gd name="T0" fmla="*/ 224 w 457"/>
                <a:gd name="T1" fmla="*/ 24 h 425"/>
                <a:gd name="T2" fmla="*/ 248 w 457"/>
                <a:gd name="T3" fmla="*/ 33 h 425"/>
                <a:gd name="T4" fmla="*/ 266 w 457"/>
                <a:gd name="T5" fmla="*/ 47 h 425"/>
                <a:gd name="T6" fmla="*/ 290 w 457"/>
                <a:gd name="T7" fmla="*/ 57 h 425"/>
                <a:gd name="T8" fmla="*/ 309 w 457"/>
                <a:gd name="T9" fmla="*/ 79 h 425"/>
                <a:gd name="T10" fmla="*/ 330 w 457"/>
                <a:gd name="T11" fmla="*/ 58 h 425"/>
                <a:gd name="T12" fmla="*/ 352 w 457"/>
                <a:gd name="T13" fmla="*/ 69 h 425"/>
                <a:gd name="T14" fmla="*/ 382 w 457"/>
                <a:gd name="T15" fmla="*/ 82 h 425"/>
                <a:gd name="T16" fmla="*/ 421 w 457"/>
                <a:gd name="T17" fmla="*/ 109 h 425"/>
                <a:gd name="T18" fmla="*/ 447 w 457"/>
                <a:gd name="T19" fmla="*/ 140 h 425"/>
                <a:gd name="T20" fmla="*/ 456 w 457"/>
                <a:gd name="T21" fmla="*/ 155 h 425"/>
                <a:gd name="T22" fmla="*/ 443 w 457"/>
                <a:gd name="T23" fmla="*/ 168 h 425"/>
                <a:gd name="T24" fmla="*/ 444 w 457"/>
                <a:gd name="T25" fmla="*/ 186 h 425"/>
                <a:gd name="T26" fmla="*/ 430 w 457"/>
                <a:gd name="T27" fmla="*/ 181 h 425"/>
                <a:gd name="T28" fmla="*/ 432 w 457"/>
                <a:gd name="T29" fmla="*/ 192 h 425"/>
                <a:gd name="T30" fmla="*/ 411 w 457"/>
                <a:gd name="T31" fmla="*/ 204 h 425"/>
                <a:gd name="T32" fmla="*/ 403 w 457"/>
                <a:gd name="T33" fmla="*/ 234 h 425"/>
                <a:gd name="T34" fmla="*/ 415 w 457"/>
                <a:gd name="T35" fmla="*/ 248 h 425"/>
                <a:gd name="T36" fmla="*/ 414 w 457"/>
                <a:gd name="T37" fmla="*/ 266 h 425"/>
                <a:gd name="T38" fmla="*/ 409 w 457"/>
                <a:gd name="T39" fmla="*/ 285 h 425"/>
                <a:gd name="T40" fmla="*/ 415 w 457"/>
                <a:gd name="T41" fmla="*/ 304 h 425"/>
                <a:gd name="T42" fmla="*/ 405 w 457"/>
                <a:gd name="T43" fmla="*/ 320 h 425"/>
                <a:gd name="T44" fmla="*/ 400 w 457"/>
                <a:gd name="T45" fmla="*/ 334 h 425"/>
                <a:gd name="T46" fmla="*/ 405 w 457"/>
                <a:gd name="T47" fmla="*/ 353 h 425"/>
                <a:gd name="T48" fmla="*/ 381 w 457"/>
                <a:gd name="T49" fmla="*/ 365 h 425"/>
                <a:gd name="T50" fmla="*/ 362 w 457"/>
                <a:gd name="T51" fmla="*/ 380 h 425"/>
                <a:gd name="T52" fmla="*/ 334 w 457"/>
                <a:gd name="T53" fmla="*/ 383 h 425"/>
                <a:gd name="T54" fmla="*/ 316 w 457"/>
                <a:gd name="T55" fmla="*/ 377 h 425"/>
                <a:gd name="T56" fmla="*/ 300 w 457"/>
                <a:gd name="T57" fmla="*/ 386 h 425"/>
                <a:gd name="T58" fmla="*/ 275 w 457"/>
                <a:gd name="T59" fmla="*/ 400 h 425"/>
                <a:gd name="T60" fmla="*/ 253 w 457"/>
                <a:gd name="T61" fmla="*/ 419 h 425"/>
                <a:gd name="T62" fmla="*/ 229 w 457"/>
                <a:gd name="T63" fmla="*/ 424 h 425"/>
                <a:gd name="T64" fmla="*/ 211 w 457"/>
                <a:gd name="T65" fmla="*/ 422 h 425"/>
                <a:gd name="T66" fmla="*/ 193 w 457"/>
                <a:gd name="T67" fmla="*/ 408 h 425"/>
                <a:gd name="T68" fmla="*/ 183 w 457"/>
                <a:gd name="T69" fmla="*/ 397 h 425"/>
                <a:gd name="T70" fmla="*/ 199 w 457"/>
                <a:gd name="T71" fmla="*/ 369 h 425"/>
                <a:gd name="T72" fmla="*/ 211 w 457"/>
                <a:gd name="T73" fmla="*/ 355 h 425"/>
                <a:gd name="T74" fmla="*/ 200 w 457"/>
                <a:gd name="T75" fmla="*/ 339 h 425"/>
                <a:gd name="T76" fmla="*/ 173 w 457"/>
                <a:gd name="T77" fmla="*/ 342 h 425"/>
                <a:gd name="T78" fmla="*/ 142 w 457"/>
                <a:gd name="T79" fmla="*/ 330 h 425"/>
                <a:gd name="T80" fmla="*/ 134 w 457"/>
                <a:gd name="T81" fmla="*/ 301 h 425"/>
                <a:gd name="T82" fmla="*/ 107 w 457"/>
                <a:gd name="T83" fmla="*/ 299 h 425"/>
                <a:gd name="T84" fmla="*/ 77 w 457"/>
                <a:gd name="T85" fmla="*/ 296 h 425"/>
                <a:gd name="T86" fmla="*/ 58 w 457"/>
                <a:gd name="T87" fmla="*/ 284 h 425"/>
                <a:gd name="T88" fmla="*/ 52 w 457"/>
                <a:gd name="T89" fmla="*/ 272 h 425"/>
                <a:gd name="T90" fmla="*/ 26 w 457"/>
                <a:gd name="T91" fmla="*/ 269 h 425"/>
                <a:gd name="T92" fmla="*/ 5 w 457"/>
                <a:gd name="T93" fmla="*/ 242 h 425"/>
                <a:gd name="T94" fmla="*/ 0 w 457"/>
                <a:gd name="T95" fmla="*/ 222 h 425"/>
                <a:gd name="T96" fmla="*/ 8 w 457"/>
                <a:gd name="T97" fmla="*/ 188 h 425"/>
                <a:gd name="T98" fmla="*/ 5 w 457"/>
                <a:gd name="T99" fmla="*/ 160 h 425"/>
                <a:gd name="T100" fmla="*/ 11 w 457"/>
                <a:gd name="T101" fmla="*/ 145 h 425"/>
                <a:gd name="T102" fmla="*/ 26 w 457"/>
                <a:gd name="T103" fmla="*/ 129 h 425"/>
                <a:gd name="T104" fmla="*/ 39 w 457"/>
                <a:gd name="T105" fmla="*/ 122 h 425"/>
                <a:gd name="T106" fmla="*/ 74 w 457"/>
                <a:gd name="T107" fmla="*/ 121 h 425"/>
                <a:gd name="T108" fmla="*/ 88 w 457"/>
                <a:gd name="T109" fmla="*/ 115 h 425"/>
                <a:gd name="T110" fmla="*/ 105 w 457"/>
                <a:gd name="T111" fmla="*/ 105 h 425"/>
                <a:gd name="T112" fmla="*/ 87 w 457"/>
                <a:gd name="T113" fmla="*/ 86 h 425"/>
                <a:gd name="T114" fmla="*/ 99 w 457"/>
                <a:gd name="T115" fmla="*/ 53 h 425"/>
                <a:gd name="T116" fmla="*/ 113 w 457"/>
                <a:gd name="T117" fmla="*/ 49 h 425"/>
                <a:gd name="T118" fmla="*/ 146 w 457"/>
                <a:gd name="T119" fmla="*/ 32 h 425"/>
                <a:gd name="T120" fmla="*/ 160 w 457"/>
                <a:gd name="T121" fmla="*/ 25 h 425"/>
                <a:gd name="T122" fmla="*/ 169 w 457"/>
                <a:gd name="T123" fmla="*/ 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7" h="425">
                  <a:moveTo>
                    <a:pt x="185" y="4"/>
                  </a:moveTo>
                  <a:lnTo>
                    <a:pt x="190" y="8"/>
                  </a:lnTo>
                  <a:lnTo>
                    <a:pt x="192" y="9"/>
                  </a:lnTo>
                  <a:lnTo>
                    <a:pt x="195" y="11"/>
                  </a:lnTo>
                  <a:lnTo>
                    <a:pt x="202" y="16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6" y="19"/>
                  </a:lnTo>
                  <a:lnTo>
                    <a:pt x="207" y="21"/>
                  </a:lnTo>
                  <a:lnTo>
                    <a:pt x="209" y="22"/>
                  </a:lnTo>
                  <a:lnTo>
                    <a:pt x="209" y="23"/>
                  </a:lnTo>
                  <a:lnTo>
                    <a:pt x="210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2" y="23"/>
                  </a:lnTo>
                  <a:lnTo>
                    <a:pt x="214" y="23"/>
                  </a:lnTo>
                  <a:lnTo>
                    <a:pt x="215" y="23"/>
                  </a:lnTo>
                  <a:lnTo>
                    <a:pt x="216" y="23"/>
                  </a:lnTo>
                  <a:lnTo>
                    <a:pt x="220" y="23"/>
                  </a:lnTo>
                  <a:lnTo>
                    <a:pt x="221" y="23"/>
                  </a:lnTo>
                  <a:lnTo>
                    <a:pt x="221" y="23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5" y="24"/>
                  </a:lnTo>
                  <a:lnTo>
                    <a:pt x="226" y="24"/>
                  </a:lnTo>
                  <a:lnTo>
                    <a:pt x="227" y="24"/>
                  </a:lnTo>
                  <a:lnTo>
                    <a:pt x="227" y="23"/>
                  </a:lnTo>
                  <a:lnTo>
                    <a:pt x="229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1" y="23"/>
                  </a:lnTo>
                  <a:lnTo>
                    <a:pt x="232" y="23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41" y="27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7" y="32"/>
                  </a:lnTo>
                  <a:lnTo>
                    <a:pt x="248" y="33"/>
                  </a:lnTo>
                  <a:lnTo>
                    <a:pt x="248" y="33"/>
                  </a:lnTo>
                  <a:lnTo>
                    <a:pt x="249" y="34"/>
                  </a:lnTo>
                  <a:lnTo>
                    <a:pt x="250" y="35"/>
                  </a:lnTo>
                  <a:lnTo>
                    <a:pt x="251" y="35"/>
                  </a:lnTo>
                  <a:lnTo>
                    <a:pt x="252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7" y="37"/>
                  </a:lnTo>
                  <a:lnTo>
                    <a:pt x="258" y="37"/>
                  </a:lnTo>
                  <a:lnTo>
                    <a:pt x="261" y="38"/>
                  </a:lnTo>
                  <a:lnTo>
                    <a:pt x="262" y="38"/>
                  </a:lnTo>
                  <a:lnTo>
                    <a:pt x="262" y="39"/>
                  </a:lnTo>
                  <a:lnTo>
                    <a:pt x="263" y="39"/>
                  </a:lnTo>
                  <a:lnTo>
                    <a:pt x="263" y="39"/>
                  </a:lnTo>
                  <a:lnTo>
                    <a:pt x="263" y="40"/>
                  </a:lnTo>
                  <a:lnTo>
                    <a:pt x="264" y="40"/>
                  </a:lnTo>
                  <a:lnTo>
                    <a:pt x="264" y="41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6" y="47"/>
                  </a:lnTo>
                  <a:lnTo>
                    <a:pt x="267" y="47"/>
                  </a:lnTo>
                  <a:lnTo>
                    <a:pt x="268" y="47"/>
                  </a:lnTo>
                  <a:lnTo>
                    <a:pt x="268" y="47"/>
                  </a:lnTo>
                  <a:lnTo>
                    <a:pt x="270" y="48"/>
                  </a:lnTo>
                  <a:lnTo>
                    <a:pt x="271" y="48"/>
                  </a:lnTo>
                  <a:lnTo>
                    <a:pt x="273" y="48"/>
                  </a:lnTo>
                  <a:lnTo>
                    <a:pt x="274" y="49"/>
                  </a:lnTo>
                  <a:lnTo>
                    <a:pt x="275" y="50"/>
                  </a:lnTo>
                  <a:lnTo>
                    <a:pt x="277" y="50"/>
                  </a:lnTo>
                  <a:lnTo>
                    <a:pt x="278" y="51"/>
                  </a:lnTo>
                  <a:lnTo>
                    <a:pt x="280" y="52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3" y="54"/>
                  </a:lnTo>
                  <a:lnTo>
                    <a:pt x="284" y="54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8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8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9" y="62"/>
                  </a:lnTo>
                  <a:lnTo>
                    <a:pt x="289" y="63"/>
                  </a:lnTo>
                  <a:lnTo>
                    <a:pt x="288" y="64"/>
                  </a:lnTo>
                  <a:lnTo>
                    <a:pt x="288" y="65"/>
                  </a:lnTo>
                  <a:lnTo>
                    <a:pt x="289" y="66"/>
                  </a:lnTo>
                  <a:lnTo>
                    <a:pt x="289" y="67"/>
                  </a:lnTo>
                  <a:lnTo>
                    <a:pt x="289" y="68"/>
                  </a:lnTo>
                  <a:lnTo>
                    <a:pt x="290" y="69"/>
                  </a:lnTo>
                  <a:lnTo>
                    <a:pt x="291" y="70"/>
                  </a:lnTo>
                  <a:lnTo>
                    <a:pt x="292" y="71"/>
                  </a:lnTo>
                  <a:lnTo>
                    <a:pt x="293" y="71"/>
                  </a:lnTo>
                  <a:lnTo>
                    <a:pt x="293" y="72"/>
                  </a:lnTo>
                  <a:lnTo>
                    <a:pt x="295" y="73"/>
                  </a:lnTo>
                  <a:lnTo>
                    <a:pt x="301" y="76"/>
                  </a:lnTo>
                  <a:lnTo>
                    <a:pt x="304" y="77"/>
                  </a:lnTo>
                  <a:lnTo>
                    <a:pt x="306" y="78"/>
                  </a:lnTo>
                  <a:lnTo>
                    <a:pt x="307" y="78"/>
                  </a:lnTo>
                  <a:lnTo>
                    <a:pt x="307" y="79"/>
                  </a:lnTo>
                  <a:lnTo>
                    <a:pt x="308" y="79"/>
                  </a:lnTo>
                  <a:lnTo>
                    <a:pt x="309" y="79"/>
                  </a:lnTo>
                  <a:lnTo>
                    <a:pt x="310" y="79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5" y="79"/>
                  </a:lnTo>
                  <a:lnTo>
                    <a:pt x="316" y="78"/>
                  </a:lnTo>
                  <a:lnTo>
                    <a:pt x="316" y="78"/>
                  </a:lnTo>
                  <a:lnTo>
                    <a:pt x="317" y="78"/>
                  </a:lnTo>
                  <a:lnTo>
                    <a:pt x="317" y="77"/>
                  </a:lnTo>
                  <a:lnTo>
                    <a:pt x="318" y="77"/>
                  </a:lnTo>
                  <a:lnTo>
                    <a:pt x="319" y="74"/>
                  </a:lnTo>
                  <a:lnTo>
                    <a:pt x="321" y="72"/>
                  </a:lnTo>
                  <a:lnTo>
                    <a:pt x="322" y="71"/>
                  </a:lnTo>
                  <a:lnTo>
                    <a:pt x="322" y="71"/>
                  </a:lnTo>
                  <a:lnTo>
                    <a:pt x="322" y="70"/>
                  </a:lnTo>
                  <a:lnTo>
                    <a:pt x="323" y="67"/>
                  </a:lnTo>
                  <a:lnTo>
                    <a:pt x="324" y="65"/>
                  </a:lnTo>
                  <a:lnTo>
                    <a:pt x="325" y="63"/>
                  </a:lnTo>
                  <a:lnTo>
                    <a:pt x="326" y="62"/>
                  </a:lnTo>
                  <a:lnTo>
                    <a:pt x="327" y="61"/>
                  </a:lnTo>
                  <a:lnTo>
                    <a:pt x="328" y="60"/>
                  </a:lnTo>
                  <a:lnTo>
                    <a:pt x="329" y="59"/>
                  </a:lnTo>
                  <a:lnTo>
                    <a:pt x="330" y="58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2" y="58"/>
                  </a:lnTo>
                  <a:lnTo>
                    <a:pt x="333" y="58"/>
                  </a:lnTo>
                  <a:lnTo>
                    <a:pt x="333" y="59"/>
                  </a:lnTo>
                  <a:lnTo>
                    <a:pt x="334" y="60"/>
                  </a:lnTo>
                  <a:lnTo>
                    <a:pt x="335" y="61"/>
                  </a:lnTo>
                  <a:lnTo>
                    <a:pt x="336" y="62"/>
                  </a:lnTo>
                  <a:lnTo>
                    <a:pt x="337" y="63"/>
                  </a:lnTo>
                  <a:lnTo>
                    <a:pt x="337" y="63"/>
                  </a:lnTo>
                  <a:lnTo>
                    <a:pt x="338" y="64"/>
                  </a:lnTo>
                  <a:lnTo>
                    <a:pt x="339" y="64"/>
                  </a:lnTo>
                  <a:lnTo>
                    <a:pt x="340" y="65"/>
                  </a:lnTo>
                  <a:lnTo>
                    <a:pt x="341" y="65"/>
                  </a:lnTo>
                  <a:lnTo>
                    <a:pt x="342" y="66"/>
                  </a:lnTo>
                  <a:lnTo>
                    <a:pt x="343" y="66"/>
                  </a:lnTo>
                  <a:lnTo>
                    <a:pt x="345" y="67"/>
                  </a:lnTo>
                  <a:lnTo>
                    <a:pt x="348" y="67"/>
                  </a:lnTo>
                  <a:lnTo>
                    <a:pt x="350" y="67"/>
                  </a:lnTo>
                  <a:lnTo>
                    <a:pt x="351" y="68"/>
                  </a:lnTo>
                  <a:lnTo>
                    <a:pt x="352" y="68"/>
                  </a:lnTo>
                  <a:lnTo>
                    <a:pt x="352" y="69"/>
                  </a:lnTo>
                  <a:lnTo>
                    <a:pt x="353" y="69"/>
                  </a:lnTo>
                  <a:lnTo>
                    <a:pt x="354" y="70"/>
                  </a:lnTo>
                  <a:lnTo>
                    <a:pt x="355" y="70"/>
                  </a:lnTo>
                  <a:lnTo>
                    <a:pt x="356" y="72"/>
                  </a:lnTo>
                  <a:lnTo>
                    <a:pt x="357" y="73"/>
                  </a:lnTo>
                  <a:lnTo>
                    <a:pt x="359" y="75"/>
                  </a:lnTo>
                  <a:lnTo>
                    <a:pt x="361" y="77"/>
                  </a:lnTo>
                  <a:lnTo>
                    <a:pt x="362" y="77"/>
                  </a:lnTo>
                  <a:lnTo>
                    <a:pt x="362" y="78"/>
                  </a:lnTo>
                  <a:lnTo>
                    <a:pt x="363" y="78"/>
                  </a:lnTo>
                  <a:lnTo>
                    <a:pt x="363" y="78"/>
                  </a:lnTo>
                  <a:lnTo>
                    <a:pt x="364" y="78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7" y="79"/>
                  </a:lnTo>
                  <a:lnTo>
                    <a:pt x="371" y="79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80"/>
                  </a:lnTo>
                  <a:lnTo>
                    <a:pt x="375" y="80"/>
                  </a:lnTo>
                  <a:lnTo>
                    <a:pt x="377" y="81"/>
                  </a:lnTo>
                  <a:lnTo>
                    <a:pt x="378" y="81"/>
                  </a:lnTo>
                  <a:lnTo>
                    <a:pt x="382" y="82"/>
                  </a:lnTo>
                  <a:lnTo>
                    <a:pt x="386" y="83"/>
                  </a:lnTo>
                  <a:lnTo>
                    <a:pt x="389" y="84"/>
                  </a:lnTo>
                  <a:lnTo>
                    <a:pt x="390" y="85"/>
                  </a:lnTo>
                  <a:lnTo>
                    <a:pt x="390" y="85"/>
                  </a:lnTo>
                  <a:lnTo>
                    <a:pt x="395" y="87"/>
                  </a:lnTo>
                  <a:lnTo>
                    <a:pt x="399" y="89"/>
                  </a:lnTo>
                  <a:lnTo>
                    <a:pt x="400" y="90"/>
                  </a:lnTo>
                  <a:lnTo>
                    <a:pt x="401" y="91"/>
                  </a:lnTo>
                  <a:lnTo>
                    <a:pt x="403" y="91"/>
                  </a:lnTo>
                  <a:lnTo>
                    <a:pt x="404" y="92"/>
                  </a:lnTo>
                  <a:lnTo>
                    <a:pt x="405" y="93"/>
                  </a:lnTo>
                  <a:lnTo>
                    <a:pt x="407" y="95"/>
                  </a:lnTo>
                  <a:lnTo>
                    <a:pt x="410" y="99"/>
                  </a:lnTo>
                  <a:lnTo>
                    <a:pt x="412" y="100"/>
                  </a:lnTo>
                  <a:lnTo>
                    <a:pt x="413" y="101"/>
                  </a:lnTo>
                  <a:lnTo>
                    <a:pt x="414" y="103"/>
                  </a:lnTo>
                  <a:lnTo>
                    <a:pt x="415" y="104"/>
                  </a:lnTo>
                  <a:lnTo>
                    <a:pt x="416" y="106"/>
                  </a:lnTo>
                  <a:lnTo>
                    <a:pt x="418" y="107"/>
                  </a:lnTo>
                  <a:lnTo>
                    <a:pt x="419" y="108"/>
                  </a:lnTo>
                  <a:lnTo>
                    <a:pt x="419" y="108"/>
                  </a:lnTo>
                  <a:lnTo>
                    <a:pt x="420" y="108"/>
                  </a:lnTo>
                  <a:lnTo>
                    <a:pt x="421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8" y="111"/>
                  </a:lnTo>
                  <a:lnTo>
                    <a:pt x="432" y="112"/>
                  </a:lnTo>
                  <a:lnTo>
                    <a:pt x="433" y="112"/>
                  </a:lnTo>
                  <a:lnTo>
                    <a:pt x="435" y="113"/>
                  </a:lnTo>
                  <a:lnTo>
                    <a:pt x="436" y="114"/>
                  </a:lnTo>
                  <a:lnTo>
                    <a:pt x="439" y="116"/>
                  </a:lnTo>
                  <a:lnTo>
                    <a:pt x="442" y="118"/>
                  </a:lnTo>
                  <a:lnTo>
                    <a:pt x="443" y="118"/>
                  </a:lnTo>
                  <a:lnTo>
                    <a:pt x="444" y="119"/>
                  </a:lnTo>
                  <a:lnTo>
                    <a:pt x="445" y="120"/>
                  </a:lnTo>
                  <a:lnTo>
                    <a:pt x="446" y="121"/>
                  </a:lnTo>
                  <a:lnTo>
                    <a:pt x="450" y="127"/>
                  </a:lnTo>
                  <a:lnTo>
                    <a:pt x="450" y="127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31"/>
                  </a:lnTo>
                  <a:lnTo>
                    <a:pt x="449" y="132"/>
                  </a:lnTo>
                  <a:lnTo>
                    <a:pt x="449" y="134"/>
                  </a:lnTo>
                  <a:lnTo>
                    <a:pt x="447" y="138"/>
                  </a:lnTo>
                  <a:lnTo>
                    <a:pt x="447" y="139"/>
                  </a:lnTo>
                  <a:lnTo>
                    <a:pt x="447" y="140"/>
                  </a:lnTo>
                  <a:lnTo>
                    <a:pt x="447" y="140"/>
                  </a:lnTo>
                  <a:lnTo>
                    <a:pt x="447" y="141"/>
                  </a:lnTo>
                  <a:lnTo>
                    <a:pt x="447" y="141"/>
                  </a:lnTo>
                  <a:lnTo>
                    <a:pt x="447" y="142"/>
                  </a:lnTo>
                  <a:lnTo>
                    <a:pt x="448" y="143"/>
                  </a:lnTo>
                  <a:lnTo>
                    <a:pt x="448" y="144"/>
                  </a:lnTo>
                  <a:lnTo>
                    <a:pt x="449" y="144"/>
                  </a:lnTo>
                  <a:lnTo>
                    <a:pt x="450" y="145"/>
                  </a:lnTo>
                  <a:lnTo>
                    <a:pt x="450" y="145"/>
                  </a:lnTo>
                  <a:lnTo>
                    <a:pt x="453" y="147"/>
                  </a:lnTo>
                  <a:lnTo>
                    <a:pt x="454" y="147"/>
                  </a:lnTo>
                  <a:lnTo>
                    <a:pt x="454" y="148"/>
                  </a:lnTo>
                  <a:lnTo>
                    <a:pt x="455" y="149"/>
                  </a:lnTo>
                  <a:lnTo>
                    <a:pt x="455" y="149"/>
                  </a:lnTo>
                  <a:lnTo>
                    <a:pt x="456" y="150"/>
                  </a:lnTo>
                  <a:lnTo>
                    <a:pt x="456" y="150"/>
                  </a:lnTo>
                  <a:lnTo>
                    <a:pt x="456" y="151"/>
                  </a:lnTo>
                  <a:lnTo>
                    <a:pt x="456" y="151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7" y="154"/>
                  </a:lnTo>
                  <a:lnTo>
                    <a:pt x="456" y="154"/>
                  </a:lnTo>
                  <a:lnTo>
                    <a:pt x="456" y="155"/>
                  </a:lnTo>
                  <a:lnTo>
                    <a:pt x="456" y="156"/>
                  </a:lnTo>
                  <a:lnTo>
                    <a:pt x="455" y="157"/>
                  </a:lnTo>
                  <a:lnTo>
                    <a:pt x="455" y="158"/>
                  </a:lnTo>
                  <a:lnTo>
                    <a:pt x="454" y="160"/>
                  </a:lnTo>
                  <a:lnTo>
                    <a:pt x="453" y="161"/>
                  </a:lnTo>
                  <a:lnTo>
                    <a:pt x="452" y="162"/>
                  </a:lnTo>
                  <a:lnTo>
                    <a:pt x="451" y="164"/>
                  </a:lnTo>
                  <a:lnTo>
                    <a:pt x="450" y="164"/>
                  </a:lnTo>
                  <a:lnTo>
                    <a:pt x="449" y="165"/>
                  </a:lnTo>
                  <a:lnTo>
                    <a:pt x="448" y="165"/>
                  </a:lnTo>
                  <a:lnTo>
                    <a:pt x="447" y="166"/>
                  </a:lnTo>
                  <a:lnTo>
                    <a:pt x="446" y="166"/>
                  </a:lnTo>
                  <a:lnTo>
                    <a:pt x="446" y="166"/>
                  </a:lnTo>
                  <a:lnTo>
                    <a:pt x="445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3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2" y="167"/>
                  </a:lnTo>
                  <a:lnTo>
                    <a:pt x="442" y="167"/>
                  </a:lnTo>
                  <a:lnTo>
                    <a:pt x="443" y="168"/>
                  </a:lnTo>
                  <a:lnTo>
                    <a:pt x="443" y="169"/>
                  </a:lnTo>
                  <a:lnTo>
                    <a:pt x="443" y="169"/>
                  </a:lnTo>
                  <a:lnTo>
                    <a:pt x="444" y="170"/>
                  </a:lnTo>
                  <a:lnTo>
                    <a:pt x="444" y="171"/>
                  </a:lnTo>
                  <a:lnTo>
                    <a:pt x="446" y="172"/>
                  </a:lnTo>
                  <a:lnTo>
                    <a:pt x="446" y="173"/>
                  </a:lnTo>
                  <a:lnTo>
                    <a:pt x="447" y="174"/>
                  </a:lnTo>
                  <a:lnTo>
                    <a:pt x="448" y="175"/>
                  </a:lnTo>
                  <a:lnTo>
                    <a:pt x="448" y="176"/>
                  </a:lnTo>
                  <a:lnTo>
                    <a:pt x="448" y="177"/>
                  </a:lnTo>
                  <a:lnTo>
                    <a:pt x="448" y="177"/>
                  </a:lnTo>
                  <a:lnTo>
                    <a:pt x="448" y="178"/>
                  </a:lnTo>
                  <a:lnTo>
                    <a:pt x="448" y="178"/>
                  </a:lnTo>
                  <a:lnTo>
                    <a:pt x="448" y="179"/>
                  </a:lnTo>
                  <a:lnTo>
                    <a:pt x="448" y="180"/>
                  </a:lnTo>
                  <a:lnTo>
                    <a:pt x="447" y="181"/>
                  </a:lnTo>
                  <a:lnTo>
                    <a:pt x="447" y="183"/>
                  </a:lnTo>
                  <a:lnTo>
                    <a:pt x="446" y="184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45" y="185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2" y="186"/>
                  </a:lnTo>
                  <a:lnTo>
                    <a:pt x="441" y="186"/>
                  </a:lnTo>
                  <a:lnTo>
                    <a:pt x="441" y="186"/>
                  </a:lnTo>
                  <a:lnTo>
                    <a:pt x="440" y="185"/>
                  </a:lnTo>
                  <a:lnTo>
                    <a:pt x="440" y="185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9" y="183"/>
                  </a:lnTo>
                  <a:lnTo>
                    <a:pt x="438" y="182"/>
                  </a:lnTo>
                  <a:lnTo>
                    <a:pt x="438" y="181"/>
                  </a:lnTo>
                  <a:lnTo>
                    <a:pt x="437" y="181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80"/>
                  </a:lnTo>
                  <a:lnTo>
                    <a:pt x="434" y="180"/>
                  </a:lnTo>
                  <a:lnTo>
                    <a:pt x="433" y="180"/>
                  </a:lnTo>
                  <a:lnTo>
                    <a:pt x="433" y="180"/>
                  </a:lnTo>
                  <a:lnTo>
                    <a:pt x="432" y="180"/>
                  </a:lnTo>
                  <a:lnTo>
                    <a:pt x="431" y="180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8" y="182"/>
                  </a:lnTo>
                  <a:lnTo>
                    <a:pt x="428" y="183"/>
                  </a:lnTo>
                  <a:lnTo>
                    <a:pt x="426" y="184"/>
                  </a:lnTo>
                  <a:lnTo>
                    <a:pt x="425" y="185"/>
                  </a:lnTo>
                  <a:lnTo>
                    <a:pt x="425" y="186"/>
                  </a:lnTo>
                  <a:lnTo>
                    <a:pt x="424" y="186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25" y="188"/>
                  </a:lnTo>
                  <a:lnTo>
                    <a:pt x="425" y="188"/>
                  </a:lnTo>
                  <a:lnTo>
                    <a:pt x="426" y="188"/>
                  </a:lnTo>
                  <a:lnTo>
                    <a:pt x="428" y="189"/>
                  </a:lnTo>
                  <a:lnTo>
                    <a:pt x="429" y="189"/>
                  </a:lnTo>
                  <a:lnTo>
                    <a:pt x="430" y="189"/>
                  </a:lnTo>
                  <a:lnTo>
                    <a:pt x="430" y="190"/>
                  </a:lnTo>
                  <a:lnTo>
                    <a:pt x="431" y="190"/>
                  </a:lnTo>
                  <a:lnTo>
                    <a:pt x="431" y="190"/>
                  </a:lnTo>
                  <a:lnTo>
                    <a:pt x="432" y="191"/>
                  </a:lnTo>
                  <a:lnTo>
                    <a:pt x="432" y="191"/>
                  </a:lnTo>
                  <a:lnTo>
                    <a:pt x="432" y="192"/>
                  </a:lnTo>
                  <a:lnTo>
                    <a:pt x="432" y="192"/>
                  </a:lnTo>
                  <a:lnTo>
                    <a:pt x="432" y="193"/>
                  </a:lnTo>
                  <a:lnTo>
                    <a:pt x="432" y="193"/>
                  </a:lnTo>
                  <a:lnTo>
                    <a:pt x="432" y="194"/>
                  </a:lnTo>
                  <a:lnTo>
                    <a:pt x="431" y="194"/>
                  </a:lnTo>
                  <a:lnTo>
                    <a:pt x="431" y="195"/>
                  </a:lnTo>
                  <a:lnTo>
                    <a:pt x="430" y="195"/>
                  </a:lnTo>
                  <a:lnTo>
                    <a:pt x="429" y="196"/>
                  </a:lnTo>
                  <a:lnTo>
                    <a:pt x="428" y="196"/>
                  </a:lnTo>
                  <a:lnTo>
                    <a:pt x="427" y="196"/>
                  </a:lnTo>
                  <a:lnTo>
                    <a:pt x="425" y="197"/>
                  </a:lnTo>
                  <a:lnTo>
                    <a:pt x="423" y="197"/>
                  </a:lnTo>
                  <a:lnTo>
                    <a:pt x="420" y="197"/>
                  </a:lnTo>
                  <a:lnTo>
                    <a:pt x="419" y="198"/>
                  </a:lnTo>
                  <a:lnTo>
                    <a:pt x="418" y="198"/>
                  </a:lnTo>
                  <a:lnTo>
                    <a:pt x="417" y="198"/>
                  </a:lnTo>
                  <a:lnTo>
                    <a:pt x="415" y="199"/>
                  </a:lnTo>
                  <a:lnTo>
                    <a:pt x="415" y="199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3" y="201"/>
                  </a:lnTo>
                  <a:lnTo>
                    <a:pt x="413" y="202"/>
                  </a:lnTo>
                  <a:lnTo>
                    <a:pt x="412" y="203"/>
                  </a:lnTo>
                  <a:lnTo>
                    <a:pt x="411" y="204"/>
                  </a:lnTo>
                  <a:lnTo>
                    <a:pt x="410" y="207"/>
                  </a:lnTo>
                  <a:lnTo>
                    <a:pt x="409" y="208"/>
                  </a:lnTo>
                  <a:lnTo>
                    <a:pt x="409" y="208"/>
                  </a:lnTo>
                  <a:lnTo>
                    <a:pt x="407" y="211"/>
                  </a:lnTo>
                  <a:lnTo>
                    <a:pt x="406" y="212"/>
                  </a:lnTo>
                  <a:lnTo>
                    <a:pt x="405" y="213"/>
                  </a:lnTo>
                  <a:lnTo>
                    <a:pt x="404" y="214"/>
                  </a:lnTo>
                  <a:lnTo>
                    <a:pt x="404" y="215"/>
                  </a:lnTo>
                  <a:lnTo>
                    <a:pt x="404" y="216"/>
                  </a:lnTo>
                  <a:lnTo>
                    <a:pt x="404" y="217"/>
                  </a:lnTo>
                  <a:lnTo>
                    <a:pt x="404" y="220"/>
                  </a:lnTo>
                  <a:lnTo>
                    <a:pt x="403" y="222"/>
                  </a:lnTo>
                  <a:lnTo>
                    <a:pt x="403" y="224"/>
                  </a:lnTo>
                  <a:lnTo>
                    <a:pt x="403" y="226"/>
                  </a:lnTo>
                  <a:lnTo>
                    <a:pt x="402" y="229"/>
                  </a:lnTo>
                  <a:lnTo>
                    <a:pt x="402" y="230"/>
                  </a:lnTo>
                  <a:lnTo>
                    <a:pt x="402" y="231"/>
                  </a:lnTo>
                  <a:lnTo>
                    <a:pt x="402" y="232"/>
                  </a:lnTo>
                  <a:lnTo>
                    <a:pt x="402" y="232"/>
                  </a:lnTo>
                  <a:lnTo>
                    <a:pt x="402" y="233"/>
                  </a:lnTo>
                  <a:lnTo>
                    <a:pt x="402" y="233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4" y="235"/>
                  </a:lnTo>
                  <a:lnTo>
                    <a:pt x="407" y="237"/>
                  </a:lnTo>
                  <a:lnTo>
                    <a:pt x="412" y="241"/>
                  </a:lnTo>
                  <a:lnTo>
                    <a:pt x="412" y="241"/>
                  </a:lnTo>
                  <a:lnTo>
                    <a:pt x="413" y="241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2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0" y="244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0" y="245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3" y="247"/>
                  </a:lnTo>
                  <a:lnTo>
                    <a:pt x="413" y="247"/>
                  </a:lnTo>
                  <a:lnTo>
                    <a:pt x="414" y="248"/>
                  </a:lnTo>
                  <a:lnTo>
                    <a:pt x="415" y="248"/>
                  </a:lnTo>
                  <a:lnTo>
                    <a:pt x="418" y="249"/>
                  </a:lnTo>
                  <a:lnTo>
                    <a:pt x="419" y="249"/>
                  </a:lnTo>
                  <a:lnTo>
                    <a:pt x="419" y="249"/>
                  </a:lnTo>
                  <a:lnTo>
                    <a:pt x="419" y="250"/>
                  </a:lnTo>
                  <a:lnTo>
                    <a:pt x="420" y="250"/>
                  </a:lnTo>
                  <a:lnTo>
                    <a:pt x="420" y="250"/>
                  </a:lnTo>
                  <a:lnTo>
                    <a:pt x="420" y="251"/>
                  </a:lnTo>
                  <a:lnTo>
                    <a:pt x="420" y="252"/>
                  </a:lnTo>
                  <a:lnTo>
                    <a:pt x="420" y="252"/>
                  </a:lnTo>
                  <a:lnTo>
                    <a:pt x="420" y="253"/>
                  </a:lnTo>
                  <a:lnTo>
                    <a:pt x="420" y="253"/>
                  </a:lnTo>
                  <a:lnTo>
                    <a:pt x="420" y="254"/>
                  </a:lnTo>
                  <a:lnTo>
                    <a:pt x="419" y="255"/>
                  </a:lnTo>
                  <a:lnTo>
                    <a:pt x="419" y="256"/>
                  </a:lnTo>
                  <a:lnTo>
                    <a:pt x="418" y="258"/>
                  </a:lnTo>
                  <a:lnTo>
                    <a:pt x="415" y="261"/>
                  </a:lnTo>
                  <a:lnTo>
                    <a:pt x="415" y="262"/>
                  </a:lnTo>
                  <a:lnTo>
                    <a:pt x="414" y="262"/>
                  </a:lnTo>
                  <a:lnTo>
                    <a:pt x="414" y="263"/>
                  </a:lnTo>
                  <a:lnTo>
                    <a:pt x="414" y="264"/>
                  </a:lnTo>
                  <a:lnTo>
                    <a:pt x="414" y="265"/>
                  </a:lnTo>
                  <a:lnTo>
                    <a:pt x="414" y="266"/>
                  </a:lnTo>
                  <a:lnTo>
                    <a:pt x="414" y="266"/>
                  </a:lnTo>
                  <a:lnTo>
                    <a:pt x="414" y="267"/>
                  </a:lnTo>
                  <a:lnTo>
                    <a:pt x="414" y="268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8" y="272"/>
                  </a:lnTo>
                  <a:lnTo>
                    <a:pt x="418" y="273"/>
                  </a:lnTo>
                  <a:lnTo>
                    <a:pt x="418" y="274"/>
                  </a:lnTo>
                  <a:lnTo>
                    <a:pt x="419" y="274"/>
                  </a:lnTo>
                  <a:lnTo>
                    <a:pt x="419" y="275"/>
                  </a:lnTo>
                  <a:lnTo>
                    <a:pt x="419" y="275"/>
                  </a:lnTo>
                  <a:lnTo>
                    <a:pt x="419" y="276"/>
                  </a:lnTo>
                  <a:lnTo>
                    <a:pt x="418" y="276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7" y="278"/>
                  </a:lnTo>
                  <a:lnTo>
                    <a:pt x="416" y="278"/>
                  </a:lnTo>
                  <a:lnTo>
                    <a:pt x="414" y="280"/>
                  </a:lnTo>
                  <a:lnTo>
                    <a:pt x="413" y="281"/>
                  </a:lnTo>
                  <a:lnTo>
                    <a:pt x="412" y="281"/>
                  </a:lnTo>
                  <a:lnTo>
                    <a:pt x="411" y="283"/>
                  </a:lnTo>
                  <a:lnTo>
                    <a:pt x="410" y="284"/>
                  </a:lnTo>
                  <a:lnTo>
                    <a:pt x="409" y="285"/>
                  </a:lnTo>
                  <a:lnTo>
                    <a:pt x="409" y="286"/>
                  </a:lnTo>
                  <a:lnTo>
                    <a:pt x="409" y="287"/>
                  </a:lnTo>
                  <a:lnTo>
                    <a:pt x="408" y="288"/>
                  </a:lnTo>
                  <a:lnTo>
                    <a:pt x="408" y="289"/>
                  </a:lnTo>
                  <a:lnTo>
                    <a:pt x="407" y="290"/>
                  </a:lnTo>
                  <a:lnTo>
                    <a:pt x="407" y="291"/>
                  </a:lnTo>
                  <a:lnTo>
                    <a:pt x="407" y="292"/>
                  </a:lnTo>
                  <a:lnTo>
                    <a:pt x="407" y="293"/>
                  </a:lnTo>
                  <a:lnTo>
                    <a:pt x="407" y="294"/>
                  </a:lnTo>
                  <a:lnTo>
                    <a:pt x="407" y="295"/>
                  </a:lnTo>
                  <a:lnTo>
                    <a:pt x="407" y="295"/>
                  </a:lnTo>
                  <a:lnTo>
                    <a:pt x="407" y="296"/>
                  </a:lnTo>
                  <a:lnTo>
                    <a:pt x="407" y="296"/>
                  </a:lnTo>
                  <a:lnTo>
                    <a:pt x="408" y="297"/>
                  </a:lnTo>
                  <a:lnTo>
                    <a:pt x="408" y="297"/>
                  </a:lnTo>
                  <a:lnTo>
                    <a:pt x="409" y="298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1"/>
                  </a:lnTo>
                  <a:lnTo>
                    <a:pt x="414" y="302"/>
                  </a:lnTo>
                  <a:lnTo>
                    <a:pt x="414" y="303"/>
                  </a:lnTo>
                  <a:lnTo>
                    <a:pt x="415" y="303"/>
                  </a:lnTo>
                  <a:lnTo>
                    <a:pt x="415" y="304"/>
                  </a:lnTo>
                  <a:lnTo>
                    <a:pt x="415" y="304"/>
                  </a:lnTo>
                  <a:lnTo>
                    <a:pt x="416" y="305"/>
                  </a:lnTo>
                  <a:lnTo>
                    <a:pt x="416" y="305"/>
                  </a:lnTo>
                  <a:lnTo>
                    <a:pt x="416" y="306"/>
                  </a:lnTo>
                  <a:lnTo>
                    <a:pt x="416" y="308"/>
                  </a:lnTo>
                  <a:lnTo>
                    <a:pt x="416" y="309"/>
                  </a:lnTo>
                  <a:lnTo>
                    <a:pt x="416" y="310"/>
                  </a:lnTo>
                  <a:lnTo>
                    <a:pt x="416" y="311"/>
                  </a:lnTo>
                  <a:lnTo>
                    <a:pt x="416" y="311"/>
                  </a:lnTo>
                  <a:lnTo>
                    <a:pt x="415" y="312"/>
                  </a:lnTo>
                  <a:lnTo>
                    <a:pt x="414" y="313"/>
                  </a:lnTo>
                  <a:lnTo>
                    <a:pt x="413" y="314"/>
                  </a:lnTo>
                  <a:lnTo>
                    <a:pt x="412" y="314"/>
                  </a:lnTo>
                  <a:lnTo>
                    <a:pt x="411" y="315"/>
                  </a:lnTo>
                  <a:lnTo>
                    <a:pt x="409" y="316"/>
                  </a:lnTo>
                  <a:lnTo>
                    <a:pt x="408" y="316"/>
                  </a:lnTo>
                  <a:lnTo>
                    <a:pt x="408" y="317"/>
                  </a:lnTo>
                  <a:lnTo>
                    <a:pt x="407" y="317"/>
                  </a:lnTo>
                  <a:lnTo>
                    <a:pt x="407" y="318"/>
                  </a:lnTo>
                  <a:lnTo>
                    <a:pt x="406" y="318"/>
                  </a:lnTo>
                  <a:lnTo>
                    <a:pt x="406" y="319"/>
                  </a:lnTo>
                  <a:lnTo>
                    <a:pt x="406" y="320"/>
                  </a:lnTo>
                  <a:lnTo>
                    <a:pt x="405" y="320"/>
                  </a:lnTo>
                  <a:lnTo>
                    <a:pt x="405" y="321"/>
                  </a:lnTo>
                  <a:lnTo>
                    <a:pt x="405" y="322"/>
                  </a:lnTo>
                  <a:lnTo>
                    <a:pt x="405" y="322"/>
                  </a:lnTo>
                  <a:lnTo>
                    <a:pt x="406" y="325"/>
                  </a:lnTo>
                  <a:lnTo>
                    <a:pt x="406" y="326"/>
                  </a:lnTo>
                  <a:lnTo>
                    <a:pt x="407" y="327"/>
                  </a:lnTo>
                  <a:lnTo>
                    <a:pt x="407" y="327"/>
                  </a:lnTo>
                  <a:lnTo>
                    <a:pt x="407" y="328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30"/>
                  </a:lnTo>
                  <a:lnTo>
                    <a:pt x="405" y="330"/>
                  </a:lnTo>
                  <a:lnTo>
                    <a:pt x="405" y="331"/>
                  </a:lnTo>
                  <a:lnTo>
                    <a:pt x="404" y="331"/>
                  </a:lnTo>
                  <a:lnTo>
                    <a:pt x="404" y="332"/>
                  </a:lnTo>
                  <a:lnTo>
                    <a:pt x="403" y="332"/>
                  </a:lnTo>
                  <a:lnTo>
                    <a:pt x="402" y="333"/>
                  </a:lnTo>
                  <a:lnTo>
                    <a:pt x="401" y="333"/>
                  </a:lnTo>
                  <a:lnTo>
                    <a:pt x="400" y="333"/>
                  </a:lnTo>
                  <a:lnTo>
                    <a:pt x="400" y="333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400" y="334"/>
                  </a:lnTo>
                  <a:lnTo>
                    <a:pt x="399" y="334"/>
                  </a:lnTo>
                  <a:lnTo>
                    <a:pt x="400" y="335"/>
                  </a:lnTo>
                  <a:lnTo>
                    <a:pt x="400" y="336"/>
                  </a:lnTo>
                  <a:lnTo>
                    <a:pt x="400" y="336"/>
                  </a:lnTo>
                  <a:lnTo>
                    <a:pt x="401" y="337"/>
                  </a:lnTo>
                  <a:lnTo>
                    <a:pt x="402" y="339"/>
                  </a:lnTo>
                  <a:lnTo>
                    <a:pt x="404" y="339"/>
                  </a:lnTo>
                  <a:lnTo>
                    <a:pt x="406" y="342"/>
                  </a:lnTo>
                  <a:lnTo>
                    <a:pt x="407" y="343"/>
                  </a:lnTo>
                  <a:lnTo>
                    <a:pt x="408" y="344"/>
                  </a:lnTo>
                  <a:lnTo>
                    <a:pt x="409" y="344"/>
                  </a:lnTo>
                  <a:lnTo>
                    <a:pt x="409" y="345"/>
                  </a:lnTo>
                  <a:lnTo>
                    <a:pt x="409" y="346"/>
                  </a:lnTo>
                  <a:lnTo>
                    <a:pt x="409" y="346"/>
                  </a:lnTo>
                  <a:lnTo>
                    <a:pt x="409" y="347"/>
                  </a:lnTo>
                  <a:lnTo>
                    <a:pt x="409" y="348"/>
                  </a:lnTo>
                  <a:lnTo>
                    <a:pt x="409" y="348"/>
                  </a:lnTo>
                  <a:lnTo>
                    <a:pt x="409" y="349"/>
                  </a:lnTo>
                  <a:lnTo>
                    <a:pt x="408" y="349"/>
                  </a:lnTo>
                  <a:lnTo>
                    <a:pt x="408" y="350"/>
                  </a:lnTo>
                  <a:lnTo>
                    <a:pt x="407" y="350"/>
                  </a:lnTo>
                  <a:lnTo>
                    <a:pt x="405" y="352"/>
                  </a:lnTo>
                  <a:lnTo>
                    <a:pt x="405" y="353"/>
                  </a:lnTo>
                  <a:lnTo>
                    <a:pt x="404" y="353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3" y="356"/>
                  </a:lnTo>
                  <a:lnTo>
                    <a:pt x="403" y="357"/>
                  </a:lnTo>
                  <a:lnTo>
                    <a:pt x="402" y="358"/>
                  </a:lnTo>
                  <a:lnTo>
                    <a:pt x="401" y="359"/>
                  </a:lnTo>
                  <a:lnTo>
                    <a:pt x="401" y="359"/>
                  </a:lnTo>
                  <a:lnTo>
                    <a:pt x="400" y="360"/>
                  </a:lnTo>
                  <a:lnTo>
                    <a:pt x="400" y="360"/>
                  </a:lnTo>
                  <a:lnTo>
                    <a:pt x="399" y="361"/>
                  </a:lnTo>
                  <a:lnTo>
                    <a:pt x="399" y="361"/>
                  </a:lnTo>
                  <a:lnTo>
                    <a:pt x="398" y="362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5" y="363"/>
                  </a:lnTo>
                  <a:lnTo>
                    <a:pt x="393" y="363"/>
                  </a:lnTo>
                  <a:lnTo>
                    <a:pt x="390" y="363"/>
                  </a:lnTo>
                  <a:lnTo>
                    <a:pt x="386" y="364"/>
                  </a:lnTo>
                  <a:lnTo>
                    <a:pt x="385" y="364"/>
                  </a:lnTo>
                  <a:lnTo>
                    <a:pt x="383" y="364"/>
                  </a:lnTo>
                  <a:lnTo>
                    <a:pt x="382" y="365"/>
                  </a:lnTo>
                  <a:lnTo>
                    <a:pt x="381" y="365"/>
                  </a:lnTo>
                  <a:lnTo>
                    <a:pt x="380" y="366"/>
                  </a:lnTo>
                  <a:lnTo>
                    <a:pt x="379" y="366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7" y="369"/>
                  </a:lnTo>
                  <a:lnTo>
                    <a:pt x="377" y="370"/>
                  </a:lnTo>
                  <a:lnTo>
                    <a:pt x="377" y="371"/>
                  </a:lnTo>
                  <a:lnTo>
                    <a:pt x="377" y="373"/>
                  </a:lnTo>
                  <a:lnTo>
                    <a:pt x="377" y="373"/>
                  </a:lnTo>
                  <a:lnTo>
                    <a:pt x="377" y="374"/>
                  </a:lnTo>
                  <a:lnTo>
                    <a:pt x="377" y="374"/>
                  </a:lnTo>
                  <a:lnTo>
                    <a:pt x="376" y="375"/>
                  </a:lnTo>
                  <a:lnTo>
                    <a:pt x="376" y="375"/>
                  </a:lnTo>
                  <a:lnTo>
                    <a:pt x="376" y="376"/>
                  </a:lnTo>
                  <a:lnTo>
                    <a:pt x="375" y="37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371" y="378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1" y="380"/>
                  </a:lnTo>
                  <a:lnTo>
                    <a:pt x="360" y="380"/>
                  </a:lnTo>
                  <a:lnTo>
                    <a:pt x="358" y="380"/>
                  </a:lnTo>
                  <a:lnTo>
                    <a:pt x="356" y="380"/>
                  </a:lnTo>
                  <a:lnTo>
                    <a:pt x="355" y="379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6" y="379"/>
                  </a:lnTo>
                  <a:lnTo>
                    <a:pt x="345" y="379"/>
                  </a:lnTo>
                  <a:lnTo>
                    <a:pt x="344" y="380"/>
                  </a:lnTo>
                  <a:lnTo>
                    <a:pt x="343" y="381"/>
                  </a:lnTo>
                  <a:lnTo>
                    <a:pt x="341" y="382"/>
                  </a:lnTo>
                  <a:lnTo>
                    <a:pt x="340" y="382"/>
                  </a:lnTo>
                  <a:lnTo>
                    <a:pt x="339" y="383"/>
                  </a:lnTo>
                  <a:lnTo>
                    <a:pt x="338" y="383"/>
                  </a:lnTo>
                  <a:lnTo>
                    <a:pt x="336" y="383"/>
                  </a:lnTo>
                  <a:lnTo>
                    <a:pt x="335" y="383"/>
                  </a:lnTo>
                  <a:lnTo>
                    <a:pt x="335" y="383"/>
                  </a:lnTo>
                  <a:lnTo>
                    <a:pt x="334" y="383"/>
                  </a:lnTo>
                  <a:lnTo>
                    <a:pt x="333" y="382"/>
                  </a:lnTo>
                  <a:lnTo>
                    <a:pt x="332" y="382"/>
                  </a:lnTo>
                  <a:lnTo>
                    <a:pt x="331" y="381"/>
                  </a:lnTo>
                  <a:lnTo>
                    <a:pt x="329" y="379"/>
                  </a:lnTo>
                  <a:lnTo>
                    <a:pt x="328" y="379"/>
                  </a:lnTo>
                  <a:lnTo>
                    <a:pt x="327" y="378"/>
                  </a:lnTo>
                  <a:lnTo>
                    <a:pt x="327" y="378"/>
                  </a:lnTo>
                  <a:lnTo>
                    <a:pt x="326" y="376"/>
                  </a:lnTo>
                  <a:lnTo>
                    <a:pt x="325" y="375"/>
                  </a:lnTo>
                  <a:lnTo>
                    <a:pt x="325" y="375"/>
                  </a:lnTo>
                  <a:lnTo>
                    <a:pt x="324" y="374"/>
                  </a:lnTo>
                  <a:lnTo>
                    <a:pt x="324" y="374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74"/>
                  </a:lnTo>
                  <a:lnTo>
                    <a:pt x="320" y="375"/>
                  </a:lnTo>
                  <a:lnTo>
                    <a:pt x="318" y="375"/>
                  </a:lnTo>
                  <a:lnTo>
                    <a:pt x="317" y="376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7"/>
                  </a:lnTo>
                  <a:lnTo>
                    <a:pt x="314" y="379"/>
                  </a:lnTo>
                  <a:lnTo>
                    <a:pt x="313" y="380"/>
                  </a:lnTo>
                  <a:lnTo>
                    <a:pt x="312" y="380"/>
                  </a:lnTo>
                  <a:lnTo>
                    <a:pt x="312" y="381"/>
                  </a:lnTo>
                  <a:lnTo>
                    <a:pt x="311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8" y="382"/>
                  </a:lnTo>
                  <a:lnTo>
                    <a:pt x="307" y="382"/>
                  </a:lnTo>
                  <a:lnTo>
                    <a:pt x="305" y="382"/>
                  </a:lnTo>
                  <a:lnTo>
                    <a:pt x="304" y="382"/>
                  </a:lnTo>
                  <a:lnTo>
                    <a:pt x="304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301" y="383"/>
                  </a:lnTo>
                  <a:lnTo>
                    <a:pt x="301" y="384"/>
                  </a:lnTo>
                  <a:lnTo>
                    <a:pt x="300" y="385"/>
                  </a:lnTo>
                  <a:lnTo>
                    <a:pt x="300" y="386"/>
                  </a:lnTo>
                  <a:lnTo>
                    <a:pt x="299" y="389"/>
                  </a:lnTo>
                  <a:lnTo>
                    <a:pt x="298" y="390"/>
                  </a:lnTo>
                  <a:lnTo>
                    <a:pt x="298" y="390"/>
                  </a:lnTo>
                  <a:lnTo>
                    <a:pt x="298" y="391"/>
                  </a:lnTo>
                  <a:lnTo>
                    <a:pt x="297" y="392"/>
                  </a:lnTo>
                  <a:lnTo>
                    <a:pt x="297" y="392"/>
                  </a:lnTo>
                  <a:lnTo>
                    <a:pt x="296" y="392"/>
                  </a:lnTo>
                  <a:lnTo>
                    <a:pt x="295" y="393"/>
                  </a:lnTo>
                  <a:lnTo>
                    <a:pt x="295" y="393"/>
                  </a:lnTo>
                  <a:lnTo>
                    <a:pt x="293" y="393"/>
                  </a:lnTo>
                  <a:lnTo>
                    <a:pt x="291" y="393"/>
                  </a:lnTo>
                  <a:lnTo>
                    <a:pt x="290" y="393"/>
                  </a:lnTo>
                  <a:lnTo>
                    <a:pt x="288" y="393"/>
                  </a:lnTo>
                  <a:lnTo>
                    <a:pt x="286" y="393"/>
                  </a:lnTo>
                  <a:lnTo>
                    <a:pt x="285" y="394"/>
                  </a:lnTo>
                  <a:lnTo>
                    <a:pt x="282" y="395"/>
                  </a:lnTo>
                  <a:lnTo>
                    <a:pt x="281" y="395"/>
                  </a:lnTo>
                  <a:lnTo>
                    <a:pt x="279" y="396"/>
                  </a:lnTo>
                  <a:lnTo>
                    <a:pt x="278" y="397"/>
                  </a:lnTo>
                  <a:lnTo>
                    <a:pt x="277" y="397"/>
                  </a:lnTo>
                  <a:lnTo>
                    <a:pt x="277" y="398"/>
                  </a:lnTo>
                  <a:lnTo>
                    <a:pt x="276" y="399"/>
                  </a:lnTo>
                  <a:lnTo>
                    <a:pt x="275" y="400"/>
                  </a:lnTo>
                  <a:lnTo>
                    <a:pt x="274" y="402"/>
                  </a:lnTo>
                  <a:lnTo>
                    <a:pt x="272" y="403"/>
                  </a:lnTo>
                  <a:lnTo>
                    <a:pt x="271" y="404"/>
                  </a:lnTo>
                  <a:lnTo>
                    <a:pt x="270" y="405"/>
                  </a:lnTo>
                  <a:lnTo>
                    <a:pt x="269" y="406"/>
                  </a:lnTo>
                  <a:lnTo>
                    <a:pt x="268" y="407"/>
                  </a:lnTo>
                  <a:lnTo>
                    <a:pt x="266" y="408"/>
                  </a:lnTo>
                  <a:lnTo>
                    <a:pt x="265" y="409"/>
                  </a:lnTo>
                  <a:lnTo>
                    <a:pt x="264" y="409"/>
                  </a:lnTo>
                  <a:lnTo>
                    <a:pt x="263" y="410"/>
                  </a:lnTo>
                  <a:lnTo>
                    <a:pt x="263" y="410"/>
                  </a:lnTo>
                  <a:lnTo>
                    <a:pt x="261" y="412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8" y="416"/>
                  </a:lnTo>
                  <a:lnTo>
                    <a:pt x="256" y="418"/>
                  </a:lnTo>
                  <a:lnTo>
                    <a:pt x="256" y="418"/>
                  </a:lnTo>
                  <a:lnTo>
                    <a:pt x="255" y="419"/>
                  </a:lnTo>
                  <a:lnTo>
                    <a:pt x="255" y="419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53" y="419"/>
                  </a:lnTo>
                  <a:lnTo>
                    <a:pt x="253" y="419"/>
                  </a:lnTo>
                  <a:lnTo>
                    <a:pt x="252" y="419"/>
                  </a:lnTo>
                  <a:lnTo>
                    <a:pt x="251" y="419"/>
                  </a:lnTo>
                  <a:lnTo>
                    <a:pt x="249" y="417"/>
                  </a:lnTo>
                  <a:lnTo>
                    <a:pt x="248" y="417"/>
                  </a:lnTo>
                  <a:lnTo>
                    <a:pt x="247" y="416"/>
                  </a:lnTo>
                  <a:lnTo>
                    <a:pt x="246" y="416"/>
                  </a:lnTo>
                  <a:lnTo>
                    <a:pt x="245" y="415"/>
                  </a:lnTo>
                  <a:lnTo>
                    <a:pt x="244" y="415"/>
                  </a:lnTo>
                  <a:lnTo>
                    <a:pt x="243" y="415"/>
                  </a:lnTo>
                  <a:lnTo>
                    <a:pt x="242" y="415"/>
                  </a:lnTo>
                  <a:lnTo>
                    <a:pt x="238" y="416"/>
                  </a:lnTo>
                  <a:lnTo>
                    <a:pt x="237" y="416"/>
                  </a:lnTo>
                  <a:lnTo>
                    <a:pt x="236" y="416"/>
                  </a:lnTo>
                  <a:lnTo>
                    <a:pt x="236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2" y="420"/>
                  </a:lnTo>
                  <a:lnTo>
                    <a:pt x="231" y="422"/>
                  </a:lnTo>
                  <a:lnTo>
                    <a:pt x="231" y="422"/>
                  </a:lnTo>
                  <a:lnTo>
                    <a:pt x="230" y="423"/>
                  </a:lnTo>
                  <a:lnTo>
                    <a:pt x="229" y="424"/>
                  </a:lnTo>
                  <a:lnTo>
                    <a:pt x="229" y="424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6" y="425"/>
                  </a:lnTo>
                  <a:lnTo>
                    <a:pt x="225" y="425"/>
                  </a:lnTo>
                  <a:lnTo>
                    <a:pt x="224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3"/>
                  </a:lnTo>
                  <a:lnTo>
                    <a:pt x="220" y="422"/>
                  </a:lnTo>
                  <a:lnTo>
                    <a:pt x="219" y="421"/>
                  </a:lnTo>
                  <a:lnTo>
                    <a:pt x="218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6" y="421"/>
                  </a:lnTo>
                  <a:lnTo>
                    <a:pt x="215" y="421"/>
                  </a:lnTo>
                  <a:lnTo>
                    <a:pt x="214" y="421"/>
                  </a:lnTo>
                  <a:lnTo>
                    <a:pt x="213" y="421"/>
                  </a:lnTo>
                  <a:lnTo>
                    <a:pt x="212" y="421"/>
                  </a:lnTo>
                  <a:lnTo>
                    <a:pt x="211" y="422"/>
                  </a:lnTo>
                  <a:lnTo>
                    <a:pt x="211" y="422"/>
                  </a:lnTo>
                  <a:lnTo>
                    <a:pt x="210" y="422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3"/>
                  </a:lnTo>
                  <a:lnTo>
                    <a:pt x="210" y="422"/>
                  </a:lnTo>
                  <a:lnTo>
                    <a:pt x="209" y="421"/>
                  </a:lnTo>
                  <a:lnTo>
                    <a:pt x="208" y="419"/>
                  </a:lnTo>
                  <a:lnTo>
                    <a:pt x="208" y="418"/>
                  </a:lnTo>
                  <a:lnTo>
                    <a:pt x="207" y="418"/>
                  </a:lnTo>
                  <a:lnTo>
                    <a:pt x="207" y="417"/>
                  </a:lnTo>
                  <a:lnTo>
                    <a:pt x="206" y="416"/>
                  </a:lnTo>
                  <a:lnTo>
                    <a:pt x="206" y="416"/>
                  </a:lnTo>
                  <a:lnTo>
                    <a:pt x="205" y="415"/>
                  </a:lnTo>
                  <a:lnTo>
                    <a:pt x="203" y="414"/>
                  </a:lnTo>
                  <a:lnTo>
                    <a:pt x="202" y="413"/>
                  </a:lnTo>
                  <a:lnTo>
                    <a:pt x="201" y="412"/>
                  </a:lnTo>
                  <a:lnTo>
                    <a:pt x="199" y="412"/>
                  </a:lnTo>
                  <a:lnTo>
                    <a:pt x="197" y="411"/>
                  </a:lnTo>
                  <a:lnTo>
                    <a:pt x="196" y="410"/>
                  </a:lnTo>
                  <a:lnTo>
                    <a:pt x="195" y="410"/>
                  </a:lnTo>
                  <a:lnTo>
                    <a:pt x="194" y="409"/>
                  </a:lnTo>
                  <a:lnTo>
                    <a:pt x="193" y="408"/>
                  </a:lnTo>
                  <a:lnTo>
                    <a:pt x="192" y="407"/>
                  </a:lnTo>
                  <a:lnTo>
                    <a:pt x="192" y="407"/>
                  </a:lnTo>
                  <a:lnTo>
                    <a:pt x="191" y="404"/>
                  </a:lnTo>
                  <a:lnTo>
                    <a:pt x="190" y="404"/>
                  </a:lnTo>
                  <a:lnTo>
                    <a:pt x="190" y="403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8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6" y="402"/>
                  </a:lnTo>
                  <a:lnTo>
                    <a:pt x="184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3" y="401"/>
                  </a:lnTo>
                  <a:lnTo>
                    <a:pt x="182" y="401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399"/>
                  </a:lnTo>
                  <a:lnTo>
                    <a:pt x="182" y="399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3" y="397"/>
                  </a:lnTo>
                  <a:lnTo>
                    <a:pt x="184" y="396"/>
                  </a:lnTo>
                  <a:lnTo>
                    <a:pt x="185" y="394"/>
                  </a:lnTo>
                  <a:lnTo>
                    <a:pt x="186" y="393"/>
                  </a:lnTo>
                  <a:lnTo>
                    <a:pt x="187" y="392"/>
                  </a:lnTo>
                  <a:lnTo>
                    <a:pt x="188" y="391"/>
                  </a:lnTo>
                  <a:lnTo>
                    <a:pt x="190" y="388"/>
                  </a:lnTo>
                  <a:lnTo>
                    <a:pt x="191" y="388"/>
                  </a:lnTo>
                  <a:lnTo>
                    <a:pt x="191" y="387"/>
                  </a:lnTo>
                  <a:lnTo>
                    <a:pt x="192" y="386"/>
                  </a:lnTo>
                  <a:lnTo>
                    <a:pt x="192" y="385"/>
                  </a:lnTo>
                  <a:lnTo>
                    <a:pt x="193" y="383"/>
                  </a:lnTo>
                  <a:lnTo>
                    <a:pt x="193" y="382"/>
                  </a:lnTo>
                  <a:lnTo>
                    <a:pt x="194" y="381"/>
                  </a:lnTo>
                  <a:lnTo>
                    <a:pt x="196" y="379"/>
                  </a:lnTo>
                  <a:lnTo>
                    <a:pt x="196" y="378"/>
                  </a:lnTo>
                  <a:lnTo>
                    <a:pt x="196" y="377"/>
                  </a:lnTo>
                  <a:lnTo>
                    <a:pt x="196" y="377"/>
                  </a:lnTo>
                  <a:lnTo>
                    <a:pt x="197" y="376"/>
                  </a:lnTo>
                  <a:lnTo>
                    <a:pt x="197" y="374"/>
                  </a:lnTo>
                  <a:lnTo>
                    <a:pt x="197" y="373"/>
                  </a:lnTo>
                  <a:lnTo>
                    <a:pt x="198" y="372"/>
                  </a:lnTo>
                  <a:lnTo>
                    <a:pt x="198" y="371"/>
                  </a:lnTo>
                  <a:lnTo>
                    <a:pt x="199" y="369"/>
                  </a:lnTo>
                  <a:lnTo>
                    <a:pt x="200" y="368"/>
                  </a:lnTo>
                  <a:lnTo>
                    <a:pt x="201" y="367"/>
                  </a:lnTo>
                  <a:lnTo>
                    <a:pt x="201" y="366"/>
                  </a:lnTo>
                  <a:lnTo>
                    <a:pt x="202" y="366"/>
                  </a:lnTo>
                  <a:lnTo>
                    <a:pt x="202" y="366"/>
                  </a:lnTo>
                  <a:lnTo>
                    <a:pt x="202" y="365"/>
                  </a:lnTo>
                  <a:lnTo>
                    <a:pt x="203" y="365"/>
                  </a:lnTo>
                  <a:lnTo>
                    <a:pt x="206" y="365"/>
                  </a:lnTo>
                  <a:lnTo>
                    <a:pt x="208" y="364"/>
                  </a:lnTo>
                  <a:lnTo>
                    <a:pt x="209" y="364"/>
                  </a:lnTo>
                  <a:lnTo>
                    <a:pt x="210" y="363"/>
                  </a:lnTo>
                  <a:lnTo>
                    <a:pt x="210" y="363"/>
                  </a:lnTo>
                  <a:lnTo>
                    <a:pt x="211" y="363"/>
                  </a:lnTo>
                  <a:lnTo>
                    <a:pt x="211" y="362"/>
                  </a:lnTo>
                  <a:lnTo>
                    <a:pt x="211" y="362"/>
                  </a:lnTo>
                  <a:lnTo>
                    <a:pt x="212" y="361"/>
                  </a:lnTo>
                  <a:lnTo>
                    <a:pt x="212" y="360"/>
                  </a:lnTo>
                  <a:lnTo>
                    <a:pt x="212" y="359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7"/>
                  </a:lnTo>
                  <a:lnTo>
                    <a:pt x="212" y="356"/>
                  </a:lnTo>
                  <a:lnTo>
                    <a:pt x="211" y="355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8" y="351"/>
                  </a:lnTo>
                  <a:lnTo>
                    <a:pt x="207" y="351"/>
                  </a:lnTo>
                  <a:lnTo>
                    <a:pt x="206" y="349"/>
                  </a:lnTo>
                  <a:lnTo>
                    <a:pt x="204" y="349"/>
                  </a:lnTo>
                  <a:lnTo>
                    <a:pt x="204" y="348"/>
                  </a:lnTo>
                  <a:lnTo>
                    <a:pt x="203" y="347"/>
                  </a:lnTo>
                  <a:lnTo>
                    <a:pt x="203" y="347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5"/>
                  </a:lnTo>
                  <a:lnTo>
                    <a:pt x="202" y="345"/>
                  </a:lnTo>
                  <a:lnTo>
                    <a:pt x="202" y="344"/>
                  </a:lnTo>
                  <a:lnTo>
                    <a:pt x="202" y="343"/>
                  </a:lnTo>
                  <a:lnTo>
                    <a:pt x="203" y="343"/>
                  </a:lnTo>
                  <a:lnTo>
                    <a:pt x="202" y="342"/>
                  </a:lnTo>
                  <a:lnTo>
                    <a:pt x="202" y="342"/>
                  </a:lnTo>
                  <a:lnTo>
                    <a:pt x="202" y="341"/>
                  </a:lnTo>
                  <a:lnTo>
                    <a:pt x="202" y="340"/>
                  </a:lnTo>
                  <a:lnTo>
                    <a:pt x="201" y="340"/>
                  </a:lnTo>
                  <a:lnTo>
                    <a:pt x="201" y="340"/>
                  </a:lnTo>
                  <a:lnTo>
                    <a:pt x="200" y="339"/>
                  </a:lnTo>
                  <a:lnTo>
                    <a:pt x="199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7" y="338"/>
                  </a:lnTo>
                  <a:lnTo>
                    <a:pt x="197" y="338"/>
                  </a:lnTo>
                  <a:lnTo>
                    <a:pt x="196" y="338"/>
                  </a:lnTo>
                  <a:lnTo>
                    <a:pt x="196" y="338"/>
                  </a:lnTo>
                  <a:lnTo>
                    <a:pt x="195" y="338"/>
                  </a:lnTo>
                  <a:lnTo>
                    <a:pt x="195" y="338"/>
                  </a:lnTo>
                  <a:lnTo>
                    <a:pt x="193" y="339"/>
                  </a:lnTo>
                  <a:lnTo>
                    <a:pt x="193" y="339"/>
                  </a:lnTo>
                  <a:lnTo>
                    <a:pt x="192" y="339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7" y="340"/>
                  </a:lnTo>
                  <a:lnTo>
                    <a:pt x="184" y="341"/>
                  </a:lnTo>
                  <a:lnTo>
                    <a:pt x="183" y="342"/>
                  </a:lnTo>
                  <a:lnTo>
                    <a:pt x="182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77" y="342"/>
                  </a:lnTo>
                  <a:lnTo>
                    <a:pt x="175" y="342"/>
                  </a:lnTo>
                  <a:lnTo>
                    <a:pt x="173" y="342"/>
                  </a:lnTo>
                  <a:lnTo>
                    <a:pt x="172" y="342"/>
                  </a:lnTo>
                  <a:lnTo>
                    <a:pt x="171" y="342"/>
                  </a:lnTo>
                  <a:lnTo>
                    <a:pt x="168" y="341"/>
                  </a:lnTo>
                  <a:lnTo>
                    <a:pt x="167" y="341"/>
                  </a:lnTo>
                  <a:lnTo>
                    <a:pt x="166" y="340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4" y="341"/>
                  </a:lnTo>
                  <a:lnTo>
                    <a:pt x="163" y="341"/>
                  </a:lnTo>
                  <a:lnTo>
                    <a:pt x="161" y="341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9" y="342"/>
                  </a:lnTo>
                  <a:lnTo>
                    <a:pt x="159" y="341"/>
                  </a:lnTo>
                  <a:lnTo>
                    <a:pt x="156" y="340"/>
                  </a:lnTo>
                  <a:lnTo>
                    <a:pt x="152" y="337"/>
                  </a:lnTo>
                  <a:lnTo>
                    <a:pt x="150" y="336"/>
                  </a:lnTo>
                  <a:lnTo>
                    <a:pt x="148" y="335"/>
                  </a:lnTo>
                  <a:lnTo>
                    <a:pt x="148" y="334"/>
                  </a:lnTo>
                  <a:lnTo>
                    <a:pt x="145" y="332"/>
                  </a:lnTo>
                  <a:lnTo>
                    <a:pt x="142" y="330"/>
                  </a:lnTo>
                  <a:lnTo>
                    <a:pt x="141" y="329"/>
                  </a:lnTo>
                  <a:lnTo>
                    <a:pt x="139" y="327"/>
                  </a:lnTo>
                  <a:lnTo>
                    <a:pt x="139" y="327"/>
                  </a:lnTo>
                  <a:lnTo>
                    <a:pt x="138" y="326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6" y="323"/>
                  </a:lnTo>
                  <a:lnTo>
                    <a:pt x="136" y="321"/>
                  </a:lnTo>
                  <a:lnTo>
                    <a:pt x="136" y="320"/>
                  </a:lnTo>
                  <a:lnTo>
                    <a:pt x="136" y="319"/>
                  </a:lnTo>
                  <a:lnTo>
                    <a:pt x="136" y="317"/>
                  </a:lnTo>
                  <a:lnTo>
                    <a:pt x="136" y="316"/>
                  </a:lnTo>
                  <a:lnTo>
                    <a:pt x="136" y="313"/>
                  </a:lnTo>
                  <a:lnTo>
                    <a:pt x="137" y="311"/>
                  </a:lnTo>
                  <a:lnTo>
                    <a:pt x="137" y="310"/>
                  </a:lnTo>
                  <a:lnTo>
                    <a:pt x="137" y="309"/>
                  </a:lnTo>
                  <a:lnTo>
                    <a:pt x="136" y="308"/>
                  </a:lnTo>
                  <a:lnTo>
                    <a:pt x="136" y="307"/>
                  </a:lnTo>
                  <a:lnTo>
                    <a:pt x="136" y="305"/>
                  </a:lnTo>
                  <a:lnTo>
                    <a:pt x="136" y="304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4" y="301"/>
                  </a:lnTo>
                  <a:lnTo>
                    <a:pt x="134" y="301"/>
                  </a:lnTo>
                  <a:lnTo>
                    <a:pt x="133" y="300"/>
                  </a:lnTo>
                  <a:lnTo>
                    <a:pt x="133" y="300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1" y="299"/>
                  </a:lnTo>
                  <a:lnTo>
                    <a:pt x="130" y="299"/>
                  </a:lnTo>
                  <a:lnTo>
                    <a:pt x="129" y="299"/>
                  </a:lnTo>
                  <a:lnTo>
                    <a:pt x="128" y="299"/>
                  </a:lnTo>
                  <a:lnTo>
                    <a:pt x="127" y="299"/>
                  </a:lnTo>
                  <a:lnTo>
                    <a:pt x="124" y="299"/>
                  </a:lnTo>
                  <a:lnTo>
                    <a:pt x="121" y="300"/>
                  </a:lnTo>
                  <a:lnTo>
                    <a:pt x="120" y="300"/>
                  </a:lnTo>
                  <a:lnTo>
                    <a:pt x="119" y="300"/>
                  </a:lnTo>
                  <a:lnTo>
                    <a:pt x="116" y="300"/>
                  </a:lnTo>
                  <a:lnTo>
                    <a:pt x="115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0" y="301"/>
                  </a:lnTo>
                  <a:lnTo>
                    <a:pt x="109" y="301"/>
                  </a:lnTo>
                  <a:lnTo>
                    <a:pt x="109" y="301"/>
                  </a:lnTo>
                  <a:lnTo>
                    <a:pt x="109" y="300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6" y="298"/>
                  </a:lnTo>
                  <a:lnTo>
                    <a:pt x="105" y="297"/>
                  </a:lnTo>
                  <a:lnTo>
                    <a:pt x="104" y="297"/>
                  </a:lnTo>
                  <a:lnTo>
                    <a:pt x="101" y="296"/>
                  </a:lnTo>
                  <a:lnTo>
                    <a:pt x="98" y="295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1" y="293"/>
                  </a:lnTo>
                  <a:lnTo>
                    <a:pt x="91" y="293"/>
                  </a:lnTo>
                  <a:lnTo>
                    <a:pt x="90" y="293"/>
                  </a:lnTo>
                  <a:lnTo>
                    <a:pt x="90" y="293"/>
                  </a:lnTo>
                  <a:lnTo>
                    <a:pt x="89" y="294"/>
                  </a:lnTo>
                  <a:lnTo>
                    <a:pt x="88" y="294"/>
                  </a:lnTo>
                  <a:lnTo>
                    <a:pt x="85" y="295"/>
                  </a:lnTo>
                  <a:lnTo>
                    <a:pt x="84" y="296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8" y="296"/>
                  </a:lnTo>
                  <a:lnTo>
                    <a:pt x="77" y="296"/>
                  </a:lnTo>
                  <a:lnTo>
                    <a:pt x="76" y="295"/>
                  </a:lnTo>
                  <a:lnTo>
                    <a:pt x="75" y="295"/>
                  </a:lnTo>
                  <a:lnTo>
                    <a:pt x="75" y="295"/>
                  </a:lnTo>
                  <a:lnTo>
                    <a:pt x="75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90"/>
                  </a:lnTo>
                  <a:lnTo>
                    <a:pt x="70" y="288"/>
                  </a:lnTo>
                  <a:lnTo>
                    <a:pt x="69" y="288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6" y="286"/>
                  </a:lnTo>
                  <a:lnTo>
                    <a:pt x="65" y="286"/>
                  </a:lnTo>
                  <a:lnTo>
                    <a:pt x="62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0" y="285"/>
                  </a:lnTo>
                  <a:lnTo>
                    <a:pt x="59" y="285"/>
                  </a:lnTo>
                  <a:lnTo>
                    <a:pt x="58" y="285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8" y="283"/>
                  </a:lnTo>
                  <a:lnTo>
                    <a:pt x="59" y="283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0"/>
                  </a:lnTo>
                  <a:lnTo>
                    <a:pt x="61" y="279"/>
                  </a:lnTo>
                  <a:lnTo>
                    <a:pt x="61" y="278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64">
              <a:extLst>
                <a:ext uri="{FF2B5EF4-FFF2-40B4-BE49-F238E27FC236}">
                  <a16:creationId xmlns:a16="http://schemas.microsoft.com/office/drawing/2014/main" id="{2D4EB088-F2C8-AE2A-8CDC-F81DC77D7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422"/>
              <a:ext cx="399" cy="421"/>
            </a:xfrm>
            <a:custGeom>
              <a:avLst/>
              <a:gdLst>
                <a:gd name="T0" fmla="*/ 157 w 399"/>
                <a:gd name="T1" fmla="*/ 19 h 421"/>
                <a:gd name="T2" fmla="*/ 177 w 399"/>
                <a:gd name="T3" fmla="*/ 20 h 421"/>
                <a:gd name="T4" fmla="*/ 196 w 399"/>
                <a:gd name="T5" fmla="*/ 32 h 421"/>
                <a:gd name="T6" fmla="*/ 208 w 399"/>
                <a:gd name="T7" fmla="*/ 42 h 421"/>
                <a:gd name="T8" fmla="*/ 228 w 399"/>
                <a:gd name="T9" fmla="*/ 51 h 421"/>
                <a:gd name="T10" fmla="*/ 231 w 399"/>
                <a:gd name="T11" fmla="*/ 64 h 421"/>
                <a:gd name="T12" fmla="*/ 256 w 399"/>
                <a:gd name="T13" fmla="*/ 75 h 421"/>
                <a:gd name="T14" fmla="*/ 270 w 399"/>
                <a:gd name="T15" fmla="*/ 56 h 421"/>
                <a:gd name="T16" fmla="*/ 283 w 399"/>
                <a:gd name="T17" fmla="*/ 61 h 421"/>
                <a:gd name="T18" fmla="*/ 304 w 399"/>
                <a:gd name="T19" fmla="*/ 74 h 421"/>
                <a:gd name="T20" fmla="*/ 332 w 399"/>
                <a:gd name="T21" fmla="*/ 81 h 421"/>
                <a:gd name="T22" fmla="*/ 361 w 399"/>
                <a:gd name="T23" fmla="*/ 104 h 421"/>
                <a:gd name="T24" fmla="*/ 392 w 399"/>
                <a:gd name="T25" fmla="*/ 123 h 421"/>
                <a:gd name="T26" fmla="*/ 392 w 399"/>
                <a:gd name="T27" fmla="*/ 141 h 421"/>
                <a:gd name="T28" fmla="*/ 397 w 399"/>
                <a:gd name="T29" fmla="*/ 153 h 421"/>
                <a:gd name="T30" fmla="*/ 384 w 399"/>
                <a:gd name="T31" fmla="*/ 162 h 421"/>
                <a:gd name="T32" fmla="*/ 390 w 399"/>
                <a:gd name="T33" fmla="*/ 174 h 421"/>
                <a:gd name="T34" fmla="*/ 382 w 399"/>
                <a:gd name="T35" fmla="*/ 181 h 421"/>
                <a:gd name="T36" fmla="*/ 371 w 399"/>
                <a:gd name="T37" fmla="*/ 178 h 421"/>
                <a:gd name="T38" fmla="*/ 373 w 399"/>
                <a:gd name="T39" fmla="*/ 186 h 421"/>
                <a:gd name="T40" fmla="*/ 362 w 399"/>
                <a:gd name="T41" fmla="*/ 193 h 421"/>
                <a:gd name="T42" fmla="*/ 347 w 399"/>
                <a:gd name="T43" fmla="*/ 209 h 421"/>
                <a:gd name="T44" fmla="*/ 345 w 399"/>
                <a:gd name="T45" fmla="*/ 230 h 421"/>
                <a:gd name="T46" fmla="*/ 353 w 399"/>
                <a:gd name="T47" fmla="*/ 242 h 421"/>
                <a:gd name="T48" fmla="*/ 362 w 399"/>
                <a:gd name="T49" fmla="*/ 249 h 421"/>
                <a:gd name="T50" fmla="*/ 359 w 399"/>
                <a:gd name="T51" fmla="*/ 267 h 421"/>
                <a:gd name="T52" fmla="*/ 352 w 399"/>
                <a:gd name="T53" fmla="*/ 280 h 421"/>
                <a:gd name="T54" fmla="*/ 351 w 399"/>
                <a:gd name="T55" fmla="*/ 294 h 421"/>
                <a:gd name="T56" fmla="*/ 357 w 399"/>
                <a:gd name="T57" fmla="*/ 308 h 421"/>
                <a:gd name="T58" fmla="*/ 348 w 399"/>
                <a:gd name="T59" fmla="*/ 321 h 421"/>
                <a:gd name="T60" fmla="*/ 342 w 399"/>
                <a:gd name="T61" fmla="*/ 330 h 421"/>
                <a:gd name="T62" fmla="*/ 351 w 399"/>
                <a:gd name="T63" fmla="*/ 343 h 421"/>
                <a:gd name="T64" fmla="*/ 342 w 399"/>
                <a:gd name="T65" fmla="*/ 356 h 421"/>
                <a:gd name="T66" fmla="*/ 320 w 399"/>
                <a:gd name="T67" fmla="*/ 363 h 421"/>
                <a:gd name="T68" fmla="*/ 312 w 399"/>
                <a:gd name="T69" fmla="*/ 375 h 421"/>
                <a:gd name="T70" fmla="*/ 286 w 399"/>
                <a:gd name="T71" fmla="*/ 376 h 421"/>
                <a:gd name="T72" fmla="*/ 268 w 399"/>
                <a:gd name="T73" fmla="*/ 372 h 421"/>
                <a:gd name="T74" fmla="*/ 255 w 399"/>
                <a:gd name="T75" fmla="*/ 376 h 421"/>
                <a:gd name="T76" fmla="*/ 244 w 399"/>
                <a:gd name="T77" fmla="*/ 379 h 421"/>
                <a:gd name="T78" fmla="*/ 230 w 399"/>
                <a:gd name="T79" fmla="*/ 389 h 421"/>
                <a:gd name="T80" fmla="*/ 208 w 399"/>
                <a:gd name="T81" fmla="*/ 404 h 421"/>
                <a:gd name="T82" fmla="*/ 194 w 399"/>
                <a:gd name="T83" fmla="*/ 415 h 421"/>
                <a:gd name="T84" fmla="*/ 176 w 399"/>
                <a:gd name="T85" fmla="*/ 413 h 421"/>
                <a:gd name="T86" fmla="*/ 162 w 399"/>
                <a:gd name="T87" fmla="*/ 418 h 421"/>
                <a:gd name="T88" fmla="*/ 152 w 399"/>
                <a:gd name="T89" fmla="*/ 418 h 421"/>
                <a:gd name="T90" fmla="*/ 135 w 399"/>
                <a:gd name="T91" fmla="*/ 404 h 421"/>
                <a:gd name="T92" fmla="*/ 124 w 399"/>
                <a:gd name="T93" fmla="*/ 396 h 421"/>
                <a:gd name="T94" fmla="*/ 135 w 399"/>
                <a:gd name="T95" fmla="*/ 379 h 421"/>
                <a:gd name="T96" fmla="*/ 144 w 399"/>
                <a:gd name="T97" fmla="*/ 362 h 421"/>
                <a:gd name="T98" fmla="*/ 154 w 399"/>
                <a:gd name="T99" fmla="*/ 352 h 421"/>
                <a:gd name="T100" fmla="*/ 145 w 399"/>
                <a:gd name="T101" fmla="*/ 339 h 421"/>
                <a:gd name="T102" fmla="*/ 135 w 399"/>
                <a:gd name="T103" fmla="*/ 335 h 421"/>
                <a:gd name="T104" fmla="*/ 109 w 399"/>
                <a:gd name="T105" fmla="*/ 337 h 421"/>
                <a:gd name="T106" fmla="*/ 90 w 399"/>
                <a:gd name="T107" fmla="*/ 330 h 421"/>
                <a:gd name="T108" fmla="*/ 79 w 399"/>
                <a:gd name="T109" fmla="*/ 306 h 421"/>
                <a:gd name="T110" fmla="*/ 70 w 399"/>
                <a:gd name="T111" fmla="*/ 295 h 421"/>
                <a:gd name="T112" fmla="*/ 47 w 399"/>
                <a:gd name="T113" fmla="*/ 293 h 421"/>
                <a:gd name="T114" fmla="*/ 22 w 399"/>
                <a:gd name="T115" fmla="*/ 293 h 421"/>
                <a:gd name="T116" fmla="*/ 8 w 399"/>
                <a:gd name="T117" fmla="*/ 282 h 421"/>
                <a:gd name="T118" fmla="*/ 3 w 399"/>
                <a:gd name="T119" fmla="*/ 2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1">
                  <a:moveTo>
                    <a:pt x="127" y="0"/>
                  </a:moveTo>
                  <a:lnTo>
                    <a:pt x="132" y="4"/>
                  </a:lnTo>
                  <a:lnTo>
                    <a:pt x="134" y="5"/>
                  </a:lnTo>
                  <a:lnTo>
                    <a:pt x="137" y="7"/>
                  </a:lnTo>
                  <a:lnTo>
                    <a:pt x="144" y="12"/>
                  </a:lnTo>
                  <a:lnTo>
                    <a:pt x="145" y="13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9" y="17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7" y="19"/>
                  </a:lnTo>
                  <a:lnTo>
                    <a:pt x="158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19"/>
                  </a:lnTo>
                  <a:lnTo>
                    <a:pt x="172" y="19"/>
                  </a:lnTo>
                  <a:lnTo>
                    <a:pt x="173" y="19"/>
                  </a:lnTo>
                  <a:lnTo>
                    <a:pt x="174" y="19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178" y="20"/>
                  </a:lnTo>
                  <a:lnTo>
                    <a:pt x="178" y="21"/>
                  </a:lnTo>
                  <a:lnTo>
                    <a:pt x="179" y="22"/>
                  </a:lnTo>
                  <a:lnTo>
                    <a:pt x="180" y="22"/>
                  </a:lnTo>
                  <a:lnTo>
                    <a:pt x="183" y="23"/>
                  </a:lnTo>
                  <a:lnTo>
                    <a:pt x="184" y="24"/>
                  </a:lnTo>
                  <a:lnTo>
                    <a:pt x="185" y="24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9" y="28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91" y="30"/>
                  </a:lnTo>
                  <a:lnTo>
                    <a:pt x="192" y="31"/>
                  </a:lnTo>
                  <a:lnTo>
                    <a:pt x="193" y="31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9" y="33"/>
                  </a:lnTo>
                  <a:lnTo>
                    <a:pt x="200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5" y="36"/>
                  </a:lnTo>
                  <a:lnTo>
                    <a:pt x="206" y="36"/>
                  </a:lnTo>
                  <a:lnTo>
                    <a:pt x="206" y="37"/>
                  </a:lnTo>
                  <a:lnTo>
                    <a:pt x="206" y="37"/>
                  </a:lnTo>
                  <a:lnTo>
                    <a:pt x="206" y="39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42"/>
                  </a:lnTo>
                  <a:lnTo>
                    <a:pt x="208" y="42"/>
                  </a:lnTo>
                  <a:lnTo>
                    <a:pt x="208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4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6" y="45"/>
                  </a:lnTo>
                  <a:lnTo>
                    <a:pt x="217" y="46"/>
                  </a:lnTo>
                  <a:lnTo>
                    <a:pt x="219" y="46"/>
                  </a:lnTo>
                  <a:lnTo>
                    <a:pt x="220" y="47"/>
                  </a:lnTo>
                  <a:lnTo>
                    <a:pt x="222" y="48"/>
                  </a:lnTo>
                  <a:lnTo>
                    <a:pt x="223" y="49"/>
                  </a:lnTo>
                  <a:lnTo>
                    <a:pt x="224" y="49"/>
                  </a:lnTo>
                  <a:lnTo>
                    <a:pt x="225" y="50"/>
                  </a:lnTo>
                  <a:lnTo>
                    <a:pt x="226" y="50"/>
                  </a:lnTo>
                  <a:lnTo>
                    <a:pt x="228" y="51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2" y="54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31" y="58"/>
                  </a:lnTo>
                  <a:lnTo>
                    <a:pt x="231" y="59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31" y="62"/>
                  </a:lnTo>
                  <a:lnTo>
                    <a:pt x="231" y="63"/>
                  </a:lnTo>
                  <a:lnTo>
                    <a:pt x="231" y="64"/>
                  </a:lnTo>
                  <a:lnTo>
                    <a:pt x="232" y="65"/>
                  </a:lnTo>
                  <a:lnTo>
                    <a:pt x="233" y="66"/>
                  </a:lnTo>
                  <a:lnTo>
                    <a:pt x="234" y="67"/>
                  </a:lnTo>
                  <a:lnTo>
                    <a:pt x="235" y="67"/>
                  </a:lnTo>
                  <a:lnTo>
                    <a:pt x="235" y="68"/>
                  </a:lnTo>
                  <a:lnTo>
                    <a:pt x="237" y="69"/>
                  </a:lnTo>
                  <a:lnTo>
                    <a:pt x="243" y="72"/>
                  </a:lnTo>
                  <a:lnTo>
                    <a:pt x="246" y="73"/>
                  </a:lnTo>
                  <a:lnTo>
                    <a:pt x="248" y="74"/>
                  </a:lnTo>
                  <a:lnTo>
                    <a:pt x="249" y="74"/>
                  </a:lnTo>
                  <a:lnTo>
                    <a:pt x="249" y="75"/>
                  </a:lnTo>
                  <a:lnTo>
                    <a:pt x="250" y="75"/>
                  </a:lnTo>
                  <a:lnTo>
                    <a:pt x="251" y="75"/>
                  </a:lnTo>
                  <a:lnTo>
                    <a:pt x="252" y="75"/>
                  </a:lnTo>
                  <a:lnTo>
                    <a:pt x="254" y="75"/>
                  </a:lnTo>
                  <a:lnTo>
                    <a:pt x="255" y="75"/>
                  </a:lnTo>
                  <a:lnTo>
                    <a:pt x="256" y="75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9" y="74"/>
                  </a:lnTo>
                  <a:lnTo>
                    <a:pt x="259" y="73"/>
                  </a:lnTo>
                  <a:lnTo>
                    <a:pt x="260" y="73"/>
                  </a:lnTo>
                  <a:lnTo>
                    <a:pt x="261" y="70"/>
                  </a:lnTo>
                  <a:lnTo>
                    <a:pt x="263" y="68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6" y="61"/>
                  </a:lnTo>
                  <a:lnTo>
                    <a:pt x="267" y="59"/>
                  </a:lnTo>
                  <a:lnTo>
                    <a:pt x="268" y="58"/>
                  </a:lnTo>
                  <a:lnTo>
                    <a:pt x="269" y="57"/>
                  </a:lnTo>
                  <a:lnTo>
                    <a:pt x="270" y="56"/>
                  </a:lnTo>
                  <a:lnTo>
                    <a:pt x="271" y="55"/>
                  </a:lnTo>
                  <a:lnTo>
                    <a:pt x="272" y="54"/>
                  </a:lnTo>
                  <a:lnTo>
                    <a:pt x="273" y="54"/>
                  </a:lnTo>
                  <a:lnTo>
                    <a:pt x="273" y="54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75" y="54"/>
                  </a:lnTo>
                  <a:lnTo>
                    <a:pt x="275" y="55"/>
                  </a:lnTo>
                  <a:lnTo>
                    <a:pt x="276" y="56"/>
                  </a:lnTo>
                  <a:lnTo>
                    <a:pt x="277" y="57"/>
                  </a:lnTo>
                  <a:lnTo>
                    <a:pt x="278" y="58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80" y="60"/>
                  </a:lnTo>
                  <a:lnTo>
                    <a:pt x="281" y="60"/>
                  </a:lnTo>
                  <a:lnTo>
                    <a:pt x="282" y="61"/>
                  </a:lnTo>
                  <a:lnTo>
                    <a:pt x="283" y="61"/>
                  </a:lnTo>
                  <a:lnTo>
                    <a:pt x="284" y="62"/>
                  </a:lnTo>
                  <a:lnTo>
                    <a:pt x="285" y="62"/>
                  </a:lnTo>
                  <a:lnTo>
                    <a:pt x="287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3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5" y="65"/>
                  </a:lnTo>
                  <a:lnTo>
                    <a:pt x="296" y="66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69"/>
                  </a:lnTo>
                  <a:lnTo>
                    <a:pt x="301" y="71"/>
                  </a:lnTo>
                  <a:lnTo>
                    <a:pt x="303" y="73"/>
                  </a:lnTo>
                  <a:lnTo>
                    <a:pt x="304" y="73"/>
                  </a:lnTo>
                  <a:lnTo>
                    <a:pt x="304" y="74"/>
                  </a:lnTo>
                  <a:lnTo>
                    <a:pt x="305" y="74"/>
                  </a:lnTo>
                  <a:lnTo>
                    <a:pt x="305" y="74"/>
                  </a:lnTo>
                  <a:lnTo>
                    <a:pt x="306" y="74"/>
                  </a:lnTo>
                  <a:lnTo>
                    <a:pt x="306" y="75"/>
                  </a:lnTo>
                  <a:lnTo>
                    <a:pt x="307" y="75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4" y="75"/>
                  </a:lnTo>
                  <a:lnTo>
                    <a:pt x="315" y="75"/>
                  </a:lnTo>
                  <a:lnTo>
                    <a:pt x="316" y="76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0" y="77"/>
                  </a:lnTo>
                  <a:lnTo>
                    <a:pt x="324" y="78"/>
                  </a:lnTo>
                  <a:lnTo>
                    <a:pt x="328" y="79"/>
                  </a:lnTo>
                  <a:lnTo>
                    <a:pt x="331" y="80"/>
                  </a:lnTo>
                  <a:lnTo>
                    <a:pt x="332" y="81"/>
                  </a:lnTo>
                  <a:lnTo>
                    <a:pt x="332" y="81"/>
                  </a:lnTo>
                  <a:lnTo>
                    <a:pt x="337" y="83"/>
                  </a:lnTo>
                  <a:lnTo>
                    <a:pt x="341" y="85"/>
                  </a:lnTo>
                  <a:lnTo>
                    <a:pt x="342" y="86"/>
                  </a:lnTo>
                  <a:lnTo>
                    <a:pt x="343" y="87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7" y="89"/>
                  </a:lnTo>
                  <a:lnTo>
                    <a:pt x="349" y="91"/>
                  </a:lnTo>
                  <a:lnTo>
                    <a:pt x="352" y="95"/>
                  </a:lnTo>
                  <a:lnTo>
                    <a:pt x="354" y="96"/>
                  </a:lnTo>
                  <a:lnTo>
                    <a:pt x="355" y="97"/>
                  </a:lnTo>
                  <a:lnTo>
                    <a:pt x="356" y="99"/>
                  </a:lnTo>
                  <a:lnTo>
                    <a:pt x="357" y="100"/>
                  </a:lnTo>
                  <a:lnTo>
                    <a:pt x="358" y="102"/>
                  </a:lnTo>
                  <a:lnTo>
                    <a:pt x="360" y="103"/>
                  </a:lnTo>
                  <a:lnTo>
                    <a:pt x="361" y="104"/>
                  </a:lnTo>
                  <a:lnTo>
                    <a:pt x="361" y="104"/>
                  </a:lnTo>
                  <a:lnTo>
                    <a:pt x="362" y="104"/>
                  </a:lnTo>
                  <a:lnTo>
                    <a:pt x="363" y="105"/>
                  </a:lnTo>
                  <a:lnTo>
                    <a:pt x="365" y="105"/>
                  </a:lnTo>
                  <a:lnTo>
                    <a:pt x="366" y="105"/>
                  </a:lnTo>
                  <a:lnTo>
                    <a:pt x="370" y="107"/>
                  </a:lnTo>
                  <a:lnTo>
                    <a:pt x="374" y="108"/>
                  </a:lnTo>
                  <a:lnTo>
                    <a:pt x="375" y="108"/>
                  </a:lnTo>
                  <a:lnTo>
                    <a:pt x="377" y="109"/>
                  </a:lnTo>
                  <a:lnTo>
                    <a:pt x="378" y="110"/>
                  </a:lnTo>
                  <a:lnTo>
                    <a:pt x="381" y="112"/>
                  </a:lnTo>
                  <a:lnTo>
                    <a:pt x="384" y="114"/>
                  </a:lnTo>
                  <a:lnTo>
                    <a:pt x="385" y="114"/>
                  </a:lnTo>
                  <a:lnTo>
                    <a:pt x="386" y="115"/>
                  </a:lnTo>
                  <a:lnTo>
                    <a:pt x="387" y="116"/>
                  </a:lnTo>
                  <a:lnTo>
                    <a:pt x="388" y="117"/>
                  </a:lnTo>
                  <a:lnTo>
                    <a:pt x="392" y="123"/>
                  </a:lnTo>
                  <a:lnTo>
                    <a:pt x="392" y="123"/>
                  </a:lnTo>
                  <a:lnTo>
                    <a:pt x="392" y="124"/>
                  </a:lnTo>
                  <a:lnTo>
                    <a:pt x="392" y="125"/>
                  </a:lnTo>
                  <a:lnTo>
                    <a:pt x="392" y="127"/>
                  </a:lnTo>
                  <a:lnTo>
                    <a:pt x="391" y="128"/>
                  </a:lnTo>
                  <a:lnTo>
                    <a:pt x="391" y="130"/>
                  </a:lnTo>
                  <a:lnTo>
                    <a:pt x="389" y="134"/>
                  </a:lnTo>
                  <a:lnTo>
                    <a:pt x="389" y="135"/>
                  </a:lnTo>
                  <a:lnTo>
                    <a:pt x="389" y="136"/>
                  </a:lnTo>
                  <a:lnTo>
                    <a:pt x="389" y="136"/>
                  </a:lnTo>
                  <a:lnTo>
                    <a:pt x="389" y="137"/>
                  </a:lnTo>
                  <a:lnTo>
                    <a:pt x="389" y="137"/>
                  </a:lnTo>
                  <a:lnTo>
                    <a:pt x="389" y="138"/>
                  </a:lnTo>
                  <a:lnTo>
                    <a:pt x="390" y="139"/>
                  </a:lnTo>
                  <a:lnTo>
                    <a:pt x="390" y="140"/>
                  </a:lnTo>
                  <a:lnTo>
                    <a:pt x="391" y="140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5" y="143"/>
                  </a:lnTo>
                  <a:lnTo>
                    <a:pt x="396" y="143"/>
                  </a:lnTo>
                  <a:lnTo>
                    <a:pt x="396" y="144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8" y="146"/>
                  </a:lnTo>
                  <a:lnTo>
                    <a:pt x="398" y="146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9" y="148"/>
                  </a:lnTo>
                  <a:lnTo>
                    <a:pt x="399" y="149"/>
                  </a:lnTo>
                  <a:lnTo>
                    <a:pt x="399" y="150"/>
                  </a:lnTo>
                  <a:lnTo>
                    <a:pt x="398" y="150"/>
                  </a:lnTo>
                  <a:lnTo>
                    <a:pt x="398" y="151"/>
                  </a:lnTo>
                  <a:lnTo>
                    <a:pt x="398" y="152"/>
                  </a:lnTo>
                  <a:lnTo>
                    <a:pt x="397" y="153"/>
                  </a:lnTo>
                  <a:lnTo>
                    <a:pt x="397" y="154"/>
                  </a:lnTo>
                  <a:lnTo>
                    <a:pt x="396" y="156"/>
                  </a:lnTo>
                  <a:lnTo>
                    <a:pt x="395" y="157"/>
                  </a:lnTo>
                  <a:lnTo>
                    <a:pt x="394" y="158"/>
                  </a:lnTo>
                  <a:lnTo>
                    <a:pt x="393" y="160"/>
                  </a:lnTo>
                  <a:lnTo>
                    <a:pt x="392" y="160"/>
                  </a:lnTo>
                  <a:lnTo>
                    <a:pt x="391" y="161"/>
                  </a:lnTo>
                  <a:lnTo>
                    <a:pt x="390" y="161"/>
                  </a:lnTo>
                  <a:lnTo>
                    <a:pt x="389" y="162"/>
                  </a:lnTo>
                  <a:lnTo>
                    <a:pt x="388" y="162"/>
                  </a:lnTo>
                  <a:lnTo>
                    <a:pt x="388" y="162"/>
                  </a:lnTo>
                  <a:lnTo>
                    <a:pt x="387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5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2"/>
                  </a:lnTo>
                  <a:lnTo>
                    <a:pt x="384" y="163"/>
                  </a:lnTo>
                  <a:lnTo>
                    <a:pt x="384" y="163"/>
                  </a:lnTo>
                  <a:lnTo>
                    <a:pt x="385" y="164"/>
                  </a:lnTo>
                  <a:lnTo>
                    <a:pt x="385" y="165"/>
                  </a:lnTo>
                  <a:lnTo>
                    <a:pt x="385" y="165"/>
                  </a:lnTo>
                  <a:lnTo>
                    <a:pt x="386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88" y="169"/>
                  </a:lnTo>
                  <a:lnTo>
                    <a:pt x="389" y="170"/>
                  </a:lnTo>
                  <a:lnTo>
                    <a:pt x="390" y="171"/>
                  </a:lnTo>
                  <a:lnTo>
                    <a:pt x="390" y="172"/>
                  </a:lnTo>
                  <a:lnTo>
                    <a:pt x="390" y="173"/>
                  </a:lnTo>
                  <a:lnTo>
                    <a:pt x="390" y="173"/>
                  </a:lnTo>
                  <a:lnTo>
                    <a:pt x="390" y="174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90" y="176"/>
                  </a:lnTo>
                  <a:lnTo>
                    <a:pt x="389" y="177"/>
                  </a:lnTo>
                  <a:lnTo>
                    <a:pt x="389" y="179"/>
                  </a:lnTo>
                  <a:lnTo>
                    <a:pt x="388" y="180"/>
                  </a:lnTo>
                  <a:lnTo>
                    <a:pt x="388" y="181"/>
                  </a:lnTo>
                  <a:lnTo>
                    <a:pt x="388" y="181"/>
                  </a:lnTo>
                  <a:lnTo>
                    <a:pt x="387" y="181"/>
                  </a:lnTo>
                  <a:lnTo>
                    <a:pt x="386" y="182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2"/>
                  </a:lnTo>
                  <a:lnTo>
                    <a:pt x="384" y="182"/>
                  </a:lnTo>
                  <a:lnTo>
                    <a:pt x="383" y="182"/>
                  </a:lnTo>
                  <a:lnTo>
                    <a:pt x="383" y="182"/>
                  </a:lnTo>
                  <a:lnTo>
                    <a:pt x="382" y="181"/>
                  </a:lnTo>
                  <a:lnTo>
                    <a:pt x="382" y="181"/>
                  </a:lnTo>
                  <a:lnTo>
                    <a:pt x="381" y="180"/>
                  </a:lnTo>
                  <a:lnTo>
                    <a:pt x="381" y="180"/>
                  </a:lnTo>
                  <a:lnTo>
                    <a:pt x="381" y="179"/>
                  </a:lnTo>
                  <a:lnTo>
                    <a:pt x="380" y="178"/>
                  </a:lnTo>
                  <a:lnTo>
                    <a:pt x="380" y="177"/>
                  </a:lnTo>
                  <a:lnTo>
                    <a:pt x="379" y="177"/>
                  </a:lnTo>
                  <a:lnTo>
                    <a:pt x="379" y="176"/>
                  </a:lnTo>
                  <a:lnTo>
                    <a:pt x="378" y="176"/>
                  </a:lnTo>
                  <a:lnTo>
                    <a:pt x="378" y="176"/>
                  </a:lnTo>
                  <a:lnTo>
                    <a:pt x="377" y="176"/>
                  </a:lnTo>
                  <a:lnTo>
                    <a:pt x="376" y="176"/>
                  </a:lnTo>
                  <a:lnTo>
                    <a:pt x="375" y="176"/>
                  </a:lnTo>
                  <a:lnTo>
                    <a:pt x="375" y="176"/>
                  </a:lnTo>
                  <a:lnTo>
                    <a:pt x="374" y="176"/>
                  </a:lnTo>
                  <a:lnTo>
                    <a:pt x="373" y="176"/>
                  </a:lnTo>
                  <a:lnTo>
                    <a:pt x="372" y="177"/>
                  </a:lnTo>
                  <a:lnTo>
                    <a:pt x="371" y="178"/>
                  </a:lnTo>
                  <a:lnTo>
                    <a:pt x="370" y="178"/>
                  </a:lnTo>
                  <a:lnTo>
                    <a:pt x="370" y="179"/>
                  </a:lnTo>
                  <a:lnTo>
                    <a:pt x="368" y="180"/>
                  </a:lnTo>
                  <a:lnTo>
                    <a:pt x="367" y="181"/>
                  </a:lnTo>
                  <a:lnTo>
                    <a:pt x="367" y="182"/>
                  </a:lnTo>
                  <a:lnTo>
                    <a:pt x="366" y="182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6" y="183"/>
                  </a:lnTo>
                  <a:lnTo>
                    <a:pt x="367" y="184"/>
                  </a:lnTo>
                  <a:lnTo>
                    <a:pt x="367" y="184"/>
                  </a:lnTo>
                  <a:lnTo>
                    <a:pt x="368" y="184"/>
                  </a:lnTo>
                  <a:lnTo>
                    <a:pt x="370" y="185"/>
                  </a:lnTo>
                  <a:lnTo>
                    <a:pt x="371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3" y="186"/>
                  </a:lnTo>
                  <a:lnTo>
                    <a:pt x="374" y="187"/>
                  </a:lnTo>
                  <a:lnTo>
                    <a:pt x="374" y="187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89"/>
                  </a:lnTo>
                  <a:lnTo>
                    <a:pt x="374" y="189"/>
                  </a:lnTo>
                  <a:lnTo>
                    <a:pt x="374" y="190"/>
                  </a:lnTo>
                  <a:lnTo>
                    <a:pt x="373" y="190"/>
                  </a:lnTo>
                  <a:lnTo>
                    <a:pt x="373" y="191"/>
                  </a:lnTo>
                  <a:lnTo>
                    <a:pt x="372" y="191"/>
                  </a:lnTo>
                  <a:lnTo>
                    <a:pt x="371" y="192"/>
                  </a:lnTo>
                  <a:lnTo>
                    <a:pt x="370" y="192"/>
                  </a:lnTo>
                  <a:lnTo>
                    <a:pt x="369" y="192"/>
                  </a:lnTo>
                  <a:lnTo>
                    <a:pt x="367" y="193"/>
                  </a:lnTo>
                  <a:lnTo>
                    <a:pt x="365" y="193"/>
                  </a:lnTo>
                  <a:lnTo>
                    <a:pt x="362" y="193"/>
                  </a:lnTo>
                  <a:lnTo>
                    <a:pt x="361" y="194"/>
                  </a:lnTo>
                  <a:lnTo>
                    <a:pt x="360" y="194"/>
                  </a:lnTo>
                  <a:lnTo>
                    <a:pt x="359" y="194"/>
                  </a:lnTo>
                  <a:lnTo>
                    <a:pt x="357" y="195"/>
                  </a:lnTo>
                  <a:lnTo>
                    <a:pt x="357" y="195"/>
                  </a:lnTo>
                  <a:lnTo>
                    <a:pt x="356" y="196"/>
                  </a:lnTo>
                  <a:lnTo>
                    <a:pt x="356" y="196"/>
                  </a:lnTo>
                  <a:lnTo>
                    <a:pt x="355" y="197"/>
                  </a:lnTo>
                  <a:lnTo>
                    <a:pt x="355" y="198"/>
                  </a:lnTo>
                  <a:lnTo>
                    <a:pt x="354" y="199"/>
                  </a:lnTo>
                  <a:lnTo>
                    <a:pt x="353" y="200"/>
                  </a:lnTo>
                  <a:lnTo>
                    <a:pt x="352" y="203"/>
                  </a:lnTo>
                  <a:lnTo>
                    <a:pt x="351" y="204"/>
                  </a:lnTo>
                  <a:lnTo>
                    <a:pt x="351" y="204"/>
                  </a:lnTo>
                  <a:lnTo>
                    <a:pt x="349" y="207"/>
                  </a:lnTo>
                  <a:lnTo>
                    <a:pt x="348" y="208"/>
                  </a:lnTo>
                  <a:lnTo>
                    <a:pt x="347" y="209"/>
                  </a:lnTo>
                  <a:lnTo>
                    <a:pt x="346" y="210"/>
                  </a:lnTo>
                  <a:lnTo>
                    <a:pt x="346" y="211"/>
                  </a:lnTo>
                  <a:lnTo>
                    <a:pt x="346" y="212"/>
                  </a:lnTo>
                  <a:lnTo>
                    <a:pt x="346" y="213"/>
                  </a:lnTo>
                  <a:lnTo>
                    <a:pt x="346" y="216"/>
                  </a:lnTo>
                  <a:lnTo>
                    <a:pt x="345" y="218"/>
                  </a:lnTo>
                  <a:lnTo>
                    <a:pt x="345" y="220"/>
                  </a:lnTo>
                  <a:lnTo>
                    <a:pt x="345" y="222"/>
                  </a:lnTo>
                  <a:lnTo>
                    <a:pt x="344" y="225"/>
                  </a:lnTo>
                  <a:lnTo>
                    <a:pt x="344" y="226"/>
                  </a:lnTo>
                  <a:lnTo>
                    <a:pt x="344" y="227"/>
                  </a:lnTo>
                  <a:lnTo>
                    <a:pt x="344" y="228"/>
                  </a:lnTo>
                  <a:lnTo>
                    <a:pt x="344" y="228"/>
                  </a:lnTo>
                  <a:lnTo>
                    <a:pt x="344" y="229"/>
                  </a:lnTo>
                  <a:lnTo>
                    <a:pt x="344" y="229"/>
                  </a:lnTo>
                  <a:lnTo>
                    <a:pt x="345" y="230"/>
                  </a:lnTo>
                  <a:lnTo>
                    <a:pt x="345" y="230"/>
                  </a:lnTo>
                  <a:lnTo>
                    <a:pt x="346" y="231"/>
                  </a:lnTo>
                  <a:lnTo>
                    <a:pt x="349" y="233"/>
                  </a:lnTo>
                  <a:lnTo>
                    <a:pt x="354" y="237"/>
                  </a:lnTo>
                  <a:lnTo>
                    <a:pt x="354" y="237"/>
                  </a:lnTo>
                  <a:lnTo>
                    <a:pt x="355" y="237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4" y="239"/>
                  </a:lnTo>
                  <a:lnTo>
                    <a:pt x="353" y="239"/>
                  </a:lnTo>
                  <a:lnTo>
                    <a:pt x="353" y="240"/>
                  </a:lnTo>
                  <a:lnTo>
                    <a:pt x="353" y="240"/>
                  </a:lnTo>
                  <a:lnTo>
                    <a:pt x="352" y="240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2" y="241"/>
                  </a:lnTo>
                  <a:lnTo>
                    <a:pt x="353" y="242"/>
                  </a:lnTo>
                  <a:lnTo>
                    <a:pt x="353" y="242"/>
                  </a:lnTo>
                  <a:lnTo>
                    <a:pt x="354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6" y="244"/>
                  </a:lnTo>
                  <a:lnTo>
                    <a:pt x="357" y="244"/>
                  </a:lnTo>
                  <a:lnTo>
                    <a:pt x="360" y="245"/>
                  </a:lnTo>
                  <a:lnTo>
                    <a:pt x="361" y="245"/>
                  </a:lnTo>
                  <a:lnTo>
                    <a:pt x="361" y="245"/>
                  </a:lnTo>
                  <a:lnTo>
                    <a:pt x="361" y="246"/>
                  </a:lnTo>
                  <a:lnTo>
                    <a:pt x="362" y="246"/>
                  </a:lnTo>
                  <a:lnTo>
                    <a:pt x="362" y="246"/>
                  </a:lnTo>
                  <a:lnTo>
                    <a:pt x="362" y="247"/>
                  </a:lnTo>
                  <a:lnTo>
                    <a:pt x="362" y="248"/>
                  </a:lnTo>
                  <a:lnTo>
                    <a:pt x="362" y="248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2" y="250"/>
                  </a:lnTo>
                  <a:lnTo>
                    <a:pt x="361" y="251"/>
                  </a:lnTo>
                  <a:lnTo>
                    <a:pt x="361" y="252"/>
                  </a:lnTo>
                  <a:lnTo>
                    <a:pt x="360" y="254"/>
                  </a:lnTo>
                  <a:lnTo>
                    <a:pt x="357" y="257"/>
                  </a:lnTo>
                  <a:lnTo>
                    <a:pt x="357" y="258"/>
                  </a:lnTo>
                  <a:lnTo>
                    <a:pt x="356" y="258"/>
                  </a:lnTo>
                  <a:lnTo>
                    <a:pt x="356" y="259"/>
                  </a:lnTo>
                  <a:lnTo>
                    <a:pt x="356" y="260"/>
                  </a:lnTo>
                  <a:lnTo>
                    <a:pt x="356" y="261"/>
                  </a:lnTo>
                  <a:lnTo>
                    <a:pt x="356" y="262"/>
                  </a:lnTo>
                  <a:lnTo>
                    <a:pt x="356" y="262"/>
                  </a:lnTo>
                  <a:lnTo>
                    <a:pt x="356" y="263"/>
                  </a:lnTo>
                  <a:lnTo>
                    <a:pt x="356" y="264"/>
                  </a:lnTo>
                  <a:lnTo>
                    <a:pt x="357" y="265"/>
                  </a:lnTo>
                  <a:lnTo>
                    <a:pt x="357" y="265"/>
                  </a:lnTo>
                  <a:lnTo>
                    <a:pt x="359" y="267"/>
                  </a:lnTo>
                  <a:lnTo>
                    <a:pt x="360" y="268"/>
                  </a:lnTo>
                  <a:lnTo>
                    <a:pt x="360" y="269"/>
                  </a:lnTo>
                  <a:lnTo>
                    <a:pt x="360" y="270"/>
                  </a:lnTo>
                  <a:lnTo>
                    <a:pt x="361" y="270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2"/>
                  </a:lnTo>
                  <a:lnTo>
                    <a:pt x="360" y="272"/>
                  </a:lnTo>
                  <a:lnTo>
                    <a:pt x="360" y="273"/>
                  </a:lnTo>
                  <a:lnTo>
                    <a:pt x="360" y="273"/>
                  </a:lnTo>
                  <a:lnTo>
                    <a:pt x="359" y="274"/>
                  </a:lnTo>
                  <a:lnTo>
                    <a:pt x="358" y="274"/>
                  </a:lnTo>
                  <a:lnTo>
                    <a:pt x="356" y="276"/>
                  </a:lnTo>
                  <a:lnTo>
                    <a:pt x="355" y="277"/>
                  </a:lnTo>
                  <a:lnTo>
                    <a:pt x="354" y="277"/>
                  </a:lnTo>
                  <a:lnTo>
                    <a:pt x="353" y="279"/>
                  </a:lnTo>
                  <a:lnTo>
                    <a:pt x="352" y="280"/>
                  </a:lnTo>
                  <a:lnTo>
                    <a:pt x="351" y="281"/>
                  </a:lnTo>
                  <a:lnTo>
                    <a:pt x="351" y="282"/>
                  </a:lnTo>
                  <a:lnTo>
                    <a:pt x="351" y="283"/>
                  </a:lnTo>
                  <a:lnTo>
                    <a:pt x="350" y="284"/>
                  </a:lnTo>
                  <a:lnTo>
                    <a:pt x="350" y="285"/>
                  </a:lnTo>
                  <a:lnTo>
                    <a:pt x="349" y="286"/>
                  </a:lnTo>
                  <a:lnTo>
                    <a:pt x="349" y="287"/>
                  </a:lnTo>
                  <a:lnTo>
                    <a:pt x="349" y="288"/>
                  </a:lnTo>
                  <a:lnTo>
                    <a:pt x="349" y="289"/>
                  </a:lnTo>
                  <a:lnTo>
                    <a:pt x="349" y="290"/>
                  </a:lnTo>
                  <a:lnTo>
                    <a:pt x="349" y="291"/>
                  </a:lnTo>
                  <a:lnTo>
                    <a:pt x="349" y="291"/>
                  </a:lnTo>
                  <a:lnTo>
                    <a:pt x="349" y="292"/>
                  </a:lnTo>
                  <a:lnTo>
                    <a:pt x="349" y="292"/>
                  </a:lnTo>
                  <a:lnTo>
                    <a:pt x="350" y="293"/>
                  </a:lnTo>
                  <a:lnTo>
                    <a:pt x="350" y="293"/>
                  </a:lnTo>
                  <a:lnTo>
                    <a:pt x="351" y="294"/>
                  </a:lnTo>
                  <a:lnTo>
                    <a:pt x="352" y="295"/>
                  </a:lnTo>
                  <a:lnTo>
                    <a:pt x="354" y="297"/>
                  </a:lnTo>
                  <a:lnTo>
                    <a:pt x="356" y="297"/>
                  </a:lnTo>
                  <a:lnTo>
                    <a:pt x="356" y="298"/>
                  </a:lnTo>
                  <a:lnTo>
                    <a:pt x="356" y="299"/>
                  </a:lnTo>
                  <a:lnTo>
                    <a:pt x="357" y="299"/>
                  </a:lnTo>
                  <a:lnTo>
                    <a:pt x="357" y="300"/>
                  </a:lnTo>
                  <a:lnTo>
                    <a:pt x="357" y="300"/>
                  </a:lnTo>
                  <a:lnTo>
                    <a:pt x="358" y="301"/>
                  </a:lnTo>
                  <a:lnTo>
                    <a:pt x="358" y="301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7"/>
                  </a:lnTo>
                  <a:lnTo>
                    <a:pt x="358" y="307"/>
                  </a:lnTo>
                  <a:lnTo>
                    <a:pt x="357" y="308"/>
                  </a:lnTo>
                  <a:lnTo>
                    <a:pt x="356" y="309"/>
                  </a:lnTo>
                  <a:lnTo>
                    <a:pt x="355" y="310"/>
                  </a:lnTo>
                  <a:lnTo>
                    <a:pt x="354" y="310"/>
                  </a:lnTo>
                  <a:lnTo>
                    <a:pt x="353" y="311"/>
                  </a:lnTo>
                  <a:lnTo>
                    <a:pt x="351" y="312"/>
                  </a:lnTo>
                  <a:lnTo>
                    <a:pt x="350" y="312"/>
                  </a:lnTo>
                  <a:lnTo>
                    <a:pt x="350" y="313"/>
                  </a:lnTo>
                  <a:lnTo>
                    <a:pt x="349" y="313"/>
                  </a:lnTo>
                  <a:lnTo>
                    <a:pt x="349" y="314"/>
                  </a:lnTo>
                  <a:lnTo>
                    <a:pt x="348" y="314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7" y="316"/>
                  </a:lnTo>
                  <a:lnTo>
                    <a:pt x="347" y="317"/>
                  </a:lnTo>
                  <a:lnTo>
                    <a:pt x="347" y="318"/>
                  </a:lnTo>
                  <a:lnTo>
                    <a:pt x="347" y="318"/>
                  </a:lnTo>
                  <a:lnTo>
                    <a:pt x="348" y="321"/>
                  </a:lnTo>
                  <a:lnTo>
                    <a:pt x="348" y="322"/>
                  </a:lnTo>
                  <a:lnTo>
                    <a:pt x="349" y="323"/>
                  </a:lnTo>
                  <a:lnTo>
                    <a:pt x="349" y="323"/>
                  </a:lnTo>
                  <a:lnTo>
                    <a:pt x="349" y="324"/>
                  </a:lnTo>
                  <a:lnTo>
                    <a:pt x="348" y="325"/>
                  </a:lnTo>
                  <a:lnTo>
                    <a:pt x="348" y="325"/>
                  </a:lnTo>
                  <a:lnTo>
                    <a:pt x="348" y="326"/>
                  </a:lnTo>
                  <a:lnTo>
                    <a:pt x="347" y="326"/>
                  </a:lnTo>
                  <a:lnTo>
                    <a:pt x="347" y="327"/>
                  </a:lnTo>
                  <a:lnTo>
                    <a:pt x="346" y="327"/>
                  </a:lnTo>
                  <a:lnTo>
                    <a:pt x="346" y="328"/>
                  </a:lnTo>
                  <a:lnTo>
                    <a:pt x="345" y="328"/>
                  </a:lnTo>
                  <a:lnTo>
                    <a:pt x="344" y="329"/>
                  </a:lnTo>
                  <a:lnTo>
                    <a:pt x="343" y="329"/>
                  </a:lnTo>
                  <a:lnTo>
                    <a:pt x="342" y="329"/>
                  </a:lnTo>
                  <a:lnTo>
                    <a:pt x="342" y="329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2" y="330"/>
                  </a:lnTo>
                  <a:lnTo>
                    <a:pt x="341" y="330"/>
                  </a:lnTo>
                  <a:lnTo>
                    <a:pt x="342" y="331"/>
                  </a:lnTo>
                  <a:lnTo>
                    <a:pt x="342" y="332"/>
                  </a:lnTo>
                  <a:lnTo>
                    <a:pt x="342" y="332"/>
                  </a:lnTo>
                  <a:lnTo>
                    <a:pt x="343" y="333"/>
                  </a:lnTo>
                  <a:lnTo>
                    <a:pt x="344" y="335"/>
                  </a:lnTo>
                  <a:lnTo>
                    <a:pt x="346" y="335"/>
                  </a:lnTo>
                  <a:lnTo>
                    <a:pt x="348" y="338"/>
                  </a:lnTo>
                  <a:lnTo>
                    <a:pt x="349" y="339"/>
                  </a:lnTo>
                  <a:lnTo>
                    <a:pt x="350" y="340"/>
                  </a:lnTo>
                  <a:lnTo>
                    <a:pt x="351" y="340"/>
                  </a:lnTo>
                  <a:lnTo>
                    <a:pt x="351" y="341"/>
                  </a:lnTo>
                  <a:lnTo>
                    <a:pt x="351" y="342"/>
                  </a:lnTo>
                  <a:lnTo>
                    <a:pt x="351" y="342"/>
                  </a:lnTo>
                  <a:lnTo>
                    <a:pt x="351" y="343"/>
                  </a:lnTo>
                  <a:lnTo>
                    <a:pt x="351" y="344"/>
                  </a:lnTo>
                  <a:lnTo>
                    <a:pt x="351" y="344"/>
                  </a:lnTo>
                  <a:lnTo>
                    <a:pt x="351" y="345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49" y="346"/>
                  </a:lnTo>
                  <a:lnTo>
                    <a:pt x="347" y="348"/>
                  </a:lnTo>
                  <a:lnTo>
                    <a:pt x="347" y="349"/>
                  </a:lnTo>
                  <a:lnTo>
                    <a:pt x="346" y="349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5" y="352"/>
                  </a:lnTo>
                  <a:lnTo>
                    <a:pt x="345" y="353"/>
                  </a:lnTo>
                  <a:lnTo>
                    <a:pt x="344" y="354"/>
                  </a:lnTo>
                  <a:lnTo>
                    <a:pt x="343" y="355"/>
                  </a:lnTo>
                  <a:lnTo>
                    <a:pt x="343" y="355"/>
                  </a:lnTo>
                  <a:lnTo>
                    <a:pt x="342" y="356"/>
                  </a:lnTo>
                  <a:lnTo>
                    <a:pt x="342" y="356"/>
                  </a:lnTo>
                  <a:lnTo>
                    <a:pt x="341" y="357"/>
                  </a:lnTo>
                  <a:lnTo>
                    <a:pt x="341" y="357"/>
                  </a:lnTo>
                  <a:lnTo>
                    <a:pt x="340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7" y="359"/>
                  </a:lnTo>
                  <a:lnTo>
                    <a:pt x="335" y="359"/>
                  </a:lnTo>
                  <a:lnTo>
                    <a:pt x="332" y="359"/>
                  </a:lnTo>
                  <a:lnTo>
                    <a:pt x="328" y="360"/>
                  </a:lnTo>
                  <a:lnTo>
                    <a:pt x="327" y="360"/>
                  </a:lnTo>
                  <a:lnTo>
                    <a:pt x="325" y="360"/>
                  </a:lnTo>
                  <a:lnTo>
                    <a:pt x="324" y="361"/>
                  </a:lnTo>
                  <a:lnTo>
                    <a:pt x="323" y="361"/>
                  </a:lnTo>
                  <a:lnTo>
                    <a:pt x="322" y="362"/>
                  </a:lnTo>
                  <a:lnTo>
                    <a:pt x="321" y="362"/>
                  </a:lnTo>
                  <a:lnTo>
                    <a:pt x="320" y="363"/>
                  </a:lnTo>
                  <a:lnTo>
                    <a:pt x="320" y="364"/>
                  </a:lnTo>
                  <a:lnTo>
                    <a:pt x="319" y="364"/>
                  </a:lnTo>
                  <a:lnTo>
                    <a:pt x="319" y="365"/>
                  </a:lnTo>
                  <a:lnTo>
                    <a:pt x="319" y="366"/>
                  </a:lnTo>
                  <a:lnTo>
                    <a:pt x="319" y="367"/>
                  </a:lnTo>
                  <a:lnTo>
                    <a:pt x="319" y="369"/>
                  </a:lnTo>
                  <a:lnTo>
                    <a:pt x="319" y="369"/>
                  </a:lnTo>
                  <a:lnTo>
                    <a:pt x="319" y="370"/>
                  </a:lnTo>
                  <a:lnTo>
                    <a:pt x="319" y="370"/>
                  </a:lnTo>
                  <a:lnTo>
                    <a:pt x="318" y="371"/>
                  </a:lnTo>
                  <a:lnTo>
                    <a:pt x="318" y="371"/>
                  </a:lnTo>
                  <a:lnTo>
                    <a:pt x="318" y="372"/>
                  </a:lnTo>
                  <a:lnTo>
                    <a:pt x="317" y="372"/>
                  </a:lnTo>
                  <a:lnTo>
                    <a:pt x="314" y="374"/>
                  </a:lnTo>
                  <a:lnTo>
                    <a:pt x="314" y="374"/>
                  </a:lnTo>
                  <a:lnTo>
                    <a:pt x="313" y="374"/>
                  </a:lnTo>
                  <a:lnTo>
                    <a:pt x="312" y="375"/>
                  </a:lnTo>
                  <a:lnTo>
                    <a:pt x="310" y="375"/>
                  </a:lnTo>
                  <a:lnTo>
                    <a:pt x="306" y="376"/>
                  </a:lnTo>
                  <a:lnTo>
                    <a:pt x="304" y="376"/>
                  </a:lnTo>
                  <a:lnTo>
                    <a:pt x="303" y="376"/>
                  </a:lnTo>
                  <a:lnTo>
                    <a:pt x="302" y="376"/>
                  </a:lnTo>
                  <a:lnTo>
                    <a:pt x="300" y="376"/>
                  </a:lnTo>
                  <a:lnTo>
                    <a:pt x="298" y="376"/>
                  </a:lnTo>
                  <a:lnTo>
                    <a:pt x="297" y="375"/>
                  </a:lnTo>
                  <a:lnTo>
                    <a:pt x="294" y="375"/>
                  </a:lnTo>
                  <a:lnTo>
                    <a:pt x="293" y="375"/>
                  </a:lnTo>
                  <a:lnTo>
                    <a:pt x="291" y="374"/>
                  </a:lnTo>
                  <a:lnTo>
                    <a:pt x="290" y="374"/>
                  </a:lnTo>
                  <a:lnTo>
                    <a:pt x="289" y="374"/>
                  </a:lnTo>
                  <a:lnTo>
                    <a:pt x="288" y="374"/>
                  </a:lnTo>
                  <a:lnTo>
                    <a:pt x="288" y="375"/>
                  </a:lnTo>
                  <a:lnTo>
                    <a:pt x="287" y="375"/>
                  </a:lnTo>
                  <a:lnTo>
                    <a:pt x="286" y="376"/>
                  </a:lnTo>
                  <a:lnTo>
                    <a:pt x="285" y="377"/>
                  </a:lnTo>
                  <a:lnTo>
                    <a:pt x="283" y="378"/>
                  </a:lnTo>
                  <a:lnTo>
                    <a:pt x="282" y="378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8" y="379"/>
                  </a:lnTo>
                  <a:lnTo>
                    <a:pt x="277" y="379"/>
                  </a:lnTo>
                  <a:lnTo>
                    <a:pt x="277" y="379"/>
                  </a:lnTo>
                  <a:lnTo>
                    <a:pt x="276" y="379"/>
                  </a:lnTo>
                  <a:lnTo>
                    <a:pt x="275" y="378"/>
                  </a:lnTo>
                  <a:lnTo>
                    <a:pt x="274" y="378"/>
                  </a:lnTo>
                  <a:lnTo>
                    <a:pt x="273" y="377"/>
                  </a:lnTo>
                  <a:lnTo>
                    <a:pt x="271" y="375"/>
                  </a:lnTo>
                  <a:lnTo>
                    <a:pt x="270" y="375"/>
                  </a:lnTo>
                  <a:lnTo>
                    <a:pt x="269" y="374"/>
                  </a:lnTo>
                  <a:lnTo>
                    <a:pt x="269" y="374"/>
                  </a:lnTo>
                  <a:lnTo>
                    <a:pt x="268" y="372"/>
                  </a:lnTo>
                  <a:lnTo>
                    <a:pt x="267" y="371"/>
                  </a:lnTo>
                  <a:lnTo>
                    <a:pt x="267" y="371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65" y="370"/>
                  </a:lnTo>
                  <a:lnTo>
                    <a:pt x="265" y="370"/>
                  </a:lnTo>
                  <a:lnTo>
                    <a:pt x="264" y="370"/>
                  </a:lnTo>
                  <a:lnTo>
                    <a:pt x="264" y="370"/>
                  </a:lnTo>
                  <a:lnTo>
                    <a:pt x="262" y="370"/>
                  </a:lnTo>
                  <a:lnTo>
                    <a:pt x="262" y="371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9" y="372"/>
                  </a:lnTo>
                  <a:lnTo>
                    <a:pt x="258" y="372"/>
                  </a:lnTo>
                  <a:lnTo>
                    <a:pt x="258" y="373"/>
                  </a:lnTo>
                  <a:lnTo>
                    <a:pt x="256" y="375"/>
                  </a:lnTo>
                  <a:lnTo>
                    <a:pt x="255" y="376"/>
                  </a:lnTo>
                  <a:lnTo>
                    <a:pt x="254" y="376"/>
                  </a:lnTo>
                  <a:lnTo>
                    <a:pt x="254" y="377"/>
                  </a:lnTo>
                  <a:lnTo>
                    <a:pt x="253" y="377"/>
                  </a:lnTo>
                  <a:lnTo>
                    <a:pt x="252" y="378"/>
                  </a:lnTo>
                  <a:lnTo>
                    <a:pt x="252" y="378"/>
                  </a:lnTo>
                  <a:lnTo>
                    <a:pt x="251" y="378"/>
                  </a:lnTo>
                  <a:lnTo>
                    <a:pt x="251" y="378"/>
                  </a:lnTo>
                  <a:lnTo>
                    <a:pt x="250" y="378"/>
                  </a:lnTo>
                  <a:lnTo>
                    <a:pt x="249" y="378"/>
                  </a:lnTo>
                  <a:lnTo>
                    <a:pt x="247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4" y="379"/>
                  </a:lnTo>
                  <a:lnTo>
                    <a:pt x="244" y="379"/>
                  </a:lnTo>
                  <a:lnTo>
                    <a:pt x="243" y="379"/>
                  </a:lnTo>
                  <a:lnTo>
                    <a:pt x="243" y="380"/>
                  </a:lnTo>
                  <a:lnTo>
                    <a:pt x="242" y="381"/>
                  </a:lnTo>
                  <a:lnTo>
                    <a:pt x="242" y="382"/>
                  </a:lnTo>
                  <a:lnTo>
                    <a:pt x="241" y="385"/>
                  </a:lnTo>
                  <a:lnTo>
                    <a:pt x="240" y="386"/>
                  </a:lnTo>
                  <a:lnTo>
                    <a:pt x="240" y="386"/>
                  </a:lnTo>
                  <a:lnTo>
                    <a:pt x="240" y="387"/>
                  </a:lnTo>
                  <a:lnTo>
                    <a:pt x="239" y="388"/>
                  </a:lnTo>
                  <a:lnTo>
                    <a:pt x="239" y="388"/>
                  </a:lnTo>
                  <a:lnTo>
                    <a:pt x="238" y="388"/>
                  </a:lnTo>
                  <a:lnTo>
                    <a:pt x="237" y="389"/>
                  </a:lnTo>
                  <a:lnTo>
                    <a:pt x="237" y="389"/>
                  </a:lnTo>
                  <a:lnTo>
                    <a:pt x="235" y="389"/>
                  </a:lnTo>
                  <a:lnTo>
                    <a:pt x="233" y="389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28" y="389"/>
                  </a:lnTo>
                  <a:lnTo>
                    <a:pt x="227" y="390"/>
                  </a:lnTo>
                  <a:lnTo>
                    <a:pt x="224" y="391"/>
                  </a:lnTo>
                  <a:lnTo>
                    <a:pt x="223" y="391"/>
                  </a:lnTo>
                  <a:lnTo>
                    <a:pt x="221" y="392"/>
                  </a:lnTo>
                  <a:lnTo>
                    <a:pt x="220" y="393"/>
                  </a:lnTo>
                  <a:lnTo>
                    <a:pt x="219" y="393"/>
                  </a:lnTo>
                  <a:lnTo>
                    <a:pt x="219" y="394"/>
                  </a:lnTo>
                  <a:lnTo>
                    <a:pt x="218" y="395"/>
                  </a:lnTo>
                  <a:lnTo>
                    <a:pt x="217" y="396"/>
                  </a:lnTo>
                  <a:lnTo>
                    <a:pt x="216" y="398"/>
                  </a:lnTo>
                  <a:lnTo>
                    <a:pt x="214" y="399"/>
                  </a:lnTo>
                  <a:lnTo>
                    <a:pt x="213" y="400"/>
                  </a:lnTo>
                  <a:lnTo>
                    <a:pt x="212" y="401"/>
                  </a:lnTo>
                  <a:lnTo>
                    <a:pt x="211" y="402"/>
                  </a:lnTo>
                  <a:lnTo>
                    <a:pt x="210" y="403"/>
                  </a:lnTo>
                  <a:lnTo>
                    <a:pt x="208" y="404"/>
                  </a:lnTo>
                  <a:lnTo>
                    <a:pt x="207" y="405"/>
                  </a:lnTo>
                  <a:lnTo>
                    <a:pt x="206" y="405"/>
                  </a:lnTo>
                  <a:lnTo>
                    <a:pt x="205" y="406"/>
                  </a:lnTo>
                  <a:lnTo>
                    <a:pt x="205" y="406"/>
                  </a:lnTo>
                  <a:lnTo>
                    <a:pt x="203" y="408"/>
                  </a:lnTo>
                  <a:lnTo>
                    <a:pt x="201" y="410"/>
                  </a:lnTo>
                  <a:lnTo>
                    <a:pt x="201" y="410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14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6" y="415"/>
                  </a:lnTo>
                  <a:lnTo>
                    <a:pt x="196" y="415"/>
                  </a:lnTo>
                  <a:lnTo>
                    <a:pt x="195" y="415"/>
                  </a:lnTo>
                  <a:lnTo>
                    <a:pt x="195" y="415"/>
                  </a:lnTo>
                  <a:lnTo>
                    <a:pt x="194" y="415"/>
                  </a:lnTo>
                  <a:lnTo>
                    <a:pt x="193" y="415"/>
                  </a:lnTo>
                  <a:lnTo>
                    <a:pt x="191" y="413"/>
                  </a:lnTo>
                  <a:lnTo>
                    <a:pt x="190" y="413"/>
                  </a:lnTo>
                  <a:lnTo>
                    <a:pt x="189" y="412"/>
                  </a:lnTo>
                  <a:lnTo>
                    <a:pt x="188" y="412"/>
                  </a:lnTo>
                  <a:lnTo>
                    <a:pt x="187" y="411"/>
                  </a:lnTo>
                  <a:lnTo>
                    <a:pt x="186" y="411"/>
                  </a:lnTo>
                  <a:lnTo>
                    <a:pt x="185" y="411"/>
                  </a:lnTo>
                  <a:lnTo>
                    <a:pt x="184" y="411"/>
                  </a:lnTo>
                  <a:lnTo>
                    <a:pt x="180" y="412"/>
                  </a:lnTo>
                  <a:lnTo>
                    <a:pt x="179" y="412"/>
                  </a:lnTo>
                  <a:lnTo>
                    <a:pt x="178" y="412"/>
                  </a:lnTo>
                  <a:lnTo>
                    <a:pt x="178" y="412"/>
                  </a:lnTo>
                  <a:lnTo>
                    <a:pt x="177" y="412"/>
                  </a:lnTo>
                  <a:lnTo>
                    <a:pt x="177" y="413"/>
                  </a:lnTo>
                  <a:lnTo>
                    <a:pt x="177" y="413"/>
                  </a:lnTo>
                  <a:lnTo>
                    <a:pt x="176" y="413"/>
                  </a:lnTo>
                  <a:lnTo>
                    <a:pt x="174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2" y="419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9" y="421"/>
                  </a:lnTo>
                  <a:lnTo>
                    <a:pt x="169" y="421"/>
                  </a:lnTo>
                  <a:lnTo>
                    <a:pt x="168" y="421"/>
                  </a:lnTo>
                  <a:lnTo>
                    <a:pt x="167" y="421"/>
                  </a:lnTo>
                  <a:lnTo>
                    <a:pt x="166" y="420"/>
                  </a:lnTo>
                  <a:lnTo>
                    <a:pt x="165" y="420"/>
                  </a:lnTo>
                  <a:lnTo>
                    <a:pt x="164" y="420"/>
                  </a:lnTo>
                  <a:lnTo>
                    <a:pt x="164" y="419"/>
                  </a:lnTo>
                  <a:lnTo>
                    <a:pt x="162" y="418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58" y="417"/>
                  </a:lnTo>
                  <a:lnTo>
                    <a:pt x="157" y="417"/>
                  </a:lnTo>
                  <a:lnTo>
                    <a:pt x="156" y="417"/>
                  </a:lnTo>
                  <a:lnTo>
                    <a:pt x="155" y="417"/>
                  </a:lnTo>
                  <a:lnTo>
                    <a:pt x="154" y="417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2" y="418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2" y="418"/>
                  </a:lnTo>
                  <a:lnTo>
                    <a:pt x="151" y="417"/>
                  </a:lnTo>
                  <a:lnTo>
                    <a:pt x="150" y="415"/>
                  </a:lnTo>
                  <a:lnTo>
                    <a:pt x="150" y="414"/>
                  </a:lnTo>
                  <a:lnTo>
                    <a:pt x="149" y="414"/>
                  </a:lnTo>
                  <a:lnTo>
                    <a:pt x="149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7" y="411"/>
                  </a:lnTo>
                  <a:lnTo>
                    <a:pt x="145" y="410"/>
                  </a:lnTo>
                  <a:lnTo>
                    <a:pt x="144" y="409"/>
                  </a:lnTo>
                  <a:lnTo>
                    <a:pt x="143" y="408"/>
                  </a:lnTo>
                  <a:lnTo>
                    <a:pt x="141" y="408"/>
                  </a:lnTo>
                  <a:lnTo>
                    <a:pt x="139" y="407"/>
                  </a:lnTo>
                  <a:lnTo>
                    <a:pt x="138" y="406"/>
                  </a:lnTo>
                  <a:lnTo>
                    <a:pt x="137" y="406"/>
                  </a:lnTo>
                  <a:lnTo>
                    <a:pt x="136" y="405"/>
                  </a:lnTo>
                  <a:lnTo>
                    <a:pt x="135" y="404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33" y="400"/>
                  </a:lnTo>
                  <a:lnTo>
                    <a:pt x="132" y="400"/>
                  </a:lnTo>
                  <a:lnTo>
                    <a:pt x="132" y="399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0" y="398"/>
                  </a:lnTo>
                  <a:lnTo>
                    <a:pt x="129" y="398"/>
                  </a:lnTo>
                  <a:lnTo>
                    <a:pt x="129" y="398"/>
                  </a:lnTo>
                  <a:lnTo>
                    <a:pt x="128" y="398"/>
                  </a:lnTo>
                  <a:lnTo>
                    <a:pt x="126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5" y="397"/>
                  </a:lnTo>
                  <a:lnTo>
                    <a:pt x="124" y="397"/>
                  </a:lnTo>
                  <a:lnTo>
                    <a:pt x="124" y="396"/>
                  </a:lnTo>
                  <a:lnTo>
                    <a:pt x="124" y="396"/>
                  </a:lnTo>
                  <a:lnTo>
                    <a:pt x="124" y="395"/>
                  </a:lnTo>
                  <a:lnTo>
                    <a:pt x="124" y="395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5" y="393"/>
                  </a:lnTo>
                  <a:lnTo>
                    <a:pt x="126" y="392"/>
                  </a:lnTo>
                  <a:lnTo>
                    <a:pt x="127" y="390"/>
                  </a:lnTo>
                  <a:lnTo>
                    <a:pt x="128" y="389"/>
                  </a:lnTo>
                  <a:lnTo>
                    <a:pt x="129" y="388"/>
                  </a:lnTo>
                  <a:lnTo>
                    <a:pt x="130" y="387"/>
                  </a:lnTo>
                  <a:lnTo>
                    <a:pt x="132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4" y="382"/>
                  </a:lnTo>
                  <a:lnTo>
                    <a:pt x="134" y="381"/>
                  </a:lnTo>
                  <a:lnTo>
                    <a:pt x="135" y="379"/>
                  </a:lnTo>
                  <a:lnTo>
                    <a:pt x="135" y="378"/>
                  </a:lnTo>
                  <a:lnTo>
                    <a:pt x="136" y="377"/>
                  </a:lnTo>
                  <a:lnTo>
                    <a:pt x="138" y="375"/>
                  </a:lnTo>
                  <a:lnTo>
                    <a:pt x="138" y="374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9" y="372"/>
                  </a:lnTo>
                  <a:lnTo>
                    <a:pt x="139" y="370"/>
                  </a:lnTo>
                  <a:lnTo>
                    <a:pt x="139" y="369"/>
                  </a:lnTo>
                  <a:lnTo>
                    <a:pt x="140" y="368"/>
                  </a:lnTo>
                  <a:lnTo>
                    <a:pt x="140" y="367"/>
                  </a:lnTo>
                  <a:lnTo>
                    <a:pt x="141" y="365"/>
                  </a:lnTo>
                  <a:lnTo>
                    <a:pt x="142" y="364"/>
                  </a:lnTo>
                  <a:lnTo>
                    <a:pt x="143" y="363"/>
                  </a:lnTo>
                  <a:lnTo>
                    <a:pt x="143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5" y="361"/>
                  </a:lnTo>
                  <a:lnTo>
                    <a:pt x="148" y="361"/>
                  </a:lnTo>
                  <a:lnTo>
                    <a:pt x="150" y="360"/>
                  </a:lnTo>
                  <a:lnTo>
                    <a:pt x="151" y="360"/>
                  </a:lnTo>
                  <a:lnTo>
                    <a:pt x="152" y="359"/>
                  </a:lnTo>
                  <a:lnTo>
                    <a:pt x="152" y="359"/>
                  </a:lnTo>
                  <a:lnTo>
                    <a:pt x="153" y="359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4" y="357"/>
                  </a:lnTo>
                  <a:lnTo>
                    <a:pt x="154" y="356"/>
                  </a:lnTo>
                  <a:lnTo>
                    <a:pt x="154" y="355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3" y="351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50" y="347"/>
                  </a:lnTo>
                  <a:lnTo>
                    <a:pt x="149" y="347"/>
                  </a:lnTo>
                  <a:lnTo>
                    <a:pt x="148" y="345"/>
                  </a:lnTo>
                  <a:lnTo>
                    <a:pt x="146" y="345"/>
                  </a:lnTo>
                  <a:lnTo>
                    <a:pt x="146" y="344"/>
                  </a:lnTo>
                  <a:lnTo>
                    <a:pt x="145" y="343"/>
                  </a:lnTo>
                  <a:lnTo>
                    <a:pt x="145" y="343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0"/>
                  </a:lnTo>
                  <a:lnTo>
                    <a:pt x="144" y="339"/>
                  </a:lnTo>
                  <a:lnTo>
                    <a:pt x="145" y="339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7"/>
                  </a:lnTo>
                  <a:lnTo>
                    <a:pt x="144" y="336"/>
                  </a:lnTo>
                  <a:lnTo>
                    <a:pt x="143" y="336"/>
                  </a:lnTo>
                  <a:lnTo>
                    <a:pt x="143" y="336"/>
                  </a:lnTo>
                  <a:lnTo>
                    <a:pt x="142" y="335"/>
                  </a:lnTo>
                  <a:lnTo>
                    <a:pt x="141" y="335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8" y="334"/>
                  </a:lnTo>
                  <a:lnTo>
                    <a:pt x="138" y="334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5" y="335"/>
                  </a:lnTo>
                  <a:lnTo>
                    <a:pt x="135" y="335"/>
                  </a:lnTo>
                  <a:lnTo>
                    <a:pt x="134" y="335"/>
                  </a:lnTo>
                  <a:lnTo>
                    <a:pt x="132" y="336"/>
                  </a:lnTo>
                  <a:lnTo>
                    <a:pt x="130" y="336"/>
                  </a:lnTo>
                  <a:lnTo>
                    <a:pt x="129" y="336"/>
                  </a:lnTo>
                  <a:lnTo>
                    <a:pt x="126" y="337"/>
                  </a:lnTo>
                  <a:lnTo>
                    <a:pt x="125" y="338"/>
                  </a:lnTo>
                  <a:lnTo>
                    <a:pt x="124" y="338"/>
                  </a:lnTo>
                  <a:lnTo>
                    <a:pt x="123" y="338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7" y="338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0" y="337"/>
                  </a:lnTo>
                  <a:lnTo>
                    <a:pt x="109" y="337"/>
                  </a:lnTo>
                  <a:lnTo>
                    <a:pt x="108" y="336"/>
                  </a:lnTo>
                  <a:lnTo>
                    <a:pt x="108" y="336"/>
                  </a:lnTo>
                  <a:lnTo>
                    <a:pt x="107" y="336"/>
                  </a:lnTo>
                  <a:lnTo>
                    <a:pt x="106" y="337"/>
                  </a:lnTo>
                  <a:lnTo>
                    <a:pt x="105" y="337"/>
                  </a:lnTo>
                  <a:lnTo>
                    <a:pt x="103" y="337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1" y="338"/>
                  </a:lnTo>
                  <a:lnTo>
                    <a:pt x="101" y="337"/>
                  </a:lnTo>
                  <a:lnTo>
                    <a:pt x="98" y="336"/>
                  </a:lnTo>
                  <a:lnTo>
                    <a:pt x="94" y="333"/>
                  </a:lnTo>
                  <a:lnTo>
                    <a:pt x="92" y="332"/>
                  </a:lnTo>
                  <a:lnTo>
                    <a:pt x="90" y="331"/>
                  </a:lnTo>
                  <a:lnTo>
                    <a:pt x="90" y="330"/>
                  </a:lnTo>
                  <a:lnTo>
                    <a:pt x="87" y="328"/>
                  </a:lnTo>
                  <a:lnTo>
                    <a:pt x="84" y="326"/>
                  </a:lnTo>
                  <a:lnTo>
                    <a:pt x="83" y="325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9" y="320"/>
                  </a:lnTo>
                  <a:lnTo>
                    <a:pt x="78" y="319"/>
                  </a:lnTo>
                  <a:lnTo>
                    <a:pt x="78" y="317"/>
                  </a:lnTo>
                  <a:lnTo>
                    <a:pt x="78" y="316"/>
                  </a:lnTo>
                  <a:lnTo>
                    <a:pt x="78" y="315"/>
                  </a:lnTo>
                  <a:lnTo>
                    <a:pt x="78" y="313"/>
                  </a:lnTo>
                  <a:lnTo>
                    <a:pt x="78" y="312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79" y="305"/>
                  </a:lnTo>
                  <a:lnTo>
                    <a:pt x="78" y="304"/>
                  </a:lnTo>
                  <a:lnTo>
                    <a:pt x="78" y="303"/>
                  </a:lnTo>
                  <a:lnTo>
                    <a:pt x="78" y="301"/>
                  </a:lnTo>
                  <a:lnTo>
                    <a:pt x="78" y="300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6"/>
                  </a:lnTo>
                  <a:lnTo>
                    <a:pt x="74" y="295"/>
                  </a:lnTo>
                  <a:lnTo>
                    <a:pt x="73" y="295"/>
                  </a:lnTo>
                  <a:lnTo>
                    <a:pt x="72" y="295"/>
                  </a:lnTo>
                  <a:lnTo>
                    <a:pt x="71" y="295"/>
                  </a:lnTo>
                  <a:lnTo>
                    <a:pt x="70" y="295"/>
                  </a:lnTo>
                  <a:lnTo>
                    <a:pt x="69" y="295"/>
                  </a:lnTo>
                  <a:lnTo>
                    <a:pt x="66" y="295"/>
                  </a:lnTo>
                  <a:lnTo>
                    <a:pt x="63" y="296"/>
                  </a:lnTo>
                  <a:lnTo>
                    <a:pt x="62" y="296"/>
                  </a:lnTo>
                  <a:lnTo>
                    <a:pt x="61" y="296"/>
                  </a:lnTo>
                  <a:lnTo>
                    <a:pt x="58" y="296"/>
                  </a:lnTo>
                  <a:lnTo>
                    <a:pt x="57" y="297"/>
                  </a:lnTo>
                  <a:lnTo>
                    <a:pt x="53" y="297"/>
                  </a:lnTo>
                  <a:lnTo>
                    <a:pt x="53" y="297"/>
                  </a:lnTo>
                  <a:lnTo>
                    <a:pt x="52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8" y="294"/>
                  </a:lnTo>
                  <a:lnTo>
                    <a:pt x="47" y="293"/>
                  </a:lnTo>
                  <a:lnTo>
                    <a:pt x="46" y="293"/>
                  </a:lnTo>
                  <a:lnTo>
                    <a:pt x="43" y="292"/>
                  </a:lnTo>
                  <a:lnTo>
                    <a:pt x="40" y="291"/>
                  </a:lnTo>
                  <a:lnTo>
                    <a:pt x="35" y="289"/>
                  </a:lnTo>
                  <a:lnTo>
                    <a:pt x="34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6" y="292"/>
                  </a:lnTo>
                  <a:lnTo>
                    <a:pt x="25" y="292"/>
                  </a:lnTo>
                  <a:lnTo>
                    <a:pt x="24" y="292"/>
                  </a:lnTo>
                  <a:lnTo>
                    <a:pt x="23" y="293"/>
                  </a:lnTo>
                  <a:lnTo>
                    <a:pt x="22" y="293"/>
                  </a:lnTo>
                  <a:lnTo>
                    <a:pt x="21" y="292"/>
                  </a:lnTo>
                  <a:lnTo>
                    <a:pt x="20" y="292"/>
                  </a:lnTo>
                  <a:lnTo>
                    <a:pt x="19" y="292"/>
                  </a:lnTo>
                  <a:lnTo>
                    <a:pt x="18" y="291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90"/>
                  </a:lnTo>
                  <a:lnTo>
                    <a:pt x="16" y="289"/>
                  </a:lnTo>
                  <a:lnTo>
                    <a:pt x="14" y="287"/>
                  </a:lnTo>
                  <a:lnTo>
                    <a:pt x="13" y="286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4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0" y="281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79"/>
                  </a:lnTo>
                  <a:lnTo>
                    <a:pt x="1" y="279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3" y="275"/>
                  </a:lnTo>
                  <a:lnTo>
                    <a:pt x="3" y="27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65">
              <a:extLst>
                <a:ext uri="{FF2B5EF4-FFF2-40B4-BE49-F238E27FC236}">
                  <a16:creationId xmlns:a16="http://schemas.microsoft.com/office/drawing/2014/main" id="{1166AD9F-E91B-BA62-DDF0-38FD49ED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" y="3418"/>
              <a:ext cx="185" cy="278"/>
            </a:xfrm>
            <a:custGeom>
              <a:avLst/>
              <a:gdLst>
                <a:gd name="T0" fmla="*/ 60 w 185"/>
                <a:gd name="T1" fmla="*/ 275 h 278"/>
                <a:gd name="T2" fmla="*/ 51 w 185"/>
                <a:gd name="T3" fmla="*/ 271 h 278"/>
                <a:gd name="T4" fmla="*/ 42 w 185"/>
                <a:gd name="T5" fmla="*/ 266 h 278"/>
                <a:gd name="T6" fmla="*/ 36 w 185"/>
                <a:gd name="T7" fmla="*/ 266 h 278"/>
                <a:gd name="T8" fmla="*/ 26 w 185"/>
                <a:gd name="T9" fmla="*/ 269 h 278"/>
                <a:gd name="T10" fmla="*/ 17 w 185"/>
                <a:gd name="T11" fmla="*/ 262 h 278"/>
                <a:gd name="T12" fmla="*/ 6 w 185"/>
                <a:gd name="T13" fmla="*/ 249 h 278"/>
                <a:gd name="T14" fmla="*/ 5 w 185"/>
                <a:gd name="T15" fmla="*/ 244 h 278"/>
                <a:gd name="T16" fmla="*/ 9 w 185"/>
                <a:gd name="T17" fmla="*/ 237 h 278"/>
                <a:gd name="T18" fmla="*/ 8 w 185"/>
                <a:gd name="T19" fmla="*/ 232 h 278"/>
                <a:gd name="T20" fmla="*/ 1 w 185"/>
                <a:gd name="T21" fmla="*/ 226 h 278"/>
                <a:gd name="T22" fmla="*/ 0 w 185"/>
                <a:gd name="T23" fmla="*/ 220 h 278"/>
                <a:gd name="T24" fmla="*/ 4 w 185"/>
                <a:gd name="T25" fmla="*/ 205 h 278"/>
                <a:gd name="T26" fmla="*/ 3 w 185"/>
                <a:gd name="T27" fmla="*/ 201 h 278"/>
                <a:gd name="T28" fmla="*/ 8 w 185"/>
                <a:gd name="T29" fmla="*/ 187 h 278"/>
                <a:gd name="T30" fmla="*/ 9 w 185"/>
                <a:gd name="T31" fmla="*/ 176 h 278"/>
                <a:gd name="T32" fmla="*/ 8 w 185"/>
                <a:gd name="T33" fmla="*/ 168 h 278"/>
                <a:gd name="T34" fmla="*/ 5 w 185"/>
                <a:gd name="T35" fmla="*/ 161 h 278"/>
                <a:gd name="T36" fmla="*/ 7 w 185"/>
                <a:gd name="T37" fmla="*/ 158 h 278"/>
                <a:gd name="T38" fmla="*/ 12 w 185"/>
                <a:gd name="T39" fmla="*/ 155 h 278"/>
                <a:gd name="T40" fmla="*/ 11 w 185"/>
                <a:gd name="T41" fmla="*/ 146 h 278"/>
                <a:gd name="T42" fmla="*/ 13 w 185"/>
                <a:gd name="T43" fmla="*/ 138 h 278"/>
                <a:gd name="T44" fmla="*/ 15 w 185"/>
                <a:gd name="T45" fmla="*/ 133 h 278"/>
                <a:gd name="T46" fmla="*/ 24 w 185"/>
                <a:gd name="T47" fmla="*/ 130 h 278"/>
                <a:gd name="T48" fmla="*/ 26 w 185"/>
                <a:gd name="T49" fmla="*/ 128 h 278"/>
                <a:gd name="T50" fmla="*/ 26 w 185"/>
                <a:gd name="T51" fmla="*/ 122 h 278"/>
                <a:gd name="T52" fmla="*/ 30 w 185"/>
                <a:gd name="T53" fmla="*/ 120 h 278"/>
                <a:gd name="T54" fmla="*/ 39 w 185"/>
                <a:gd name="T55" fmla="*/ 122 h 278"/>
                <a:gd name="T56" fmla="*/ 52 w 185"/>
                <a:gd name="T57" fmla="*/ 123 h 278"/>
                <a:gd name="T58" fmla="*/ 64 w 185"/>
                <a:gd name="T59" fmla="*/ 119 h 278"/>
                <a:gd name="T60" fmla="*/ 71 w 185"/>
                <a:gd name="T61" fmla="*/ 121 h 278"/>
                <a:gd name="T62" fmla="*/ 79 w 185"/>
                <a:gd name="T63" fmla="*/ 124 h 278"/>
                <a:gd name="T64" fmla="*/ 81 w 185"/>
                <a:gd name="T65" fmla="*/ 122 h 278"/>
                <a:gd name="T66" fmla="*/ 85 w 185"/>
                <a:gd name="T67" fmla="*/ 117 h 278"/>
                <a:gd name="T68" fmla="*/ 90 w 185"/>
                <a:gd name="T69" fmla="*/ 115 h 278"/>
                <a:gd name="T70" fmla="*/ 99 w 185"/>
                <a:gd name="T71" fmla="*/ 115 h 278"/>
                <a:gd name="T72" fmla="*/ 104 w 185"/>
                <a:gd name="T73" fmla="*/ 110 h 278"/>
                <a:gd name="T74" fmla="*/ 105 w 185"/>
                <a:gd name="T75" fmla="*/ 103 h 278"/>
                <a:gd name="T76" fmla="*/ 102 w 185"/>
                <a:gd name="T77" fmla="*/ 96 h 278"/>
                <a:gd name="T78" fmla="*/ 97 w 185"/>
                <a:gd name="T79" fmla="*/ 92 h 278"/>
                <a:gd name="T80" fmla="*/ 87 w 185"/>
                <a:gd name="T81" fmla="*/ 87 h 278"/>
                <a:gd name="T82" fmla="*/ 85 w 185"/>
                <a:gd name="T83" fmla="*/ 79 h 278"/>
                <a:gd name="T84" fmla="*/ 87 w 185"/>
                <a:gd name="T85" fmla="*/ 72 h 278"/>
                <a:gd name="T86" fmla="*/ 97 w 185"/>
                <a:gd name="T87" fmla="*/ 58 h 278"/>
                <a:gd name="T88" fmla="*/ 100 w 185"/>
                <a:gd name="T89" fmla="*/ 51 h 278"/>
                <a:gd name="T90" fmla="*/ 105 w 185"/>
                <a:gd name="T91" fmla="*/ 48 h 278"/>
                <a:gd name="T92" fmla="*/ 109 w 185"/>
                <a:gd name="T93" fmla="*/ 50 h 278"/>
                <a:gd name="T94" fmla="*/ 115 w 185"/>
                <a:gd name="T95" fmla="*/ 48 h 278"/>
                <a:gd name="T96" fmla="*/ 129 w 185"/>
                <a:gd name="T97" fmla="*/ 43 h 278"/>
                <a:gd name="T98" fmla="*/ 140 w 185"/>
                <a:gd name="T99" fmla="*/ 39 h 278"/>
                <a:gd name="T100" fmla="*/ 146 w 185"/>
                <a:gd name="T101" fmla="*/ 32 h 278"/>
                <a:gd name="T102" fmla="*/ 154 w 185"/>
                <a:gd name="T103" fmla="*/ 31 h 278"/>
                <a:gd name="T104" fmla="*/ 159 w 185"/>
                <a:gd name="T105" fmla="*/ 30 h 278"/>
                <a:gd name="T106" fmla="*/ 160 w 185"/>
                <a:gd name="T107" fmla="*/ 26 h 278"/>
                <a:gd name="T108" fmla="*/ 158 w 185"/>
                <a:gd name="T109" fmla="*/ 19 h 278"/>
                <a:gd name="T110" fmla="*/ 159 w 185"/>
                <a:gd name="T111" fmla="*/ 15 h 278"/>
                <a:gd name="T112" fmla="*/ 164 w 185"/>
                <a:gd name="T113" fmla="*/ 10 h 278"/>
                <a:gd name="T114" fmla="*/ 172 w 185"/>
                <a:gd name="T115" fmla="*/ 8 h 278"/>
                <a:gd name="T116" fmla="*/ 179 w 185"/>
                <a:gd name="T117" fmla="*/ 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8">
                  <a:moveTo>
                    <a:pt x="61" y="278"/>
                  </a:moveTo>
                  <a:lnTo>
                    <a:pt x="61" y="278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9" y="275"/>
                  </a:lnTo>
                  <a:lnTo>
                    <a:pt x="57" y="274"/>
                  </a:lnTo>
                  <a:lnTo>
                    <a:pt x="56" y="274"/>
                  </a:lnTo>
                  <a:lnTo>
                    <a:pt x="52" y="272"/>
                  </a:lnTo>
                  <a:lnTo>
                    <a:pt x="51" y="272"/>
                  </a:lnTo>
                  <a:lnTo>
                    <a:pt x="51" y="271"/>
                  </a:lnTo>
                  <a:lnTo>
                    <a:pt x="49" y="271"/>
                  </a:lnTo>
                  <a:lnTo>
                    <a:pt x="48" y="270"/>
                  </a:lnTo>
                  <a:lnTo>
                    <a:pt x="46" y="269"/>
                  </a:lnTo>
                  <a:lnTo>
                    <a:pt x="44" y="267"/>
                  </a:lnTo>
                  <a:lnTo>
                    <a:pt x="44" y="266"/>
                  </a:lnTo>
                  <a:lnTo>
                    <a:pt x="43" y="266"/>
                  </a:lnTo>
                  <a:lnTo>
                    <a:pt x="42" y="266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7" y="266"/>
                  </a:lnTo>
                  <a:lnTo>
                    <a:pt x="36" y="266"/>
                  </a:lnTo>
                  <a:lnTo>
                    <a:pt x="35" y="267"/>
                  </a:lnTo>
                  <a:lnTo>
                    <a:pt x="31" y="269"/>
                  </a:lnTo>
                  <a:lnTo>
                    <a:pt x="30" y="269"/>
                  </a:lnTo>
                  <a:lnTo>
                    <a:pt x="29" y="269"/>
                  </a:lnTo>
                  <a:lnTo>
                    <a:pt x="28" y="270"/>
                  </a:lnTo>
                  <a:lnTo>
                    <a:pt x="27" y="270"/>
                  </a:lnTo>
                  <a:lnTo>
                    <a:pt x="26" y="269"/>
                  </a:lnTo>
                  <a:lnTo>
                    <a:pt x="25" y="269"/>
                  </a:lnTo>
                  <a:lnTo>
                    <a:pt x="25" y="269"/>
                  </a:lnTo>
                  <a:lnTo>
                    <a:pt x="24" y="269"/>
                  </a:lnTo>
                  <a:lnTo>
                    <a:pt x="23" y="268"/>
                  </a:lnTo>
                  <a:lnTo>
                    <a:pt x="21" y="266"/>
                  </a:lnTo>
                  <a:lnTo>
                    <a:pt x="18" y="264"/>
                  </a:lnTo>
                  <a:lnTo>
                    <a:pt x="17" y="262"/>
                  </a:lnTo>
                  <a:lnTo>
                    <a:pt x="15" y="260"/>
                  </a:lnTo>
                  <a:lnTo>
                    <a:pt x="15" y="259"/>
                  </a:lnTo>
                  <a:lnTo>
                    <a:pt x="11" y="256"/>
                  </a:lnTo>
                  <a:lnTo>
                    <a:pt x="11" y="255"/>
                  </a:lnTo>
                  <a:lnTo>
                    <a:pt x="10" y="255"/>
                  </a:lnTo>
                  <a:lnTo>
                    <a:pt x="8" y="252"/>
                  </a:lnTo>
                  <a:lnTo>
                    <a:pt x="6" y="249"/>
                  </a:lnTo>
                  <a:lnTo>
                    <a:pt x="5" y="248"/>
                  </a:lnTo>
                  <a:lnTo>
                    <a:pt x="5" y="247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5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5" y="243"/>
                  </a:lnTo>
                  <a:lnTo>
                    <a:pt x="5" y="242"/>
                  </a:lnTo>
                  <a:lnTo>
                    <a:pt x="6" y="241"/>
                  </a:lnTo>
                  <a:lnTo>
                    <a:pt x="7" y="240"/>
                  </a:lnTo>
                  <a:lnTo>
                    <a:pt x="8" y="239"/>
                  </a:lnTo>
                  <a:lnTo>
                    <a:pt x="9" y="237"/>
                  </a:lnTo>
                  <a:lnTo>
                    <a:pt x="9" y="237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4"/>
                  </a:lnTo>
                  <a:lnTo>
                    <a:pt x="8" y="233"/>
                  </a:lnTo>
                  <a:lnTo>
                    <a:pt x="8" y="232"/>
                  </a:lnTo>
                  <a:lnTo>
                    <a:pt x="7" y="232"/>
                  </a:lnTo>
                  <a:lnTo>
                    <a:pt x="7" y="231"/>
                  </a:lnTo>
                  <a:lnTo>
                    <a:pt x="6" y="230"/>
                  </a:lnTo>
                  <a:lnTo>
                    <a:pt x="4" y="228"/>
                  </a:lnTo>
                  <a:lnTo>
                    <a:pt x="3" y="228"/>
                  </a:lnTo>
                  <a:lnTo>
                    <a:pt x="2" y="227"/>
                  </a:lnTo>
                  <a:lnTo>
                    <a:pt x="1" y="226"/>
                  </a:lnTo>
                  <a:lnTo>
                    <a:pt x="0" y="225"/>
                  </a:lnTo>
                  <a:lnTo>
                    <a:pt x="0" y="224"/>
                  </a:lnTo>
                  <a:lnTo>
                    <a:pt x="0" y="223"/>
                  </a:lnTo>
                  <a:lnTo>
                    <a:pt x="0" y="222"/>
                  </a:lnTo>
                  <a:lnTo>
                    <a:pt x="0" y="221"/>
                  </a:lnTo>
                  <a:lnTo>
                    <a:pt x="0" y="221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1" y="215"/>
                  </a:lnTo>
                  <a:lnTo>
                    <a:pt x="2" y="213"/>
                  </a:lnTo>
                  <a:lnTo>
                    <a:pt x="2" y="212"/>
                  </a:lnTo>
                  <a:lnTo>
                    <a:pt x="3" y="209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1"/>
                  </a:lnTo>
                  <a:lnTo>
                    <a:pt x="4" y="200"/>
                  </a:lnTo>
                  <a:lnTo>
                    <a:pt x="5" y="198"/>
                  </a:lnTo>
                  <a:lnTo>
                    <a:pt x="6" y="195"/>
                  </a:lnTo>
                  <a:lnTo>
                    <a:pt x="7" y="192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7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9" y="180"/>
                  </a:lnTo>
                  <a:lnTo>
                    <a:pt x="9" y="179"/>
                  </a:lnTo>
                  <a:lnTo>
                    <a:pt x="9" y="176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9" y="172"/>
                  </a:lnTo>
                  <a:lnTo>
                    <a:pt x="9" y="171"/>
                  </a:lnTo>
                  <a:lnTo>
                    <a:pt x="9" y="170"/>
                  </a:lnTo>
                  <a:lnTo>
                    <a:pt x="8" y="169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7" y="166"/>
                  </a:lnTo>
                  <a:lnTo>
                    <a:pt x="5" y="163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9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1" y="156"/>
                  </a:lnTo>
                  <a:lnTo>
                    <a:pt x="11" y="155"/>
                  </a:lnTo>
                  <a:lnTo>
                    <a:pt x="12" y="155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1" y="146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3" y="141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7" y="133"/>
                  </a:lnTo>
                  <a:lnTo>
                    <a:pt x="22" y="131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5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9" y="120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0"/>
                  </a:lnTo>
                  <a:lnTo>
                    <a:pt x="32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22"/>
                  </a:lnTo>
                  <a:lnTo>
                    <a:pt x="43" y="122"/>
                  </a:lnTo>
                  <a:lnTo>
                    <a:pt x="47" y="123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8" y="121"/>
                  </a:lnTo>
                  <a:lnTo>
                    <a:pt x="61" y="120"/>
                  </a:lnTo>
                  <a:lnTo>
                    <a:pt x="63" y="119"/>
                  </a:lnTo>
                  <a:lnTo>
                    <a:pt x="64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8" y="120"/>
                  </a:lnTo>
                  <a:lnTo>
                    <a:pt x="70" y="120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7" y="124"/>
                  </a:lnTo>
                  <a:lnTo>
                    <a:pt x="78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1" y="123"/>
                  </a:lnTo>
                  <a:lnTo>
                    <a:pt x="81" y="122"/>
                  </a:lnTo>
                  <a:lnTo>
                    <a:pt x="82" y="121"/>
                  </a:lnTo>
                  <a:lnTo>
                    <a:pt x="82" y="120"/>
                  </a:lnTo>
                  <a:lnTo>
                    <a:pt x="83" y="118"/>
                  </a:lnTo>
                  <a:lnTo>
                    <a:pt x="84" y="118"/>
                  </a:lnTo>
                  <a:lnTo>
                    <a:pt x="84" y="117"/>
                  </a:lnTo>
                  <a:lnTo>
                    <a:pt x="84" y="117"/>
                  </a:lnTo>
                  <a:lnTo>
                    <a:pt x="85" y="117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9" y="115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5" y="115"/>
                  </a:lnTo>
                  <a:lnTo>
                    <a:pt x="96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100" y="114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4" y="111"/>
                  </a:lnTo>
                  <a:lnTo>
                    <a:pt x="104" y="110"/>
                  </a:lnTo>
                  <a:lnTo>
                    <a:pt x="104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7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5" y="101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3" y="97"/>
                  </a:lnTo>
                  <a:lnTo>
                    <a:pt x="102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3"/>
                  </a:lnTo>
                  <a:lnTo>
                    <a:pt x="98" y="93"/>
                  </a:lnTo>
                  <a:lnTo>
                    <a:pt x="97" y="92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6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3"/>
                  </a:lnTo>
                  <a:lnTo>
                    <a:pt x="85" y="81"/>
                  </a:lnTo>
                  <a:lnTo>
                    <a:pt x="85" y="80"/>
                  </a:lnTo>
                  <a:lnTo>
                    <a:pt x="85" y="79"/>
                  </a:lnTo>
                  <a:lnTo>
                    <a:pt x="85" y="78"/>
                  </a:lnTo>
                  <a:lnTo>
                    <a:pt x="86" y="77"/>
                  </a:lnTo>
                  <a:lnTo>
                    <a:pt x="86" y="76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8" y="71"/>
                  </a:lnTo>
                  <a:lnTo>
                    <a:pt x="88" y="70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7" y="58"/>
                  </a:lnTo>
                  <a:lnTo>
                    <a:pt x="98" y="56"/>
                  </a:lnTo>
                  <a:lnTo>
                    <a:pt x="98" y="55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3" y="49"/>
                  </a:lnTo>
                  <a:lnTo>
                    <a:pt x="104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6" y="48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4" y="49"/>
                  </a:lnTo>
                  <a:lnTo>
                    <a:pt x="115" y="48"/>
                  </a:lnTo>
                  <a:lnTo>
                    <a:pt x="118" y="47"/>
                  </a:lnTo>
                  <a:lnTo>
                    <a:pt x="119" y="46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4" y="44"/>
                  </a:lnTo>
                  <a:lnTo>
                    <a:pt x="126" y="44"/>
                  </a:lnTo>
                  <a:lnTo>
                    <a:pt x="129" y="43"/>
                  </a:lnTo>
                  <a:lnTo>
                    <a:pt x="131" y="42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6" y="41"/>
                  </a:lnTo>
                  <a:lnTo>
                    <a:pt x="137" y="41"/>
                  </a:lnTo>
                  <a:lnTo>
                    <a:pt x="138" y="40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41" y="38"/>
                  </a:lnTo>
                  <a:lnTo>
                    <a:pt x="142" y="37"/>
                  </a:lnTo>
                  <a:lnTo>
                    <a:pt x="143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7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4" y="31"/>
                  </a:lnTo>
                  <a:lnTo>
                    <a:pt x="155" y="31"/>
                  </a:lnTo>
                  <a:lnTo>
                    <a:pt x="156" y="31"/>
                  </a:lnTo>
                  <a:lnTo>
                    <a:pt x="157" y="31"/>
                  </a:lnTo>
                  <a:lnTo>
                    <a:pt x="158" y="31"/>
                  </a:lnTo>
                  <a:lnTo>
                    <a:pt x="158" y="30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7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5"/>
                  </a:lnTo>
                  <a:lnTo>
                    <a:pt x="160" y="24"/>
                  </a:lnTo>
                  <a:lnTo>
                    <a:pt x="159" y="23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19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7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4"/>
                  </a:lnTo>
                  <a:lnTo>
                    <a:pt x="160" y="13"/>
                  </a:lnTo>
                  <a:lnTo>
                    <a:pt x="162" y="12"/>
                  </a:lnTo>
                  <a:lnTo>
                    <a:pt x="162" y="11"/>
                  </a:lnTo>
                  <a:lnTo>
                    <a:pt x="163" y="11"/>
                  </a:lnTo>
                  <a:lnTo>
                    <a:pt x="163" y="10"/>
                  </a:lnTo>
                  <a:lnTo>
                    <a:pt x="164" y="10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9"/>
                  </a:lnTo>
                  <a:lnTo>
                    <a:pt x="170" y="9"/>
                  </a:lnTo>
                  <a:lnTo>
                    <a:pt x="171" y="9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8" y="4"/>
                  </a:lnTo>
                  <a:lnTo>
                    <a:pt x="179" y="3"/>
                  </a:lnTo>
                  <a:lnTo>
                    <a:pt x="179" y="2"/>
                  </a:lnTo>
                  <a:lnTo>
                    <a:pt x="180" y="2"/>
                  </a:lnTo>
                  <a:lnTo>
                    <a:pt x="180" y="1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80" y="1"/>
                  </a:lnTo>
                  <a:lnTo>
                    <a:pt x="185" y="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66">
              <a:extLst>
                <a:ext uri="{FF2B5EF4-FFF2-40B4-BE49-F238E27FC236}">
                  <a16:creationId xmlns:a16="http://schemas.microsoft.com/office/drawing/2014/main" id="{BFF3E21E-E0AD-D96A-A165-73C98A35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642" cy="464"/>
            </a:xfrm>
            <a:custGeom>
              <a:avLst/>
              <a:gdLst>
                <a:gd name="T0" fmla="*/ 339 w 642"/>
                <a:gd name="T1" fmla="*/ 2 h 464"/>
                <a:gd name="T2" fmla="*/ 375 w 642"/>
                <a:gd name="T3" fmla="*/ 17 h 464"/>
                <a:gd name="T4" fmla="*/ 360 w 642"/>
                <a:gd name="T5" fmla="*/ 32 h 464"/>
                <a:gd name="T6" fmla="*/ 381 w 642"/>
                <a:gd name="T7" fmla="*/ 46 h 464"/>
                <a:gd name="T8" fmla="*/ 384 w 642"/>
                <a:gd name="T9" fmla="*/ 87 h 464"/>
                <a:gd name="T10" fmla="*/ 390 w 642"/>
                <a:gd name="T11" fmla="*/ 109 h 464"/>
                <a:gd name="T12" fmla="*/ 410 w 642"/>
                <a:gd name="T13" fmla="*/ 87 h 464"/>
                <a:gd name="T14" fmla="*/ 403 w 642"/>
                <a:gd name="T15" fmla="*/ 62 h 464"/>
                <a:gd name="T16" fmla="*/ 430 w 642"/>
                <a:gd name="T17" fmla="*/ 77 h 464"/>
                <a:gd name="T18" fmla="*/ 448 w 642"/>
                <a:gd name="T19" fmla="*/ 106 h 464"/>
                <a:gd name="T20" fmla="*/ 452 w 642"/>
                <a:gd name="T21" fmla="*/ 121 h 464"/>
                <a:gd name="T22" fmla="*/ 483 w 642"/>
                <a:gd name="T23" fmla="*/ 146 h 464"/>
                <a:gd name="T24" fmla="*/ 488 w 642"/>
                <a:gd name="T25" fmla="*/ 200 h 464"/>
                <a:gd name="T26" fmla="*/ 500 w 642"/>
                <a:gd name="T27" fmla="*/ 213 h 464"/>
                <a:gd name="T28" fmla="*/ 478 w 642"/>
                <a:gd name="T29" fmla="*/ 242 h 464"/>
                <a:gd name="T30" fmla="*/ 504 w 642"/>
                <a:gd name="T31" fmla="*/ 246 h 464"/>
                <a:gd name="T32" fmla="*/ 517 w 642"/>
                <a:gd name="T33" fmla="*/ 270 h 464"/>
                <a:gd name="T34" fmla="*/ 551 w 642"/>
                <a:gd name="T35" fmla="*/ 287 h 464"/>
                <a:gd name="T36" fmla="*/ 578 w 642"/>
                <a:gd name="T37" fmla="*/ 304 h 464"/>
                <a:gd name="T38" fmla="*/ 610 w 642"/>
                <a:gd name="T39" fmla="*/ 313 h 464"/>
                <a:gd name="T40" fmla="*/ 641 w 642"/>
                <a:gd name="T41" fmla="*/ 348 h 464"/>
                <a:gd name="T42" fmla="*/ 611 w 642"/>
                <a:gd name="T43" fmla="*/ 367 h 464"/>
                <a:gd name="T44" fmla="*/ 583 w 642"/>
                <a:gd name="T45" fmla="*/ 358 h 464"/>
                <a:gd name="T46" fmla="*/ 546 w 642"/>
                <a:gd name="T47" fmla="*/ 362 h 464"/>
                <a:gd name="T48" fmla="*/ 503 w 642"/>
                <a:gd name="T49" fmla="*/ 347 h 464"/>
                <a:gd name="T50" fmla="*/ 462 w 642"/>
                <a:gd name="T51" fmla="*/ 396 h 464"/>
                <a:gd name="T52" fmla="*/ 435 w 642"/>
                <a:gd name="T53" fmla="*/ 458 h 464"/>
                <a:gd name="T54" fmla="*/ 422 w 642"/>
                <a:gd name="T55" fmla="*/ 442 h 464"/>
                <a:gd name="T56" fmla="*/ 403 w 642"/>
                <a:gd name="T57" fmla="*/ 421 h 464"/>
                <a:gd name="T58" fmla="*/ 358 w 642"/>
                <a:gd name="T59" fmla="*/ 413 h 464"/>
                <a:gd name="T60" fmla="*/ 342 w 642"/>
                <a:gd name="T61" fmla="*/ 394 h 464"/>
                <a:gd name="T62" fmla="*/ 304 w 642"/>
                <a:gd name="T63" fmla="*/ 381 h 464"/>
                <a:gd name="T64" fmla="*/ 269 w 642"/>
                <a:gd name="T65" fmla="*/ 405 h 464"/>
                <a:gd name="T66" fmla="*/ 242 w 642"/>
                <a:gd name="T67" fmla="*/ 415 h 464"/>
                <a:gd name="T68" fmla="*/ 181 w 642"/>
                <a:gd name="T69" fmla="*/ 412 h 464"/>
                <a:gd name="T70" fmla="*/ 127 w 642"/>
                <a:gd name="T71" fmla="*/ 385 h 464"/>
                <a:gd name="T72" fmla="*/ 110 w 642"/>
                <a:gd name="T73" fmla="*/ 370 h 464"/>
                <a:gd name="T74" fmla="*/ 92 w 642"/>
                <a:gd name="T75" fmla="*/ 356 h 464"/>
                <a:gd name="T76" fmla="*/ 61 w 642"/>
                <a:gd name="T77" fmla="*/ 362 h 464"/>
                <a:gd name="T78" fmla="*/ 7 w 642"/>
                <a:gd name="T79" fmla="*/ 341 h 464"/>
                <a:gd name="T80" fmla="*/ 8 w 642"/>
                <a:gd name="T81" fmla="*/ 323 h 464"/>
                <a:gd name="T82" fmla="*/ 27 w 642"/>
                <a:gd name="T83" fmla="*/ 321 h 464"/>
                <a:gd name="T84" fmla="*/ 51 w 642"/>
                <a:gd name="T85" fmla="*/ 314 h 464"/>
                <a:gd name="T86" fmla="*/ 78 w 642"/>
                <a:gd name="T87" fmla="*/ 297 h 464"/>
                <a:gd name="T88" fmla="*/ 105 w 642"/>
                <a:gd name="T89" fmla="*/ 280 h 464"/>
                <a:gd name="T90" fmla="*/ 125 w 642"/>
                <a:gd name="T91" fmla="*/ 271 h 464"/>
                <a:gd name="T92" fmla="*/ 149 w 642"/>
                <a:gd name="T93" fmla="*/ 275 h 464"/>
                <a:gd name="T94" fmla="*/ 180 w 642"/>
                <a:gd name="T95" fmla="*/ 267 h 464"/>
                <a:gd name="T96" fmla="*/ 207 w 642"/>
                <a:gd name="T97" fmla="*/ 251 h 464"/>
                <a:gd name="T98" fmla="*/ 203 w 642"/>
                <a:gd name="T99" fmla="*/ 231 h 464"/>
                <a:gd name="T100" fmla="*/ 210 w 642"/>
                <a:gd name="T101" fmla="*/ 214 h 464"/>
                <a:gd name="T102" fmla="*/ 211 w 642"/>
                <a:gd name="T103" fmla="*/ 194 h 464"/>
                <a:gd name="T104" fmla="*/ 222 w 642"/>
                <a:gd name="T105" fmla="*/ 172 h 464"/>
                <a:gd name="T106" fmla="*/ 223 w 642"/>
                <a:gd name="T107" fmla="*/ 147 h 464"/>
                <a:gd name="T108" fmla="*/ 210 w 642"/>
                <a:gd name="T109" fmla="*/ 134 h 464"/>
                <a:gd name="T110" fmla="*/ 216 w 642"/>
                <a:gd name="T111" fmla="*/ 99 h 464"/>
                <a:gd name="T112" fmla="*/ 233 w 642"/>
                <a:gd name="T113" fmla="*/ 87 h 464"/>
                <a:gd name="T114" fmla="*/ 240 w 642"/>
                <a:gd name="T115" fmla="*/ 78 h 464"/>
                <a:gd name="T116" fmla="*/ 251 w 642"/>
                <a:gd name="T117" fmla="*/ 73 h 464"/>
                <a:gd name="T118" fmla="*/ 256 w 642"/>
                <a:gd name="T119" fmla="*/ 58 h 464"/>
                <a:gd name="T120" fmla="*/ 250 w 642"/>
                <a:gd name="T121" fmla="*/ 37 h 464"/>
                <a:gd name="T122" fmla="*/ 266 w 642"/>
                <a:gd name="T123" fmla="*/ 17 h 464"/>
                <a:gd name="T124" fmla="*/ 297 w 642"/>
                <a:gd name="T125" fmla="*/ 1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2" h="464">
                  <a:moveTo>
                    <a:pt x="303" y="0"/>
                  </a:moveTo>
                  <a:lnTo>
                    <a:pt x="303" y="0"/>
                  </a:lnTo>
                  <a:lnTo>
                    <a:pt x="304" y="0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4" y="2"/>
                  </a:lnTo>
                  <a:lnTo>
                    <a:pt x="316" y="2"/>
                  </a:lnTo>
                  <a:lnTo>
                    <a:pt x="317" y="2"/>
                  </a:lnTo>
                  <a:lnTo>
                    <a:pt x="319" y="2"/>
                  </a:lnTo>
                  <a:lnTo>
                    <a:pt x="322" y="1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6" y="1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2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4" y="2"/>
                  </a:lnTo>
                  <a:lnTo>
                    <a:pt x="346" y="3"/>
                  </a:lnTo>
                  <a:lnTo>
                    <a:pt x="347" y="3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2" y="5"/>
                  </a:lnTo>
                  <a:lnTo>
                    <a:pt x="359" y="9"/>
                  </a:lnTo>
                  <a:lnTo>
                    <a:pt x="361" y="9"/>
                  </a:lnTo>
                  <a:lnTo>
                    <a:pt x="362" y="10"/>
                  </a:lnTo>
                  <a:lnTo>
                    <a:pt x="364" y="11"/>
                  </a:lnTo>
                  <a:lnTo>
                    <a:pt x="366" y="11"/>
                  </a:lnTo>
                  <a:lnTo>
                    <a:pt x="367" y="12"/>
                  </a:lnTo>
                  <a:lnTo>
                    <a:pt x="369" y="12"/>
                  </a:lnTo>
                  <a:lnTo>
                    <a:pt x="371" y="13"/>
                  </a:lnTo>
                  <a:lnTo>
                    <a:pt x="372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6" y="13"/>
                  </a:lnTo>
                  <a:lnTo>
                    <a:pt x="376" y="13"/>
                  </a:lnTo>
                  <a:lnTo>
                    <a:pt x="377" y="13"/>
                  </a:lnTo>
                  <a:lnTo>
                    <a:pt x="376" y="13"/>
                  </a:lnTo>
                  <a:lnTo>
                    <a:pt x="376" y="14"/>
                  </a:lnTo>
                  <a:lnTo>
                    <a:pt x="376" y="15"/>
                  </a:lnTo>
                  <a:lnTo>
                    <a:pt x="375" y="16"/>
                  </a:lnTo>
                  <a:lnTo>
                    <a:pt x="375" y="17"/>
                  </a:lnTo>
                  <a:lnTo>
                    <a:pt x="374" y="20"/>
                  </a:lnTo>
                  <a:lnTo>
                    <a:pt x="374" y="20"/>
                  </a:lnTo>
                  <a:lnTo>
                    <a:pt x="374" y="21"/>
                  </a:lnTo>
                  <a:lnTo>
                    <a:pt x="374" y="21"/>
                  </a:lnTo>
                  <a:lnTo>
                    <a:pt x="373" y="22"/>
                  </a:lnTo>
                  <a:lnTo>
                    <a:pt x="373" y="22"/>
                  </a:lnTo>
                  <a:lnTo>
                    <a:pt x="372" y="22"/>
                  </a:lnTo>
                  <a:lnTo>
                    <a:pt x="372" y="23"/>
                  </a:lnTo>
                  <a:lnTo>
                    <a:pt x="372" y="23"/>
                  </a:lnTo>
                  <a:lnTo>
                    <a:pt x="371" y="23"/>
                  </a:lnTo>
                  <a:lnTo>
                    <a:pt x="370" y="23"/>
                  </a:lnTo>
                  <a:lnTo>
                    <a:pt x="369" y="23"/>
                  </a:lnTo>
                  <a:lnTo>
                    <a:pt x="365" y="22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1" y="21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3"/>
                  </a:lnTo>
                  <a:lnTo>
                    <a:pt x="360" y="24"/>
                  </a:lnTo>
                  <a:lnTo>
                    <a:pt x="359" y="25"/>
                  </a:lnTo>
                  <a:lnTo>
                    <a:pt x="359" y="26"/>
                  </a:lnTo>
                  <a:lnTo>
                    <a:pt x="359" y="27"/>
                  </a:lnTo>
                  <a:lnTo>
                    <a:pt x="360" y="30"/>
                  </a:lnTo>
                  <a:lnTo>
                    <a:pt x="360" y="31"/>
                  </a:lnTo>
                  <a:lnTo>
                    <a:pt x="360" y="32"/>
                  </a:lnTo>
                  <a:lnTo>
                    <a:pt x="360" y="34"/>
                  </a:lnTo>
                  <a:lnTo>
                    <a:pt x="360" y="35"/>
                  </a:lnTo>
                  <a:lnTo>
                    <a:pt x="360" y="36"/>
                  </a:lnTo>
                  <a:lnTo>
                    <a:pt x="360" y="36"/>
                  </a:lnTo>
                  <a:lnTo>
                    <a:pt x="360" y="37"/>
                  </a:lnTo>
                  <a:lnTo>
                    <a:pt x="360" y="37"/>
                  </a:lnTo>
                  <a:lnTo>
                    <a:pt x="361" y="37"/>
                  </a:lnTo>
                  <a:lnTo>
                    <a:pt x="361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5" y="39"/>
                  </a:lnTo>
                  <a:lnTo>
                    <a:pt x="368" y="40"/>
                  </a:lnTo>
                  <a:lnTo>
                    <a:pt x="372" y="41"/>
                  </a:lnTo>
                  <a:lnTo>
                    <a:pt x="374" y="42"/>
                  </a:lnTo>
                  <a:lnTo>
                    <a:pt x="376" y="42"/>
                  </a:lnTo>
                  <a:lnTo>
                    <a:pt x="377" y="42"/>
                  </a:lnTo>
                  <a:lnTo>
                    <a:pt x="379" y="42"/>
                  </a:lnTo>
                  <a:lnTo>
                    <a:pt x="381" y="43"/>
                  </a:lnTo>
                  <a:lnTo>
                    <a:pt x="382" y="43"/>
                  </a:lnTo>
                  <a:lnTo>
                    <a:pt x="382" y="43"/>
                  </a:lnTo>
                  <a:lnTo>
                    <a:pt x="383" y="43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82" y="44"/>
                  </a:lnTo>
                  <a:lnTo>
                    <a:pt x="382" y="45"/>
                  </a:lnTo>
                  <a:lnTo>
                    <a:pt x="381" y="45"/>
                  </a:lnTo>
                  <a:lnTo>
                    <a:pt x="381" y="46"/>
                  </a:lnTo>
                  <a:lnTo>
                    <a:pt x="380" y="47"/>
                  </a:lnTo>
                  <a:lnTo>
                    <a:pt x="379" y="47"/>
                  </a:lnTo>
                  <a:lnTo>
                    <a:pt x="379" y="48"/>
                  </a:lnTo>
                  <a:lnTo>
                    <a:pt x="377" y="50"/>
                  </a:lnTo>
                  <a:lnTo>
                    <a:pt x="377" y="51"/>
                  </a:lnTo>
                  <a:lnTo>
                    <a:pt x="375" y="54"/>
                  </a:lnTo>
                  <a:lnTo>
                    <a:pt x="374" y="55"/>
                  </a:lnTo>
                  <a:lnTo>
                    <a:pt x="374" y="56"/>
                  </a:lnTo>
                  <a:lnTo>
                    <a:pt x="374" y="58"/>
                  </a:lnTo>
                  <a:lnTo>
                    <a:pt x="374" y="59"/>
                  </a:lnTo>
                  <a:lnTo>
                    <a:pt x="374" y="61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5"/>
                  </a:lnTo>
                  <a:lnTo>
                    <a:pt x="375" y="68"/>
                  </a:lnTo>
                  <a:lnTo>
                    <a:pt x="376" y="72"/>
                  </a:lnTo>
                  <a:lnTo>
                    <a:pt x="377" y="75"/>
                  </a:lnTo>
                  <a:lnTo>
                    <a:pt x="377" y="76"/>
                  </a:lnTo>
                  <a:lnTo>
                    <a:pt x="378" y="77"/>
                  </a:lnTo>
                  <a:lnTo>
                    <a:pt x="378" y="78"/>
                  </a:lnTo>
                  <a:lnTo>
                    <a:pt x="379" y="79"/>
                  </a:lnTo>
                  <a:lnTo>
                    <a:pt x="381" y="82"/>
                  </a:lnTo>
                  <a:lnTo>
                    <a:pt x="382" y="83"/>
                  </a:lnTo>
                  <a:lnTo>
                    <a:pt x="382" y="84"/>
                  </a:lnTo>
                  <a:lnTo>
                    <a:pt x="383" y="85"/>
                  </a:lnTo>
                  <a:lnTo>
                    <a:pt x="383" y="86"/>
                  </a:lnTo>
                  <a:lnTo>
                    <a:pt x="384" y="87"/>
                  </a:lnTo>
                  <a:lnTo>
                    <a:pt x="384" y="88"/>
                  </a:lnTo>
                  <a:lnTo>
                    <a:pt x="383" y="88"/>
                  </a:lnTo>
                  <a:lnTo>
                    <a:pt x="383" y="89"/>
                  </a:lnTo>
                  <a:lnTo>
                    <a:pt x="383" y="89"/>
                  </a:lnTo>
                  <a:lnTo>
                    <a:pt x="383" y="90"/>
                  </a:lnTo>
                  <a:lnTo>
                    <a:pt x="382" y="90"/>
                  </a:lnTo>
                  <a:lnTo>
                    <a:pt x="380" y="92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9" y="94"/>
                  </a:lnTo>
                  <a:lnTo>
                    <a:pt x="379" y="94"/>
                  </a:lnTo>
                  <a:lnTo>
                    <a:pt x="378" y="95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8" y="97"/>
                  </a:lnTo>
                  <a:lnTo>
                    <a:pt x="378" y="98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2"/>
                  </a:lnTo>
                  <a:lnTo>
                    <a:pt x="381" y="102"/>
                  </a:lnTo>
                  <a:lnTo>
                    <a:pt x="382" y="103"/>
                  </a:lnTo>
                  <a:lnTo>
                    <a:pt x="384" y="104"/>
                  </a:lnTo>
                  <a:lnTo>
                    <a:pt x="387" y="107"/>
                  </a:lnTo>
                  <a:lnTo>
                    <a:pt x="389" y="108"/>
                  </a:lnTo>
                  <a:lnTo>
                    <a:pt x="390" y="109"/>
                  </a:lnTo>
                  <a:lnTo>
                    <a:pt x="392" y="109"/>
                  </a:lnTo>
                  <a:lnTo>
                    <a:pt x="393" y="110"/>
                  </a:lnTo>
                  <a:lnTo>
                    <a:pt x="394" y="110"/>
                  </a:lnTo>
                  <a:lnTo>
                    <a:pt x="395" y="110"/>
                  </a:lnTo>
                  <a:lnTo>
                    <a:pt x="396" y="110"/>
                  </a:lnTo>
                  <a:lnTo>
                    <a:pt x="397" y="109"/>
                  </a:lnTo>
                  <a:lnTo>
                    <a:pt x="398" y="109"/>
                  </a:lnTo>
                  <a:lnTo>
                    <a:pt x="399" y="108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3" y="105"/>
                  </a:lnTo>
                  <a:lnTo>
                    <a:pt x="403" y="104"/>
                  </a:lnTo>
                  <a:lnTo>
                    <a:pt x="404" y="103"/>
                  </a:lnTo>
                  <a:lnTo>
                    <a:pt x="405" y="102"/>
                  </a:lnTo>
                  <a:lnTo>
                    <a:pt x="405" y="100"/>
                  </a:lnTo>
                  <a:lnTo>
                    <a:pt x="406" y="97"/>
                  </a:lnTo>
                  <a:lnTo>
                    <a:pt x="407" y="95"/>
                  </a:lnTo>
                  <a:lnTo>
                    <a:pt x="408" y="94"/>
                  </a:lnTo>
                  <a:lnTo>
                    <a:pt x="409" y="92"/>
                  </a:lnTo>
                  <a:lnTo>
                    <a:pt x="410" y="91"/>
                  </a:lnTo>
                  <a:lnTo>
                    <a:pt x="410" y="91"/>
                  </a:lnTo>
                  <a:lnTo>
                    <a:pt x="410" y="90"/>
                  </a:lnTo>
                  <a:lnTo>
                    <a:pt x="410" y="90"/>
                  </a:lnTo>
                  <a:lnTo>
                    <a:pt x="410" y="89"/>
                  </a:lnTo>
                  <a:lnTo>
                    <a:pt x="410" y="88"/>
                  </a:lnTo>
                  <a:lnTo>
                    <a:pt x="410" y="88"/>
                  </a:lnTo>
                  <a:lnTo>
                    <a:pt x="410" y="87"/>
                  </a:lnTo>
                  <a:lnTo>
                    <a:pt x="409" y="86"/>
                  </a:lnTo>
                  <a:lnTo>
                    <a:pt x="409" y="85"/>
                  </a:lnTo>
                  <a:lnTo>
                    <a:pt x="408" y="83"/>
                  </a:lnTo>
                  <a:lnTo>
                    <a:pt x="407" y="82"/>
                  </a:lnTo>
                  <a:lnTo>
                    <a:pt x="407" y="81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6" y="78"/>
                  </a:lnTo>
                  <a:lnTo>
                    <a:pt x="405" y="77"/>
                  </a:lnTo>
                  <a:lnTo>
                    <a:pt x="405" y="77"/>
                  </a:lnTo>
                  <a:lnTo>
                    <a:pt x="400" y="72"/>
                  </a:lnTo>
                  <a:lnTo>
                    <a:pt x="399" y="72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7" y="69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397" y="67"/>
                  </a:lnTo>
                  <a:lnTo>
                    <a:pt x="397" y="67"/>
                  </a:lnTo>
                  <a:lnTo>
                    <a:pt x="398" y="67"/>
                  </a:lnTo>
                  <a:lnTo>
                    <a:pt x="399" y="65"/>
                  </a:lnTo>
                  <a:lnTo>
                    <a:pt x="401" y="64"/>
                  </a:lnTo>
                  <a:lnTo>
                    <a:pt x="402" y="63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406" y="60"/>
                  </a:lnTo>
                  <a:lnTo>
                    <a:pt x="408" y="60"/>
                  </a:lnTo>
                  <a:lnTo>
                    <a:pt x="409" y="60"/>
                  </a:lnTo>
                  <a:lnTo>
                    <a:pt x="410" y="60"/>
                  </a:lnTo>
                  <a:lnTo>
                    <a:pt x="411" y="60"/>
                  </a:lnTo>
                  <a:lnTo>
                    <a:pt x="412" y="60"/>
                  </a:lnTo>
                  <a:lnTo>
                    <a:pt x="414" y="60"/>
                  </a:lnTo>
                  <a:lnTo>
                    <a:pt x="416" y="61"/>
                  </a:lnTo>
                  <a:lnTo>
                    <a:pt x="418" y="61"/>
                  </a:lnTo>
                  <a:lnTo>
                    <a:pt x="419" y="61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1" y="63"/>
                  </a:lnTo>
                  <a:lnTo>
                    <a:pt x="422" y="64"/>
                  </a:lnTo>
                  <a:lnTo>
                    <a:pt x="423" y="65"/>
                  </a:lnTo>
                  <a:lnTo>
                    <a:pt x="423" y="66"/>
                  </a:lnTo>
                  <a:lnTo>
                    <a:pt x="424" y="67"/>
                  </a:lnTo>
                  <a:lnTo>
                    <a:pt x="425" y="69"/>
                  </a:lnTo>
                  <a:lnTo>
                    <a:pt x="425" y="70"/>
                  </a:lnTo>
                  <a:lnTo>
                    <a:pt x="426" y="71"/>
                  </a:lnTo>
                  <a:lnTo>
                    <a:pt x="428" y="72"/>
                  </a:lnTo>
                  <a:lnTo>
                    <a:pt x="428" y="73"/>
                  </a:lnTo>
                  <a:lnTo>
                    <a:pt x="429" y="74"/>
                  </a:lnTo>
                  <a:lnTo>
                    <a:pt x="430" y="75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31" y="78"/>
                  </a:lnTo>
                  <a:lnTo>
                    <a:pt x="432" y="79"/>
                  </a:lnTo>
                  <a:lnTo>
                    <a:pt x="432" y="80"/>
                  </a:lnTo>
                  <a:lnTo>
                    <a:pt x="433" y="81"/>
                  </a:lnTo>
                  <a:lnTo>
                    <a:pt x="434" y="83"/>
                  </a:lnTo>
                  <a:lnTo>
                    <a:pt x="435" y="87"/>
                  </a:lnTo>
                  <a:lnTo>
                    <a:pt x="435" y="90"/>
                  </a:lnTo>
                  <a:lnTo>
                    <a:pt x="436" y="90"/>
                  </a:lnTo>
                  <a:lnTo>
                    <a:pt x="436" y="91"/>
                  </a:lnTo>
                  <a:lnTo>
                    <a:pt x="437" y="92"/>
                  </a:lnTo>
                  <a:lnTo>
                    <a:pt x="437" y="93"/>
                  </a:lnTo>
                  <a:lnTo>
                    <a:pt x="438" y="94"/>
                  </a:lnTo>
                  <a:lnTo>
                    <a:pt x="440" y="95"/>
                  </a:lnTo>
                  <a:lnTo>
                    <a:pt x="440" y="95"/>
                  </a:lnTo>
                  <a:lnTo>
                    <a:pt x="441" y="96"/>
                  </a:lnTo>
                  <a:lnTo>
                    <a:pt x="441" y="97"/>
                  </a:lnTo>
                  <a:lnTo>
                    <a:pt x="441" y="97"/>
                  </a:lnTo>
                  <a:lnTo>
                    <a:pt x="443" y="100"/>
                  </a:lnTo>
                  <a:lnTo>
                    <a:pt x="443" y="101"/>
                  </a:lnTo>
                  <a:lnTo>
                    <a:pt x="444" y="101"/>
                  </a:lnTo>
                  <a:lnTo>
                    <a:pt x="444" y="102"/>
                  </a:lnTo>
                  <a:lnTo>
                    <a:pt x="445" y="104"/>
                  </a:lnTo>
                  <a:lnTo>
                    <a:pt x="446" y="104"/>
                  </a:lnTo>
                  <a:lnTo>
                    <a:pt x="447" y="105"/>
                  </a:lnTo>
                  <a:lnTo>
                    <a:pt x="447" y="105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8" y="106"/>
                  </a:lnTo>
                  <a:lnTo>
                    <a:pt x="449" y="106"/>
                  </a:lnTo>
                  <a:lnTo>
                    <a:pt x="449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1" y="106"/>
                  </a:lnTo>
                  <a:lnTo>
                    <a:pt x="451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3" y="103"/>
                  </a:lnTo>
                  <a:lnTo>
                    <a:pt x="454" y="103"/>
                  </a:lnTo>
                  <a:lnTo>
                    <a:pt x="454" y="103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4" y="105"/>
                  </a:lnTo>
                  <a:lnTo>
                    <a:pt x="455" y="107"/>
                  </a:lnTo>
                  <a:lnTo>
                    <a:pt x="454" y="108"/>
                  </a:lnTo>
                  <a:lnTo>
                    <a:pt x="454" y="110"/>
                  </a:lnTo>
                  <a:lnTo>
                    <a:pt x="454" y="111"/>
                  </a:lnTo>
                  <a:lnTo>
                    <a:pt x="454" y="113"/>
                  </a:lnTo>
                  <a:lnTo>
                    <a:pt x="453" y="116"/>
                  </a:lnTo>
                  <a:lnTo>
                    <a:pt x="453" y="119"/>
                  </a:lnTo>
                  <a:lnTo>
                    <a:pt x="452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3" y="123"/>
                  </a:lnTo>
                  <a:lnTo>
                    <a:pt x="454" y="124"/>
                  </a:lnTo>
                  <a:lnTo>
                    <a:pt x="454" y="124"/>
                  </a:lnTo>
                  <a:lnTo>
                    <a:pt x="455" y="125"/>
                  </a:lnTo>
                  <a:lnTo>
                    <a:pt x="458" y="126"/>
                  </a:lnTo>
                  <a:lnTo>
                    <a:pt x="459" y="127"/>
                  </a:lnTo>
                  <a:lnTo>
                    <a:pt x="461" y="128"/>
                  </a:lnTo>
                  <a:lnTo>
                    <a:pt x="463" y="128"/>
                  </a:lnTo>
                  <a:lnTo>
                    <a:pt x="465" y="129"/>
                  </a:lnTo>
                  <a:lnTo>
                    <a:pt x="468" y="130"/>
                  </a:lnTo>
                  <a:lnTo>
                    <a:pt x="469" y="131"/>
                  </a:lnTo>
                  <a:lnTo>
                    <a:pt x="471" y="131"/>
                  </a:lnTo>
                  <a:lnTo>
                    <a:pt x="473" y="132"/>
                  </a:lnTo>
                  <a:lnTo>
                    <a:pt x="474" y="133"/>
                  </a:lnTo>
                  <a:lnTo>
                    <a:pt x="475" y="134"/>
                  </a:lnTo>
                  <a:lnTo>
                    <a:pt x="478" y="136"/>
                  </a:lnTo>
                  <a:lnTo>
                    <a:pt x="479" y="137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1" y="139"/>
                  </a:lnTo>
                  <a:lnTo>
                    <a:pt x="481" y="140"/>
                  </a:lnTo>
                  <a:lnTo>
                    <a:pt x="481" y="141"/>
                  </a:lnTo>
                  <a:lnTo>
                    <a:pt x="483" y="146"/>
                  </a:lnTo>
                  <a:lnTo>
                    <a:pt x="484" y="149"/>
                  </a:lnTo>
                  <a:lnTo>
                    <a:pt x="484" y="150"/>
                  </a:lnTo>
                  <a:lnTo>
                    <a:pt x="486" y="153"/>
                  </a:lnTo>
                  <a:lnTo>
                    <a:pt x="488" y="158"/>
                  </a:lnTo>
                  <a:lnTo>
                    <a:pt x="488" y="160"/>
                  </a:lnTo>
                  <a:lnTo>
                    <a:pt x="484" y="166"/>
                  </a:lnTo>
                  <a:lnTo>
                    <a:pt x="483" y="168"/>
                  </a:lnTo>
                  <a:lnTo>
                    <a:pt x="483" y="170"/>
                  </a:lnTo>
                  <a:lnTo>
                    <a:pt x="483" y="171"/>
                  </a:lnTo>
                  <a:lnTo>
                    <a:pt x="482" y="172"/>
                  </a:lnTo>
                  <a:lnTo>
                    <a:pt x="482" y="173"/>
                  </a:lnTo>
                  <a:lnTo>
                    <a:pt x="482" y="174"/>
                  </a:lnTo>
                  <a:lnTo>
                    <a:pt x="482" y="175"/>
                  </a:lnTo>
                  <a:lnTo>
                    <a:pt x="482" y="176"/>
                  </a:lnTo>
                  <a:lnTo>
                    <a:pt x="483" y="179"/>
                  </a:lnTo>
                  <a:lnTo>
                    <a:pt x="483" y="181"/>
                  </a:lnTo>
                  <a:lnTo>
                    <a:pt x="483" y="182"/>
                  </a:lnTo>
                  <a:lnTo>
                    <a:pt x="483" y="186"/>
                  </a:lnTo>
                  <a:lnTo>
                    <a:pt x="483" y="187"/>
                  </a:lnTo>
                  <a:lnTo>
                    <a:pt x="484" y="188"/>
                  </a:lnTo>
                  <a:lnTo>
                    <a:pt x="484" y="189"/>
                  </a:lnTo>
                  <a:lnTo>
                    <a:pt x="485" y="191"/>
                  </a:lnTo>
                  <a:lnTo>
                    <a:pt x="487" y="195"/>
                  </a:lnTo>
                  <a:lnTo>
                    <a:pt x="488" y="198"/>
                  </a:lnTo>
                  <a:lnTo>
                    <a:pt x="488" y="199"/>
                  </a:lnTo>
                  <a:lnTo>
                    <a:pt x="488" y="199"/>
                  </a:lnTo>
                  <a:lnTo>
                    <a:pt x="488" y="200"/>
                  </a:lnTo>
                  <a:lnTo>
                    <a:pt x="488" y="201"/>
                  </a:lnTo>
                  <a:lnTo>
                    <a:pt x="488" y="202"/>
                  </a:lnTo>
                  <a:lnTo>
                    <a:pt x="488" y="203"/>
                  </a:lnTo>
                  <a:lnTo>
                    <a:pt x="488" y="204"/>
                  </a:lnTo>
                  <a:lnTo>
                    <a:pt x="488" y="204"/>
                  </a:lnTo>
                  <a:lnTo>
                    <a:pt x="488" y="205"/>
                  </a:lnTo>
                  <a:lnTo>
                    <a:pt x="489" y="205"/>
                  </a:lnTo>
                  <a:lnTo>
                    <a:pt x="489" y="205"/>
                  </a:lnTo>
                  <a:lnTo>
                    <a:pt x="490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5" y="205"/>
                  </a:lnTo>
                  <a:lnTo>
                    <a:pt x="496" y="205"/>
                  </a:lnTo>
                  <a:lnTo>
                    <a:pt x="497" y="205"/>
                  </a:lnTo>
                  <a:lnTo>
                    <a:pt x="498" y="205"/>
                  </a:lnTo>
                  <a:lnTo>
                    <a:pt x="499" y="205"/>
                  </a:lnTo>
                  <a:lnTo>
                    <a:pt x="499" y="205"/>
                  </a:lnTo>
                  <a:lnTo>
                    <a:pt x="500" y="206"/>
                  </a:lnTo>
                  <a:lnTo>
                    <a:pt x="500" y="206"/>
                  </a:lnTo>
                  <a:lnTo>
                    <a:pt x="500" y="207"/>
                  </a:lnTo>
                  <a:lnTo>
                    <a:pt x="501" y="207"/>
                  </a:lnTo>
                  <a:lnTo>
                    <a:pt x="501" y="208"/>
                  </a:lnTo>
                  <a:lnTo>
                    <a:pt x="501" y="209"/>
                  </a:lnTo>
                  <a:lnTo>
                    <a:pt x="501" y="210"/>
                  </a:lnTo>
                  <a:lnTo>
                    <a:pt x="501" y="211"/>
                  </a:lnTo>
                  <a:lnTo>
                    <a:pt x="501" y="212"/>
                  </a:lnTo>
                  <a:lnTo>
                    <a:pt x="500" y="213"/>
                  </a:lnTo>
                  <a:lnTo>
                    <a:pt x="500" y="214"/>
                  </a:lnTo>
                  <a:lnTo>
                    <a:pt x="499" y="216"/>
                  </a:lnTo>
                  <a:lnTo>
                    <a:pt x="499" y="217"/>
                  </a:lnTo>
                  <a:lnTo>
                    <a:pt x="498" y="218"/>
                  </a:lnTo>
                  <a:lnTo>
                    <a:pt x="498" y="219"/>
                  </a:lnTo>
                  <a:lnTo>
                    <a:pt x="497" y="220"/>
                  </a:lnTo>
                  <a:lnTo>
                    <a:pt x="497" y="221"/>
                  </a:lnTo>
                  <a:lnTo>
                    <a:pt x="497" y="221"/>
                  </a:lnTo>
                  <a:lnTo>
                    <a:pt x="495" y="222"/>
                  </a:lnTo>
                  <a:lnTo>
                    <a:pt x="493" y="224"/>
                  </a:lnTo>
                  <a:lnTo>
                    <a:pt x="491" y="226"/>
                  </a:lnTo>
                  <a:lnTo>
                    <a:pt x="490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87" y="230"/>
                  </a:lnTo>
                  <a:lnTo>
                    <a:pt x="486" y="231"/>
                  </a:lnTo>
                  <a:lnTo>
                    <a:pt x="484" y="235"/>
                  </a:lnTo>
                  <a:lnTo>
                    <a:pt x="483" y="236"/>
                  </a:lnTo>
                  <a:lnTo>
                    <a:pt x="483" y="237"/>
                  </a:lnTo>
                  <a:lnTo>
                    <a:pt x="482" y="238"/>
                  </a:lnTo>
                  <a:lnTo>
                    <a:pt x="481" y="239"/>
                  </a:lnTo>
                  <a:lnTo>
                    <a:pt x="481" y="239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8" y="241"/>
                  </a:lnTo>
                  <a:lnTo>
                    <a:pt x="478" y="242"/>
                  </a:lnTo>
                  <a:lnTo>
                    <a:pt x="478" y="243"/>
                  </a:lnTo>
                  <a:lnTo>
                    <a:pt x="477" y="244"/>
                  </a:lnTo>
                  <a:lnTo>
                    <a:pt x="477" y="245"/>
                  </a:lnTo>
                  <a:lnTo>
                    <a:pt x="477" y="246"/>
                  </a:lnTo>
                  <a:lnTo>
                    <a:pt x="477" y="247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8" y="250"/>
                  </a:lnTo>
                  <a:lnTo>
                    <a:pt x="479" y="251"/>
                  </a:lnTo>
                  <a:lnTo>
                    <a:pt x="479" y="251"/>
                  </a:lnTo>
                  <a:lnTo>
                    <a:pt x="480" y="251"/>
                  </a:lnTo>
                  <a:lnTo>
                    <a:pt x="481" y="251"/>
                  </a:lnTo>
                  <a:lnTo>
                    <a:pt x="482" y="252"/>
                  </a:lnTo>
                  <a:lnTo>
                    <a:pt x="483" y="252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1"/>
                  </a:lnTo>
                  <a:lnTo>
                    <a:pt x="488" y="251"/>
                  </a:lnTo>
                  <a:lnTo>
                    <a:pt x="490" y="250"/>
                  </a:lnTo>
                  <a:lnTo>
                    <a:pt x="497" y="247"/>
                  </a:lnTo>
                  <a:lnTo>
                    <a:pt x="499" y="247"/>
                  </a:lnTo>
                  <a:lnTo>
                    <a:pt x="500" y="246"/>
                  </a:lnTo>
                  <a:lnTo>
                    <a:pt x="501" y="246"/>
                  </a:lnTo>
                  <a:lnTo>
                    <a:pt x="502" y="246"/>
                  </a:lnTo>
                  <a:lnTo>
                    <a:pt x="503" y="246"/>
                  </a:lnTo>
                  <a:lnTo>
                    <a:pt x="504" y="246"/>
                  </a:lnTo>
                  <a:lnTo>
                    <a:pt x="505" y="246"/>
                  </a:lnTo>
                  <a:lnTo>
                    <a:pt x="505" y="246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7" y="248"/>
                  </a:lnTo>
                  <a:lnTo>
                    <a:pt x="507" y="249"/>
                  </a:lnTo>
                  <a:lnTo>
                    <a:pt x="509" y="250"/>
                  </a:lnTo>
                  <a:lnTo>
                    <a:pt x="510" y="252"/>
                  </a:lnTo>
                  <a:lnTo>
                    <a:pt x="510" y="253"/>
                  </a:lnTo>
                  <a:lnTo>
                    <a:pt x="511" y="254"/>
                  </a:lnTo>
                  <a:lnTo>
                    <a:pt x="511" y="256"/>
                  </a:lnTo>
                  <a:lnTo>
                    <a:pt x="511" y="256"/>
                  </a:lnTo>
                  <a:lnTo>
                    <a:pt x="511" y="258"/>
                  </a:lnTo>
                  <a:lnTo>
                    <a:pt x="511" y="259"/>
                  </a:lnTo>
                  <a:lnTo>
                    <a:pt x="511" y="260"/>
                  </a:lnTo>
                  <a:lnTo>
                    <a:pt x="511" y="264"/>
                  </a:lnTo>
                  <a:lnTo>
                    <a:pt x="511" y="265"/>
                  </a:lnTo>
                  <a:lnTo>
                    <a:pt x="511" y="266"/>
                  </a:lnTo>
                  <a:lnTo>
                    <a:pt x="511" y="267"/>
                  </a:lnTo>
                  <a:lnTo>
                    <a:pt x="511" y="267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3" y="269"/>
                  </a:lnTo>
                  <a:lnTo>
                    <a:pt x="516" y="269"/>
                  </a:lnTo>
                  <a:lnTo>
                    <a:pt x="517" y="270"/>
                  </a:lnTo>
                  <a:lnTo>
                    <a:pt x="517" y="270"/>
                  </a:lnTo>
                  <a:lnTo>
                    <a:pt x="518" y="270"/>
                  </a:lnTo>
                  <a:lnTo>
                    <a:pt x="520" y="271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3" y="273"/>
                  </a:lnTo>
                  <a:lnTo>
                    <a:pt x="524" y="273"/>
                  </a:lnTo>
                  <a:lnTo>
                    <a:pt x="525" y="274"/>
                  </a:lnTo>
                  <a:lnTo>
                    <a:pt x="527" y="276"/>
                  </a:lnTo>
                  <a:lnTo>
                    <a:pt x="527" y="276"/>
                  </a:lnTo>
                  <a:lnTo>
                    <a:pt x="528" y="277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1" y="278"/>
                  </a:lnTo>
                  <a:lnTo>
                    <a:pt x="536" y="278"/>
                  </a:lnTo>
                  <a:lnTo>
                    <a:pt x="539" y="279"/>
                  </a:lnTo>
                  <a:lnTo>
                    <a:pt x="544" y="280"/>
                  </a:lnTo>
                  <a:lnTo>
                    <a:pt x="545" y="280"/>
                  </a:lnTo>
                  <a:lnTo>
                    <a:pt x="546" y="280"/>
                  </a:lnTo>
                  <a:lnTo>
                    <a:pt x="546" y="281"/>
                  </a:lnTo>
                  <a:lnTo>
                    <a:pt x="547" y="281"/>
                  </a:lnTo>
                  <a:lnTo>
                    <a:pt x="549" y="282"/>
                  </a:lnTo>
                  <a:lnTo>
                    <a:pt x="550" y="283"/>
                  </a:lnTo>
                  <a:lnTo>
                    <a:pt x="550" y="284"/>
                  </a:lnTo>
                  <a:lnTo>
                    <a:pt x="551" y="284"/>
                  </a:lnTo>
                  <a:lnTo>
                    <a:pt x="551" y="284"/>
                  </a:lnTo>
                  <a:lnTo>
                    <a:pt x="551" y="285"/>
                  </a:lnTo>
                  <a:lnTo>
                    <a:pt x="551" y="287"/>
                  </a:lnTo>
                  <a:lnTo>
                    <a:pt x="552" y="288"/>
                  </a:lnTo>
                  <a:lnTo>
                    <a:pt x="552" y="291"/>
                  </a:lnTo>
                  <a:lnTo>
                    <a:pt x="552" y="292"/>
                  </a:lnTo>
                  <a:lnTo>
                    <a:pt x="552" y="292"/>
                  </a:lnTo>
                  <a:lnTo>
                    <a:pt x="553" y="293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4" y="294"/>
                  </a:lnTo>
                  <a:lnTo>
                    <a:pt x="554" y="294"/>
                  </a:lnTo>
                  <a:lnTo>
                    <a:pt x="555" y="295"/>
                  </a:lnTo>
                  <a:lnTo>
                    <a:pt x="556" y="295"/>
                  </a:lnTo>
                  <a:lnTo>
                    <a:pt x="558" y="295"/>
                  </a:lnTo>
                  <a:lnTo>
                    <a:pt x="560" y="295"/>
                  </a:lnTo>
                  <a:lnTo>
                    <a:pt x="561" y="296"/>
                  </a:lnTo>
                  <a:lnTo>
                    <a:pt x="562" y="296"/>
                  </a:lnTo>
                  <a:lnTo>
                    <a:pt x="563" y="296"/>
                  </a:lnTo>
                  <a:lnTo>
                    <a:pt x="563" y="297"/>
                  </a:lnTo>
                  <a:lnTo>
                    <a:pt x="564" y="297"/>
                  </a:lnTo>
                  <a:lnTo>
                    <a:pt x="570" y="301"/>
                  </a:lnTo>
                  <a:lnTo>
                    <a:pt x="571" y="302"/>
                  </a:lnTo>
                  <a:lnTo>
                    <a:pt x="572" y="303"/>
                  </a:lnTo>
                  <a:lnTo>
                    <a:pt x="574" y="304"/>
                  </a:lnTo>
                  <a:lnTo>
                    <a:pt x="575" y="304"/>
                  </a:lnTo>
                  <a:lnTo>
                    <a:pt x="575" y="304"/>
                  </a:lnTo>
                  <a:lnTo>
                    <a:pt x="576" y="304"/>
                  </a:lnTo>
                  <a:lnTo>
                    <a:pt x="577" y="305"/>
                  </a:lnTo>
                  <a:lnTo>
                    <a:pt x="578" y="304"/>
                  </a:lnTo>
                  <a:lnTo>
                    <a:pt x="579" y="304"/>
                  </a:lnTo>
                  <a:lnTo>
                    <a:pt x="580" y="304"/>
                  </a:lnTo>
                  <a:lnTo>
                    <a:pt x="584" y="303"/>
                  </a:lnTo>
                  <a:lnTo>
                    <a:pt x="586" y="303"/>
                  </a:lnTo>
                  <a:lnTo>
                    <a:pt x="587" y="303"/>
                  </a:lnTo>
                  <a:lnTo>
                    <a:pt x="590" y="303"/>
                  </a:lnTo>
                  <a:lnTo>
                    <a:pt x="594" y="302"/>
                  </a:lnTo>
                  <a:lnTo>
                    <a:pt x="594" y="302"/>
                  </a:lnTo>
                  <a:lnTo>
                    <a:pt x="595" y="302"/>
                  </a:lnTo>
                  <a:lnTo>
                    <a:pt x="596" y="302"/>
                  </a:lnTo>
                  <a:lnTo>
                    <a:pt x="596" y="302"/>
                  </a:lnTo>
                  <a:lnTo>
                    <a:pt x="597" y="303"/>
                  </a:lnTo>
                  <a:lnTo>
                    <a:pt x="600" y="304"/>
                  </a:lnTo>
                  <a:lnTo>
                    <a:pt x="602" y="304"/>
                  </a:lnTo>
                  <a:lnTo>
                    <a:pt x="603" y="305"/>
                  </a:lnTo>
                  <a:lnTo>
                    <a:pt x="604" y="305"/>
                  </a:lnTo>
                  <a:lnTo>
                    <a:pt x="605" y="306"/>
                  </a:lnTo>
                  <a:lnTo>
                    <a:pt x="607" y="307"/>
                  </a:lnTo>
                  <a:lnTo>
                    <a:pt x="608" y="308"/>
                  </a:lnTo>
                  <a:lnTo>
                    <a:pt x="608" y="308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09" y="310"/>
                  </a:lnTo>
                  <a:lnTo>
                    <a:pt x="609" y="310"/>
                  </a:lnTo>
                  <a:lnTo>
                    <a:pt x="609" y="311"/>
                  </a:lnTo>
                  <a:lnTo>
                    <a:pt x="610" y="312"/>
                  </a:lnTo>
                  <a:lnTo>
                    <a:pt x="610" y="313"/>
                  </a:lnTo>
                  <a:lnTo>
                    <a:pt x="610" y="315"/>
                  </a:lnTo>
                  <a:lnTo>
                    <a:pt x="610" y="316"/>
                  </a:lnTo>
                  <a:lnTo>
                    <a:pt x="610" y="317"/>
                  </a:lnTo>
                  <a:lnTo>
                    <a:pt x="611" y="317"/>
                  </a:lnTo>
                  <a:lnTo>
                    <a:pt x="611" y="318"/>
                  </a:lnTo>
                  <a:lnTo>
                    <a:pt x="611" y="318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3" y="319"/>
                  </a:lnTo>
                  <a:lnTo>
                    <a:pt x="614" y="320"/>
                  </a:lnTo>
                  <a:lnTo>
                    <a:pt x="616" y="321"/>
                  </a:lnTo>
                  <a:lnTo>
                    <a:pt x="617" y="321"/>
                  </a:lnTo>
                  <a:lnTo>
                    <a:pt x="624" y="324"/>
                  </a:lnTo>
                  <a:lnTo>
                    <a:pt x="625" y="325"/>
                  </a:lnTo>
                  <a:lnTo>
                    <a:pt x="626" y="326"/>
                  </a:lnTo>
                  <a:lnTo>
                    <a:pt x="627" y="327"/>
                  </a:lnTo>
                  <a:lnTo>
                    <a:pt x="628" y="328"/>
                  </a:lnTo>
                  <a:lnTo>
                    <a:pt x="630" y="329"/>
                  </a:lnTo>
                  <a:lnTo>
                    <a:pt x="631" y="330"/>
                  </a:lnTo>
                  <a:lnTo>
                    <a:pt x="632" y="332"/>
                  </a:lnTo>
                  <a:lnTo>
                    <a:pt x="635" y="337"/>
                  </a:lnTo>
                  <a:lnTo>
                    <a:pt x="638" y="340"/>
                  </a:lnTo>
                  <a:lnTo>
                    <a:pt x="638" y="341"/>
                  </a:lnTo>
                  <a:lnTo>
                    <a:pt x="639" y="342"/>
                  </a:lnTo>
                  <a:lnTo>
                    <a:pt x="639" y="343"/>
                  </a:lnTo>
                  <a:lnTo>
                    <a:pt x="641" y="346"/>
                  </a:lnTo>
                  <a:lnTo>
                    <a:pt x="641" y="348"/>
                  </a:lnTo>
                  <a:lnTo>
                    <a:pt x="642" y="349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2" y="350"/>
                  </a:lnTo>
                  <a:lnTo>
                    <a:pt x="641" y="350"/>
                  </a:lnTo>
                  <a:lnTo>
                    <a:pt x="641" y="350"/>
                  </a:lnTo>
                  <a:lnTo>
                    <a:pt x="640" y="350"/>
                  </a:lnTo>
                  <a:lnTo>
                    <a:pt x="638" y="351"/>
                  </a:lnTo>
                  <a:lnTo>
                    <a:pt x="635" y="354"/>
                  </a:lnTo>
                  <a:lnTo>
                    <a:pt x="630" y="357"/>
                  </a:lnTo>
                  <a:lnTo>
                    <a:pt x="629" y="358"/>
                  </a:lnTo>
                  <a:lnTo>
                    <a:pt x="626" y="361"/>
                  </a:lnTo>
                  <a:lnTo>
                    <a:pt x="625" y="361"/>
                  </a:lnTo>
                  <a:lnTo>
                    <a:pt x="624" y="362"/>
                  </a:lnTo>
                  <a:lnTo>
                    <a:pt x="623" y="362"/>
                  </a:lnTo>
                  <a:lnTo>
                    <a:pt x="623" y="362"/>
                  </a:lnTo>
                  <a:lnTo>
                    <a:pt x="622" y="363"/>
                  </a:lnTo>
                  <a:lnTo>
                    <a:pt x="621" y="363"/>
                  </a:lnTo>
                  <a:lnTo>
                    <a:pt x="619" y="363"/>
                  </a:lnTo>
                  <a:lnTo>
                    <a:pt x="616" y="364"/>
                  </a:lnTo>
                  <a:lnTo>
                    <a:pt x="615" y="364"/>
                  </a:lnTo>
                  <a:lnTo>
                    <a:pt x="615" y="364"/>
                  </a:lnTo>
                  <a:lnTo>
                    <a:pt x="614" y="365"/>
                  </a:lnTo>
                  <a:lnTo>
                    <a:pt x="613" y="366"/>
                  </a:lnTo>
                  <a:lnTo>
                    <a:pt x="612" y="367"/>
                  </a:lnTo>
                  <a:lnTo>
                    <a:pt x="611" y="367"/>
                  </a:lnTo>
                  <a:lnTo>
                    <a:pt x="611" y="367"/>
                  </a:lnTo>
                  <a:lnTo>
                    <a:pt x="610" y="367"/>
                  </a:lnTo>
                  <a:lnTo>
                    <a:pt x="608" y="368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6" y="368"/>
                  </a:lnTo>
                  <a:lnTo>
                    <a:pt x="605" y="368"/>
                  </a:lnTo>
                  <a:lnTo>
                    <a:pt x="605" y="367"/>
                  </a:lnTo>
                  <a:lnTo>
                    <a:pt x="604" y="367"/>
                  </a:lnTo>
                  <a:lnTo>
                    <a:pt x="603" y="366"/>
                  </a:lnTo>
                  <a:lnTo>
                    <a:pt x="603" y="366"/>
                  </a:lnTo>
                  <a:lnTo>
                    <a:pt x="602" y="366"/>
                  </a:lnTo>
                  <a:lnTo>
                    <a:pt x="600" y="365"/>
                  </a:lnTo>
                  <a:lnTo>
                    <a:pt x="600" y="365"/>
                  </a:lnTo>
                  <a:lnTo>
                    <a:pt x="599" y="364"/>
                  </a:lnTo>
                  <a:lnTo>
                    <a:pt x="598" y="363"/>
                  </a:lnTo>
                  <a:lnTo>
                    <a:pt x="594" y="361"/>
                  </a:lnTo>
                  <a:lnTo>
                    <a:pt x="593" y="360"/>
                  </a:lnTo>
                  <a:lnTo>
                    <a:pt x="591" y="359"/>
                  </a:lnTo>
                  <a:lnTo>
                    <a:pt x="590" y="359"/>
                  </a:lnTo>
                  <a:lnTo>
                    <a:pt x="589" y="358"/>
                  </a:lnTo>
                  <a:lnTo>
                    <a:pt x="587" y="358"/>
                  </a:lnTo>
                  <a:lnTo>
                    <a:pt x="586" y="358"/>
                  </a:lnTo>
                  <a:lnTo>
                    <a:pt x="585" y="358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58"/>
                  </a:lnTo>
                  <a:lnTo>
                    <a:pt x="582" y="358"/>
                  </a:lnTo>
                  <a:lnTo>
                    <a:pt x="581" y="358"/>
                  </a:lnTo>
                  <a:lnTo>
                    <a:pt x="579" y="359"/>
                  </a:lnTo>
                  <a:lnTo>
                    <a:pt x="579" y="360"/>
                  </a:lnTo>
                  <a:lnTo>
                    <a:pt x="578" y="361"/>
                  </a:lnTo>
                  <a:lnTo>
                    <a:pt x="575" y="363"/>
                  </a:lnTo>
                  <a:lnTo>
                    <a:pt x="574" y="364"/>
                  </a:lnTo>
                  <a:lnTo>
                    <a:pt x="569" y="367"/>
                  </a:lnTo>
                  <a:lnTo>
                    <a:pt x="568" y="368"/>
                  </a:lnTo>
                  <a:lnTo>
                    <a:pt x="567" y="369"/>
                  </a:lnTo>
                  <a:lnTo>
                    <a:pt x="566" y="369"/>
                  </a:lnTo>
                  <a:lnTo>
                    <a:pt x="565" y="369"/>
                  </a:lnTo>
                  <a:lnTo>
                    <a:pt x="565" y="369"/>
                  </a:lnTo>
                  <a:lnTo>
                    <a:pt x="564" y="369"/>
                  </a:lnTo>
                  <a:lnTo>
                    <a:pt x="562" y="370"/>
                  </a:lnTo>
                  <a:lnTo>
                    <a:pt x="559" y="370"/>
                  </a:lnTo>
                  <a:lnTo>
                    <a:pt x="558" y="370"/>
                  </a:lnTo>
                  <a:lnTo>
                    <a:pt x="557" y="370"/>
                  </a:lnTo>
                  <a:lnTo>
                    <a:pt x="556" y="369"/>
                  </a:lnTo>
                  <a:lnTo>
                    <a:pt x="555" y="369"/>
                  </a:lnTo>
                  <a:lnTo>
                    <a:pt x="555" y="369"/>
                  </a:lnTo>
                  <a:lnTo>
                    <a:pt x="553" y="368"/>
                  </a:lnTo>
                  <a:lnTo>
                    <a:pt x="552" y="367"/>
                  </a:lnTo>
                  <a:lnTo>
                    <a:pt x="551" y="367"/>
                  </a:lnTo>
                  <a:lnTo>
                    <a:pt x="549" y="365"/>
                  </a:lnTo>
                  <a:lnTo>
                    <a:pt x="548" y="364"/>
                  </a:lnTo>
                  <a:lnTo>
                    <a:pt x="546" y="362"/>
                  </a:lnTo>
                  <a:lnTo>
                    <a:pt x="543" y="360"/>
                  </a:lnTo>
                  <a:lnTo>
                    <a:pt x="542" y="359"/>
                  </a:lnTo>
                  <a:lnTo>
                    <a:pt x="542" y="359"/>
                  </a:lnTo>
                  <a:lnTo>
                    <a:pt x="541" y="358"/>
                  </a:lnTo>
                  <a:lnTo>
                    <a:pt x="538" y="357"/>
                  </a:lnTo>
                  <a:lnTo>
                    <a:pt x="537" y="357"/>
                  </a:lnTo>
                  <a:lnTo>
                    <a:pt x="533" y="354"/>
                  </a:lnTo>
                  <a:lnTo>
                    <a:pt x="530" y="352"/>
                  </a:lnTo>
                  <a:lnTo>
                    <a:pt x="529" y="351"/>
                  </a:lnTo>
                  <a:lnTo>
                    <a:pt x="528" y="351"/>
                  </a:lnTo>
                  <a:lnTo>
                    <a:pt x="527" y="351"/>
                  </a:lnTo>
                  <a:lnTo>
                    <a:pt x="523" y="349"/>
                  </a:lnTo>
                  <a:lnTo>
                    <a:pt x="520" y="348"/>
                  </a:lnTo>
                  <a:lnTo>
                    <a:pt x="518" y="348"/>
                  </a:lnTo>
                  <a:lnTo>
                    <a:pt x="517" y="347"/>
                  </a:lnTo>
                  <a:lnTo>
                    <a:pt x="515" y="347"/>
                  </a:lnTo>
                  <a:lnTo>
                    <a:pt x="514" y="346"/>
                  </a:lnTo>
                  <a:lnTo>
                    <a:pt x="512" y="346"/>
                  </a:lnTo>
                  <a:lnTo>
                    <a:pt x="511" y="346"/>
                  </a:lnTo>
                  <a:lnTo>
                    <a:pt x="509" y="345"/>
                  </a:lnTo>
                  <a:lnTo>
                    <a:pt x="508" y="345"/>
                  </a:lnTo>
                  <a:lnTo>
                    <a:pt x="507" y="345"/>
                  </a:lnTo>
                  <a:lnTo>
                    <a:pt x="506" y="346"/>
                  </a:lnTo>
                  <a:lnTo>
                    <a:pt x="505" y="346"/>
                  </a:lnTo>
                  <a:lnTo>
                    <a:pt x="505" y="346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2" y="348"/>
                  </a:lnTo>
                  <a:lnTo>
                    <a:pt x="501" y="348"/>
                  </a:lnTo>
                  <a:lnTo>
                    <a:pt x="499" y="350"/>
                  </a:lnTo>
                  <a:lnTo>
                    <a:pt x="497" y="353"/>
                  </a:lnTo>
                  <a:lnTo>
                    <a:pt x="492" y="357"/>
                  </a:lnTo>
                  <a:lnTo>
                    <a:pt x="490" y="358"/>
                  </a:lnTo>
                  <a:lnTo>
                    <a:pt x="486" y="361"/>
                  </a:lnTo>
                  <a:lnTo>
                    <a:pt x="484" y="363"/>
                  </a:lnTo>
                  <a:lnTo>
                    <a:pt x="483" y="364"/>
                  </a:lnTo>
                  <a:lnTo>
                    <a:pt x="482" y="365"/>
                  </a:lnTo>
                  <a:lnTo>
                    <a:pt x="481" y="366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79" y="368"/>
                  </a:lnTo>
                  <a:lnTo>
                    <a:pt x="479" y="369"/>
                  </a:lnTo>
                  <a:lnTo>
                    <a:pt x="478" y="370"/>
                  </a:lnTo>
                  <a:lnTo>
                    <a:pt x="477" y="375"/>
                  </a:lnTo>
                  <a:lnTo>
                    <a:pt x="476" y="376"/>
                  </a:lnTo>
                  <a:lnTo>
                    <a:pt x="476" y="377"/>
                  </a:lnTo>
                  <a:lnTo>
                    <a:pt x="475" y="378"/>
                  </a:lnTo>
                  <a:lnTo>
                    <a:pt x="474" y="380"/>
                  </a:lnTo>
                  <a:lnTo>
                    <a:pt x="473" y="383"/>
                  </a:lnTo>
                  <a:lnTo>
                    <a:pt x="472" y="385"/>
                  </a:lnTo>
                  <a:lnTo>
                    <a:pt x="471" y="386"/>
                  </a:lnTo>
                  <a:lnTo>
                    <a:pt x="470" y="387"/>
                  </a:lnTo>
                  <a:lnTo>
                    <a:pt x="466" y="391"/>
                  </a:lnTo>
                  <a:lnTo>
                    <a:pt x="462" y="396"/>
                  </a:lnTo>
                  <a:lnTo>
                    <a:pt x="461" y="397"/>
                  </a:lnTo>
                  <a:lnTo>
                    <a:pt x="459" y="399"/>
                  </a:lnTo>
                  <a:lnTo>
                    <a:pt x="459" y="400"/>
                  </a:lnTo>
                  <a:lnTo>
                    <a:pt x="455" y="406"/>
                  </a:lnTo>
                  <a:lnTo>
                    <a:pt x="454" y="408"/>
                  </a:lnTo>
                  <a:lnTo>
                    <a:pt x="452" y="412"/>
                  </a:lnTo>
                  <a:lnTo>
                    <a:pt x="451" y="414"/>
                  </a:lnTo>
                  <a:lnTo>
                    <a:pt x="449" y="418"/>
                  </a:lnTo>
                  <a:lnTo>
                    <a:pt x="448" y="421"/>
                  </a:lnTo>
                  <a:lnTo>
                    <a:pt x="447" y="423"/>
                  </a:lnTo>
                  <a:lnTo>
                    <a:pt x="446" y="425"/>
                  </a:lnTo>
                  <a:lnTo>
                    <a:pt x="445" y="429"/>
                  </a:lnTo>
                  <a:lnTo>
                    <a:pt x="444" y="431"/>
                  </a:lnTo>
                  <a:lnTo>
                    <a:pt x="444" y="432"/>
                  </a:lnTo>
                  <a:lnTo>
                    <a:pt x="442" y="435"/>
                  </a:lnTo>
                  <a:lnTo>
                    <a:pt x="441" y="436"/>
                  </a:lnTo>
                  <a:lnTo>
                    <a:pt x="440" y="438"/>
                  </a:lnTo>
                  <a:lnTo>
                    <a:pt x="439" y="440"/>
                  </a:lnTo>
                  <a:lnTo>
                    <a:pt x="439" y="442"/>
                  </a:lnTo>
                  <a:lnTo>
                    <a:pt x="439" y="443"/>
                  </a:lnTo>
                  <a:lnTo>
                    <a:pt x="438" y="444"/>
                  </a:lnTo>
                  <a:lnTo>
                    <a:pt x="438" y="447"/>
                  </a:lnTo>
                  <a:lnTo>
                    <a:pt x="437" y="451"/>
                  </a:lnTo>
                  <a:lnTo>
                    <a:pt x="436" y="453"/>
                  </a:lnTo>
                  <a:lnTo>
                    <a:pt x="436" y="455"/>
                  </a:lnTo>
                  <a:lnTo>
                    <a:pt x="436" y="456"/>
                  </a:lnTo>
                  <a:lnTo>
                    <a:pt x="435" y="458"/>
                  </a:lnTo>
                  <a:lnTo>
                    <a:pt x="435" y="458"/>
                  </a:lnTo>
                  <a:lnTo>
                    <a:pt x="434" y="460"/>
                  </a:lnTo>
                  <a:lnTo>
                    <a:pt x="434" y="461"/>
                  </a:lnTo>
                  <a:lnTo>
                    <a:pt x="433" y="461"/>
                  </a:lnTo>
                  <a:lnTo>
                    <a:pt x="432" y="462"/>
                  </a:lnTo>
                  <a:lnTo>
                    <a:pt x="431" y="463"/>
                  </a:lnTo>
                  <a:lnTo>
                    <a:pt x="431" y="463"/>
                  </a:lnTo>
                  <a:lnTo>
                    <a:pt x="430" y="464"/>
                  </a:lnTo>
                  <a:lnTo>
                    <a:pt x="429" y="464"/>
                  </a:lnTo>
                  <a:lnTo>
                    <a:pt x="429" y="464"/>
                  </a:lnTo>
                  <a:lnTo>
                    <a:pt x="428" y="464"/>
                  </a:lnTo>
                  <a:lnTo>
                    <a:pt x="428" y="464"/>
                  </a:lnTo>
                  <a:lnTo>
                    <a:pt x="427" y="464"/>
                  </a:lnTo>
                  <a:lnTo>
                    <a:pt x="426" y="464"/>
                  </a:lnTo>
                  <a:lnTo>
                    <a:pt x="426" y="463"/>
                  </a:lnTo>
                  <a:lnTo>
                    <a:pt x="425" y="463"/>
                  </a:lnTo>
                  <a:lnTo>
                    <a:pt x="425" y="462"/>
                  </a:lnTo>
                  <a:lnTo>
                    <a:pt x="425" y="462"/>
                  </a:lnTo>
                  <a:lnTo>
                    <a:pt x="425" y="461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4" y="456"/>
                  </a:lnTo>
                  <a:lnTo>
                    <a:pt x="423" y="452"/>
                  </a:lnTo>
                  <a:lnTo>
                    <a:pt x="423" y="450"/>
                  </a:lnTo>
                  <a:lnTo>
                    <a:pt x="423" y="447"/>
                  </a:lnTo>
                  <a:lnTo>
                    <a:pt x="423" y="445"/>
                  </a:lnTo>
                  <a:lnTo>
                    <a:pt x="422" y="442"/>
                  </a:lnTo>
                  <a:lnTo>
                    <a:pt x="421" y="439"/>
                  </a:lnTo>
                  <a:lnTo>
                    <a:pt x="421" y="438"/>
                  </a:lnTo>
                  <a:lnTo>
                    <a:pt x="421" y="436"/>
                  </a:lnTo>
                  <a:lnTo>
                    <a:pt x="421" y="432"/>
                  </a:lnTo>
                  <a:lnTo>
                    <a:pt x="420" y="431"/>
                  </a:lnTo>
                  <a:lnTo>
                    <a:pt x="420" y="429"/>
                  </a:lnTo>
                  <a:lnTo>
                    <a:pt x="420" y="428"/>
                  </a:lnTo>
                  <a:lnTo>
                    <a:pt x="420" y="427"/>
                  </a:lnTo>
                  <a:lnTo>
                    <a:pt x="419" y="426"/>
                  </a:lnTo>
                  <a:lnTo>
                    <a:pt x="419" y="425"/>
                  </a:lnTo>
                  <a:lnTo>
                    <a:pt x="418" y="424"/>
                  </a:lnTo>
                  <a:lnTo>
                    <a:pt x="417" y="423"/>
                  </a:lnTo>
                  <a:lnTo>
                    <a:pt x="416" y="422"/>
                  </a:lnTo>
                  <a:lnTo>
                    <a:pt x="416" y="421"/>
                  </a:lnTo>
                  <a:lnTo>
                    <a:pt x="415" y="421"/>
                  </a:lnTo>
                  <a:lnTo>
                    <a:pt x="415" y="421"/>
                  </a:lnTo>
                  <a:lnTo>
                    <a:pt x="414" y="421"/>
                  </a:lnTo>
                  <a:lnTo>
                    <a:pt x="413" y="420"/>
                  </a:lnTo>
                  <a:lnTo>
                    <a:pt x="412" y="420"/>
                  </a:lnTo>
                  <a:lnTo>
                    <a:pt x="411" y="420"/>
                  </a:lnTo>
                  <a:lnTo>
                    <a:pt x="410" y="420"/>
                  </a:lnTo>
                  <a:lnTo>
                    <a:pt x="410" y="420"/>
                  </a:lnTo>
                  <a:lnTo>
                    <a:pt x="409" y="420"/>
                  </a:lnTo>
                  <a:lnTo>
                    <a:pt x="408" y="420"/>
                  </a:lnTo>
                  <a:lnTo>
                    <a:pt x="406" y="421"/>
                  </a:lnTo>
                  <a:lnTo>
                    <a:pt x="405" y="421"/>
                  </a:lnTo>
                  <a:lnTo>
                    <a:pt x="403" y="421"/>
                  </a:lnTo>
                  <a:lnTo>
                    <a:pt x="401" y="422"/>
                  </a:lnTo>
                  <a:lnTo>
                    <a:pt x="399" y="422"/>
                  </a:lnTo>
                  <a:lnTo>
                    <a:pt x="396" y="422"/>
                  </a:lnTo>
                  <a:lnTo>
                    <a:pt x="392" y="423"/>
                  </a:lnTo>
                  <a:lnTo>
                    <a:pt x="390" y="423"/>
                  </a:lnTo>
                  <a:lnTo>
                    <a:pt x="387" y="424"/>
                  </a:lnTo>
                  <a:lnTo>
                    <a:pt x="386" y="424"/>
                  </a:lnTo>
                  <a:lnTo>
                    <a:pt x="385" y="424"/>
                  </a:lnTo>
                  <a:lnTo>
                    <a:pt x="383" y="423"/>
                  </a:lnTo>
                  <a:lnTo>
                    <a:pt x="379" y="423"/>
                  </a:lnTo>
                  <a:lnTo>
                    <a:pt x="378" y="422"/>
                  </a:lnTo>
                  <a:lnTo>
                    <a:pt x="376" y="421"/>
                  </a:lnTo>
                  <a:lnTo>
                    <a:pt x="374" y="420"/>
                  </a:lnTo>
                  <a:lnTo>
                    <a:pt x="373" y="420"/>
                  </a:lnTo>
                  <a:lnTo>
                    <a:pt x="372" y="419"/>
                  </a:lnTo>
                  <a:lnTo>
                    <a:pt x="369" y="417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7" y="415"/>
                  </a:lnTo>
                  <a:lnTo>
                    <a:pt x="365" y="414"/>
                  </a:lnTo>
                  <a:lnTo>
                    <a:pt x="364" y="414"/>
                  </a:lnTo>
                  <a:lnTo>
                    <a:pt x="362" y="414"/>
                  </a:lnTo>
                  <a:lnTo>
                    <a:pt x="362" y="413"/>
                  </a:lnTo>
                  <a:lnTo>
                    <a:pt x="361" y="413"/>
                  </a:lnTo>
                  <a:lnTo>
                    <a:pt x="360" y="413"/>
                  </a:lnTo>
                  <a:lnTo>
                    <a:pt x="359" y="413"/>
                  </a:lnTo>
                  <a:lnTo>
                    <a:pt x="358" y="413"/>
                  </a:lnTo>
                  <a:lnTo>
                    <a:pt x="357" y="413"/>
                  </a:lnTo>
                  <a:lnTo>
                    <a:pt x="354" y="413"/>
                  </a:lnTo>
                  <a:lnTo>
                    <a:pt x="353" y="413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51" y="413"/>
                  </a:lnTo>
                  <a:lnTo>
                    <a:pt x="351" y="413"/>
                  </a:lnTo>
                  <a:lnTo>
                    <a:pt x="350" y="413"/>
                  </a:lnTo>
                  <a:lnTo>
                    <a:pt x="350" y="412"/>
                  </a:lnTo>
                  <a:lnTo>
                    <a:pt x="350" y="412"/>
                  </a:lnTo>
                  <a:lnTo>
                    <a:pt x="349" y="412"/>
                  </a:lnTo>
                  <a:lnTo>
                    <a:pt x="349" y="411"/>
                  </a:lnTo>
                  <a:lnTo>
                    <a:pt x="349" y="411"/>
                  </a:lnTo>
                  <a:lnTo>
                    <a:pt x="348" y="410"/>
                  </a:lnTo>
                  <a:lnTo>
                    <a:pt x="348" y="409"/>
                  </a:lnTo>
                  <a:lnTo>
                    <a:pt x="348" y="409"/>
                  </a:lnTo>
                  <a:lnTo>
                    <a:pt x="347" y="405"/>
                  </a:lnTo>
                  <a:lnTo>
                    <a:pt x="347" y="402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6" y="400"/>
                  </a:lnTo>
                  <a:lnTo>
                    <a:pt x="346" y="399"/>
                  </a:lnTo>
                  <a:lnTo>
                    <a:pt x="345" y="398"/>
                  </a:lnTo>
                  <a:lnTo>
                    <a:pt x="345" y="397"/>
                  </a:lnTo>
                  <a:lnTo>
                    <a:pt x="344" y="396"/>
                  </a:lnTo>
                  <a:lnTo>
                    <a:pt x="343" y="394"/>
                  </a:lnTo>
                  <a:lnTo>
                    <a:pt x="342" y="394"/>
                  </a:lnTo>
                  <a:lnTo>
                    <a:pt x="341" y="393"/>
                  </a:lnTo>
                  <a:lnTo>
                    <a:pt x="340" y="393"/>
                  </a:lnTo>
                  <a:lnTo>
                    <a:pt x="339" y="392"/>
                  </a:lnTo>
                  <a:lnTo>
                    <a:pt x="338" y="392"/>
                  </a:lnTo>
                  <a:lnTo>
                    <a:pt x="337" y="392"/>
                  </a:lnTo>
                  <a:lnTo>
                    <a:pt x="336" y="391"/>
                  </a:lnTo>
                  <a:lnTo>
                    <a:pt x="335" y="391"/>
                  </a:lnTo>
                  <a:lnTo>
                    <a:pt x="331" y="392"/>
                  </a:lnTo>
                  <a:lnTo>
                    <a:pt x="330" y="392"/>
                  </a:lnTo>
                  <a:lnTo>
                    <a:pt x="328" y="392"/>
                  </a:lnTo>
                  <a:lnTo>
                    <a:pt x="327" y="391"/>
                  </a:lnTo>
                  <a:lnTo>
                    <a:pt x="326" y="391"/>
                  </a:lnTo>
                  <a:lnTo>
                    <a:pt x="325" y="391"/>
                  </a:lnTo>
                  <a:lnTo>
                    <a:pt x="323" y="391"/>
                  </a:lnTo>
                  <a:lnTo>
                    <a:pt x="322" y="390"/>
                  </a:lnTo>
                  <a:lnTo>
                    <a:pt x="321" y="390"/>
                  </a:lnTo>
                  <a:lnTo>
                    <a:pt x="315" y="386"/>
                  </a:lnTo>
                  <a:lnTo>
                    <a:pt x="313" y="385"/>
                  </a:lnTo>
                  <a:lnTo>
                    <a:pt x="310" y="383"/>
                  </a:lnTo>
                  <a:lnTo>
                    <a:pt x="309" y="382"/>
                  </a:lnTo>
                  <a:lnTo>
                    <a:pt x="307" y="382"/>
                  </a:lnTo>
                  <a:lnTo>
                    <a:pt x="307" y="381"/>
                  </a:lnTo>
                  <a:lnTo>
                    <a:pt x="306" y="381"/>
                  </a:lnTo>
                  <a:lnTo>
                    <a:pt x="305" y="381"/>
                  </a:lnTo>
                  <a:lnTo>
                    <a:pt x="305" y="381"/>
                  </a:lnTo>
                  <a:lnTo>
                    <a:pt x="304" y="381"/>
                  </a:lnTo>
                  <a:lnTo>
                    <a:pt x="304" y="381"/>
                  </a:lnTo>
                  <a:lnTo>
                    <a:pt x="302" y="381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7" y="382"/>
                  </a:lnTo>
                  <a:lnTo>
                    <a:pt x="296" y="383"/>
                  </a:lnTo>
                  <a:lnTo>
                    <a:pt x="293" y="383"/>
                  </a:lnTo>
                  <a:lnTo>
                    <a:pt x="291" y="383"/>
                  </a:lnTo>
                  <a:lnTo>
                    <a:pt x="288" y="383"/>
                  </a:lnTo>
                  <a:lnTo>
                    <a:pt x="285" y="382"/>
                  </a:lnTo>
                  <a:lnTo>
                    <a:pt x="284" y="382"/>
                  </a:lnTo>
                  <a:lnTo>
                    <a:pt x="283" y="382"/>
                  </a:lnTo>
                  <a:lnTo>
                    <a:pt x="282" y="382"/>
                  </a:lnTo>
                  <a:lnTo>
                    <a:pt x="282" y="383"/>
                  </a:lnTo>
                  <a:lnTo>
                    <a:pt x="281" y="383"/>
                  </a:lnTo>
                  <a:lnTo>
                    <a:pt x="280" y="383"/>
                  </a:lnTo>
                  <a:lnTo>
                    <a:pt x="280" y="384"/>
                  </a:lnTo>
                  <a:lnTo>
                    <a:pt x="279" y="385"/>
                  </a:lnTo>
                  <a:lnTo>
                    <a:pt x="278" y="386"/>
                  </a:lnTo>
                  <a:lnTo>
                    <a:pt x="277" y="387"/>
                  </a:lnTo>
                  <a:lnTo>
                    <a:pt x="276" y="389"/>
                  </a:lnTo>
                  <a:lnTo>
                    <a:pt x="275" y="392"/>
                  </a:lnTo>
                  <a:lnTo>
                    <a:pt x="274" y="394"/>
                  </a:lnTo>
                  <a:lnTo>
                    <a:pt x="273" y="397"/>
                  </a:lnTo>
                  <a:lnTo>
                    <a:pt x="272" y="399"/>
                  </a:lnTo>
                  <a:lnTo>
                    <a:pt x="272" y="400"/>
                  </a:lnTo>
                  <a:lnTo>
                    <a:pt x="271" y="401"/>
                  </a:lnTo>
                  <a:lnTo>
                    <a:pt x="269" y="405"/>
                  </a:lnTo>
                  <a:lnTo>
                    <a:pt x="266" y="409"/>
                  </a:lnTo>
                  <a:lnTo>
                    <a:pt x="265" y="410"/>
                  </a:lnTo>
                  <a:lnTo>
                    <a:pt x="264" y="411"/>
                  </a:lnTo>
                  <a:lnTo>
                    <a:pt x="264" y="412"/>
                  </a:lnTo>
                  <a:lnTo>
                    <a:pt x="262" y="413"/>
                  </a:lnTo>
                  <a:lnTo>
                    <a:pt x="261" y="413"/>
                  </a:lnTo>
                  <a:lnTo>
                    <a:pt x="259" y="415"/>
                  </a:lnTo>
                  <a:lnTo>
                    <a:pt x="258" y="416"/>
                  </a:lnTo>
                  <a:lnTo>
                    <a:pt x="256" y="416"/>
                  </a:lnTo>
                  <a:lnTo>
                    <a:pt x="256" y="417"/>
                  </a:lnTo>
                  <a:lnTo>
                    <a:pt x="255" y="417"/>
                  </a:lnTo>
                  <a:lnTo>
                    <a:pt x="254" y="417"/>
                  </a:lnTo>
                  <a:lnTo>
                    <a:pt x="253" y="417"/>
                  </a:lnTo>
                  <a:lnTo>
                    <a:pt x="252" y="416"/>
                  </a:lnTo>
                  <a:lnTo>
                    <a:pt x="251" y="416"/>
                  </a:lnTo>
                  <a:lnTo>
                    <a:pt x="250" y="416"/>
                  </a:lnTo>
                  <a:lnTo>
                    <a:pt x="250" y="416"/>
                  </a:lnTo>
                  <a:lnTo>
                    <a:pt x="248" y="414"/>
                  </a:lnTo>
                  <a:lnTo>
                    <a:pt x="248" y="414"/>
                  </a:lnTo>
                  <a:lnTo>
                    <a:pt x="247" y="414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5" y="413"/>
                  </a:lnTo>
                  <a:lnTo>
                    <a:pt x="245" y="413"/>
                  </a:lnTo>
                  <a:lnTo>
                    <a:pt x="244" y="414"/>
                  </a:lnTo>
                  <a:lnTo>
                    <a:pt x="242" y="415"/>
                  </a:lnTo>
                  <a:lnTo>
                    <a:pt x="242" y="415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0" y="415"/>
                  </a:lnTo>
                  <a:lnTo>
                    <a:pt x="239" y="415"/>
                  </a:lnTo>
                  <a:lnTo>
                    <a:pt x="238" y="415"/>
                  </a:lnTo>
                  <a:lnTo>
                    <a:pt x="237" y="415"/>
                  </a:lnTo>
                  <a:lnTo>
                    <a:pt x="236" y="415"/>
                  </a:lnTo>
                  <a:lnTo>
                    <a:pt x="233" y="415"/>
                  </a:lnTo>
                  <a:lnTo>
                    <a:pt x="231" y="414"/>
                  </a:lnTo>
                  <a:lnTo>
                    <a:pt x="229" y="414"/>
                  </a:lnTo>
                  <a:lnTo>
                    <a:pt x="227" y="414"/>
                  </a:lnTo>
                  <a:lnTo>
                    <a:pt x="226" y="414"/>
                  </a:lnTo>
                  <a:lnTo>
                    <a:pt x="224" y="414"/>
                  </a:lnTo>
                  <a:lnTo>
                    <a:pt x="220" y="414"/>
                  </a:lnTo>
                  <a:lnTo>
                    <a:pt x="218" y="414"/>
                  </a:lnTo>
                  <a:lnTo>
                    <a:pt x="215" y="414"/>
                  </a:lnTo>
                  <a:lnTo>
                    <a:pt x="212" y="413"/>
                  </a:lnTo>
                  <a:lnTo>
                    <a:pt x="207" y="413"/>
                  </a:lnTo>
                  <a:lnTo>
                    <a:pt x="195" y="412"/>
                  </a:lnTo>
                  <a:lnTo>
                    <a:pt x="192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8" y="411"/>
                  </a:lnTo>
                  <a:lnTo>
                    <a:pt x="185" y="412"/>
                  </a:lnTo>
                  <a:lnTo>
                    <a:pt x="183" y="412"/>
                  </a:lnTo>
                  <a:lnTo>
                    <a:pt x="181" y="412"/>
                  </a:lnTo>
                  <a:lnTo>
                    <a:pt x="178" y="411"/>
                  </a:lnTo>
                  <a:lnTo>
                    <a:pt x="173" y="411"/>
                  </a:lnTo>
                  <a:lnTo>
                    <a:pt x="172" y="411"/>
                  </a:lnTo>
                  <a:lnTo>
                    <a:pt x="171" y="411"/>
                  </a:lnTo>
                  <a:lnTo>
                    <a:pt x="169" y="411"/>
                  </a:lnTo>
                  <a:lnTo>
                    <a:pt x="168" y="410"/>
                  </a:lnTo>
                  <a:lnTo>
                    <a:pt x="167" y="410"/>
                  </a:lnTo>
                  <a:lnTo>
                    <a:pt x="165" y="409"/>
                  </a:lnTo>
                  <a:lnTo>
                    <a:pt x="164" y="409"/>
                  </a:lnTo>
                  <a:lnTo>
                    <a:pt x="162" y="408"/>
                  </a:lnTo>
                  <a:lnTo>
                    <a:pt x="161" y="407"/>
                  </a:lnTo>
                  <a:lnTo>
                    <a:pt x="159" y="406"/>
                  </a:lnTo>
                  <a:lnTo>
                    <a:pt x="153" y="403"/>
                  </a:lnTo>
                  <a:lnTo>
                    <a:pt x="144" y="399"/>
                  </a:lnTo>
                  <a:lnTo>
                    <a:pt x="141" y="397"/>
                  </a:lnTo>
                  <a:lnTo>
                    <a:pt x="140" y="396"/>
                  </a:lnTo>
                  <a:lnTo>
                    <a:pt x="139" y="396"/>
                  </a:lnTo>
                  <a:lnTo>
                    <a:pt x="138" y="395"/>
                  </a:lnTo>
                  <a:lnTo>
                    <a:pt x="136" y="394"/>
                  </a:lnTo>
                  <a:lnTo>
                    <a:pt x="135" y="392"/>
                  </a:lnTo>
                  <a:lnTo>
                    <a:pt x="133" y="391"/>
                  </a:lnTo>
                  <a:lnTo>
                    <a:pt x="131" y="390"/>
                  </a:lnTo>
                  <a:lnTo>
                    <a:pt x="130" y="388"/>
                  </a:lnTo>
                  <a:lnTo>
                    <a:pt x="129" y="387"/>
                  </a:lnTo>
                  <a:lnTo>
                    <a:pt x="128" y="386"/>
                  </a:lnTo>
                  <a:lnTo>
                    <a:pt x="128" y="386"/>
                  </a:lnTo>
                  <a:lnTo>
                    <a:pt x="127" y="385"/>
                  </a:lnTo>
                  <a:lnTo>
                    <a:pt x="127" y="384"/>
                  </a:lnTo>
                  <a:lnTo>
                    <a:pt x="127" y="384"/>
                  </a:lnTo>
                  <a:lnTo>
                    <a:pt x="126" y="382"/>
                  </a:lnTo>
                  <a:lnTo>
                    <a:pt x="125" y="380"/>
                  </a:lnTo>
                  <a:lnTo>
                    <a:pt x="125" y="379"/>
                  </a:lnTo>
                  <a:lnTo>
                    <a:pt x="125" y="379"/>
                  </a:lnTo>
                  <a:lnTo>
                    <a:pt x="125" y="378"/>
                  </a:lnTo>
                  <a:lnTo>
                    <a:pt x="125" y="378"/>
                  </a:lnTo>
                  <a:lnTo>
                    <a:pt x="124" y="377"/>
                  </a:lnTo>
                  <a:lnTo>
                    <a:pt x="124" y="377"/>
                  </a:lnTo>
                  <a:lnTo>
                    <a:pt x="123" y="377"/>
                  </a:lnTo>
                  <a:lnTo>
                    <a:pt x="123" y="376"/>
                  </a:lnTo>
                  <a:lnTo>
                    <a:pt x="122" y="376"/>
                  </a:lnTo>
                  <a:lnTo>
                    <a:pt x="121" y="376"/>
                  </a:lnTo>
                  <a:lnTo>
                    <a:pt x="120" y="376"/>
                  </a:lnTo>
                  <a:lnTo>
                    <a:pt x="120" y="376"/>
                  </a:lnTo>
                  <a:lnTo>
                    <a:pt x="119" y="375"/>
                  </a:lnTo>
                  <a:lnTo>
                    <a:pt x="119" y="375"/>
                  </a:lnTo>
                  <a:lnTo>
                    <a:pt x="118" y="374"/>
                  </a:lnTo>
                  <a:lnTo>
                    <a:pt x="117" y="373"/>
                  </a:lnTo>
                  <a:lnTo>
                    <a:pt x="116" y="372"/>
                  </a:lnTo>
                  <a:lnTo>
                    <a:pt x="115" y="372"/>
                  </a:lnTo>
                  <a:lnTo>
                    <a:pt x="115" y="371"/>
                  </a:lnTo>
                  <a:lnTo>
                    <a:pt x="114" y="371"/>
                  </a:lnTo>
                  <a:lnTo>
                    <a:pt x="113" y="371"/>
                  </a:lnTo>
                  <a:lnTo>
                    <a:pt x="110" y="370"/>
                  </a:lnTo>
                  <a:lnTo>
                    <a:pt x="110" y="370"/>
                  </a:lnTo>
                  <a:lnTo>
                    <a:pt x="109" y="370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9" y="369"/>
                  </a:lnTo>
                  <a:lnTo>
                    <a:pt x="108" y="368"/>
                  </a:lnTo>
                  <a:lnTo>
                    <a:pt x="108" y="368"/>
                  </a:lnTo>
                  <a:lnTo>
                    <a:pt x="108" y="367"/>
                  </a:lnTo>
                  <a:lnTo>
                    <a:pt x="107" y="367"/>
                  </a:lnTo>
                  <a:lnTo>
                    <a:pt x="107" y="366"/>
                  </a:lnTo>
                  <a:lnTo>
                    <a:pt x="106" y="366"/>
                  </a:lnTo>
                  <a:lnTo>
                    <a:pt x="105" y="365"/>
                  </a:lnTo>
                  <a:lnTo>
                    <a:pt x="104" y="365"/>
                  </a:lnTo>
                  <a:lnTo>
                    <a:pt x="103" y="363"/>
                  </a:lnTo>
                  <a:lnTo>
                    <a:pt x="102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99" y="361"/>
                  </a:lnTo>
                  <a:lnTo>
                    <a:pt x="98" y="361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67">
              <a:extLst>
                <a:ext uri="{FF2B5EF4-FFF2-40B4-BE49-F238E27FC236}">
                  <a16:creationId xmlns:a16="http://schemas.microsoft.com/office/drawing/2014/main" id="{D3CF1198-EB94-D448-4112-B93F9C123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3521"/>
              <a:ext cx="548" cy="464"/>
            </a:xfrm>
            <a:custGeom>
              <a:avLst/>
              <a:gdLst>
                <a:gd name="T0" fmla="*/ 232 w 548"/>
                <a:gd name="T1" fmla="*/ 1 h 464"/>
                <a:gd name="T2" fmla="*/ 256 w 548"/>
                <a:gd name="T3" fmla="*/ 4 h 464"/>
                <a:gd name="T4" fmla="*/ 282 w 548"/>
                <a:gd name="T5" fmla="*/ 14 h 464"/>
                <a:gd name="T6" fmla="*/ 268 w 548"/>
                <a:gd name="T7" fmla="*/ 21 h 464"/>
                <a:gd name="T8" fmla="*/ 266 w 548"/>
                <a:gd name="T9" fmla="*/ 36 h 464"/>
                <a:gd name="T10" fmla="*/ 289 w 548"/>
                <a:gd name="T11" fmla="*/ 43 h 464"/>
                <a:gd name="T12" fmla="*/ 280 w 548"/>
                <a:gd name="T13" fmla="*/ 61 h 464"/>
                <a:gd name="T14" fmla="*/ 290 w 548"/>
                <a:gd name="T15" fmla="*/ 88 h 464"/>
                <a:gd name="T16" fmla="*/ 284 w 548"/>
                <a:gd name="T17" fmla="*/ 99 h 464"/>
                <a:gd name="T18" fmla="*/ 305 w 548"/>
                <a:gd name="T19" fmla="*/ 108 h 464"/>
                <a:gd name="T20" fmla="*/ 316 w 548"/>
                <a:gd name="T21" fmla="*/ 88 h 464"/>
                <a:gd name="T22" fmla="*/ 304 w 548"/>
                <a:gd name="T23" fmla="*/ 70 h 464"/>
                <a:gd name="T24" fmla="*/ 316 w 548"/>
                <a:gd name="T25" fmla="*/ 60 h 464"/>
                <a:gd name="T26" fmla="*/ 334 w 548"/>
                <a:gd name="T27" fmla="*/ 72 h 464"/>
                <a:gd name="T28" fmla="*/ 344 w 548"/>
                <a:gd name="T29" fmla="*/ 94 h 464"/>
                <a:gd name="T30" fmla="*/ 355 w 548"/>
                <a:gd name="T31" fmla="*/ 106 h 464"/>
                <a:gd name="T32" fmla="*/ 361 w 548"/>
                <a:gd name="T33" fmla="*/ 107 h 464"/>
                <a:gd name="T34" fmla="*/ 364 w 548"/>
                <a:gd name="T35" fmla="*/ 126 h 464"/>
                <a:gd name="T36" fmla="*/ 387 w 548"/>
                <a:gd name="T37" fmla="*/ 141 h 464"/>
                <a:gd name="T38" fmla="*/ 389 w 548"/>
                <a:gd name="T39" fmla="*/ 181 h 464"/>
                <a:gd name="T40" fmla="*/ 394 w 548"/>
                <a:gd name="T41" fmla="*/ 205 h 464"/>
                <a:gd name="T42" fmla="*/ 407 w 548"/>
                <a:gd name="T43" fmla="*/ 209 h 464"/>
                <a:gd name="T44" fmla="*/ 395 w 548"/>
                <a:gd name="T45" fmla="*/ 227 h 464"/>
                <a:gd name="T46" fmla="*/ 383 w 548"/>
                <a:gd name="T47" fmla="*/ 245 h 464"/>
                <a:gd name="T48" fmla="*/ 396 w 548"/>
                <a:gd name="T49" fmla="*/ 250 h 464"/>
                <a:gd name="T50" fmla="*/ 417 w 548"/>
                <a:gd name="T51" fmla="*/ 254 h 464"/>
                <a:gd name="T52" fmla="*/ 423 w 548"/>
                <a:gd name="T53" fmla="*/ 270 h 464"/>
                <a:gd name="T54" fmla="*/ 451 w 548"/>
                <a:gd name="T55" fmla="*/ 280 h 464"/>
                <a:gd name="T56" fmla="*/ 459 w 548"/>
                <a:gd name="T57" fmla="*/ 294 h 464"/>
                <a:gd name="T58" fmla="*/ 481 w 548"/>
                <a:gd name="T59" fmla="*/ 304 h 464"/>
                <a:gd name="T60" fmla="*/ 508 w 548"/>
                <a:gd name="T61" fmla="*/ 304 h 464"/>
                <a:gd name="T62" fmla="*/ 517 w 548"/>
                <a:gd name="T63" fmla="*/ 317 h 464"/>
                <a:gd name="T64" fmla="*/ 541 w 548"/>
                <a:gd name="T65" fmla="*/ 337 h 464"/>
                <a:gd name="T66" fmla="*/ 536 w 548"/>
                <a:gd name="T67" fmla="*/ 357 h 464"/>
                <a:gd name="T68" fmla="*/ 517 w 548"/>
                <a:gd name="T69" fmla="*/ 367 h 464"/>
                <a:gd name="T70" fmla="*/ 499 w 548"/>
                <a:gd name="T71" fmla="*/ 360 h 464"/>
                <a:gd name="T72" fmla="*/ 475 w 548"/>
                <a:gd name="T73" fmla="*/ 367 h 464"/>
                <a:gd name="T74" fmla="*/ 455 w 548"/>
                <a:gd name="T75" fmla="*/ 365 h 464"/>
                <a:gd name="T76" fmla="*/ 423 w 548"/>
                <a:gd name="T77" fmla="*/ 347 h 464"/>
                <a:gd name="T78" fmla="*/ 398 w 548"/>
                <a:gd name="T79" fmla="*/ 357 h 464"/>
                <a:gd name="T80" fmla="*/ 379 w 548"/>
                <a:gd name="T81" fmla="*/ 383 h 464"/>
                <a:gd name="T82" fmla="*/ 351 w 548"/>
                <a:gd name="T83" fmla="*/ 429 h 464"/>
                <a:gd name="T84" fmla="*/ 340 w 548"/>
                <a:gd name="T85" fmla="*/ 460 h 464"/>
                <a:gd name="T86" fmla="*/ 331 w 548"/>
                <a:gd name="T87" fmla="*/ 461 h 464"/>
                <a:gd name="T88" fmla="*/ 325 w 548"/>
                <a:gd name="T89" fmla="*/ 426 h 464"/>
                <a:gd name="T90" fmla="*/ 311 w 548"/>
                <a:gd name="T91" fmla="*/ 421 h 464"/>
                <a:gd name="T92" fmla="*/ 275 w 548"/>
                <a:gd name="T93" fmla="*/ 417 h 464"/>
                <a:gd name="T94" fmla="*/ 257 w 548"/>
                <a:gd name="T95" fmla="*/ 413 h 464"/>
                <a:gd name="T96" fmla="*/ 251 w 548"/>
                <a:gd name="T97" fmla="*/ 398 h 464"/>
                <a:gd name="T98" fmla="*/ 231 w 548"/>
                <a:gd name="T99" fmla="*/ 391 h 464"/>
                <a:gd name="T100" fmla="*/ 205 w 548"/>
                <a:gd name="T101" fmla="*/ 382 h 464"/>
                <a:gd name="T102" fmla="*/ 182 w 548"/>
                <a:gd name="T103" fmla="*/ 389 h 464"/>
                <a:gd name="T104" fmla="*/ 162 w 548"/>
                <a:gd name="T105" fmla="*/ 417 h 464"/>
                <a:gd name="T106" fmla="*/ 148 w 548"/>
                <a:gd name="T107" fmla="*/ 415 h 464"/>
                <a:gd name="T108" fmla="*/ 121 w 548"/>
                <a:gd name="T109" fmla="*/ 414 h 464"/>
                <a:gd name="T110" fmla="*/ 73 w 548"/>
                <a:gd name="T111" fmla="*/ 410 h 464"/>
                <a:gd name="T112" fmla="*/ 35 w 548"/>
                <a:gd name="T113" fmla="*/ 387 h 464"/>
                <a:gd name="T114" fmla="*/ 27 w 548"/>
                <a:gd name="T115" fmla="*/ 376 h 464"/>
                <a:gd name="T116" fmla="*/ 15 w 548"/>
                <a:gd name="T117" fmla="*/ 369 h 464"/>
                <a:gd name="T118" fmla="*/ 2 w 548"/>
                <a:gd name="T119" fmla="*/ 36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464">
                  <a:moveTo>
                    <a:pt x="209" y="0"/>
                  </a:moveTo>
                  <a:lnTo>
                    <a:pt x="209" y="0"/>
                  </a:lnTo>
                  <a:lnTo>
                    <a:pt x="210" y="0"/>
                  </a:lnTo>
                  <a:lnTo>
                    <a:pt x="211" y="1"/>
                  </a:lnTo>
                  <a:lnTo>
                    <a:pt x="214" y="1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20" y="2"/>
                  </a:lnTo>
                  <a:lnTo>
                    <a:pt x="222" y="2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8" y="1"/>
                  </a:lnTo>
                  <a:lnTo>
                    <a:pt x="228" y="1"/>
                  </a:lnTo>
                  <a:lnTo>
                    <a:pt x="229" y="1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2" y="1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6" y="2"/>
                  </a:lnTo>
                  <a:lnTo>
                    <a:pt x="237" y="2"/>
                  </a:lnTo>
                  <a:lnTo>
                    <a:pt x="238" y="2"/>
                  </a:lnTo>
                  <a:lnTo>
                    <a:pt x="240" y="2"/>
                  </a:lnTo>
                  <a:lnTo>
                    <a:pt x="242" y="1"/>
                  </a:lnTo>
                  <a:lnTo>
                    <a:pt x="243" y="1"/>
                  </a:lnTo>
                  <a:lnTo>
                    <a:pt x="244" y="1"/>
                  </a:lnTo>
                  <a:lnTo>
                    <a:pt x="245" y="2"/>
                  </a:lnTo>
                  <a:lnTo>
                    <a:pt x="248" y="2"/>
                  </a:lnTo>
                  <a:lnTo>
                    <a:pt x="249" y="2"/>
                  </a:lnTo>
                  <a:lnTo>
                    <a:pt x="250" y="2"/>
                  </a:lnTo>
                  <a:lnTo>
                    <a:pt x="252" y="3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5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8" y="10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3" y="12"/>
                  </a:lnTo>
                  <a:lnTo>
                    <a:pt x="275" y="12"/>
                  </a:lnTo>
                  <a:lnTo>
                    <a:pt x="277" y="13"/>
                  </a:lnTo>
                  <a:lnTo>
                    <a:pt x="278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3" y="13"/>
                  </a:lnTo>
                  <a:lnTo>
                    <a:pt x="282" y="13"/>
                  </a:lnTo>
                  <a:lnTo>
                    <a:pt x="282" y="14"/>
                  </a:lnTo>
                  <a:lnTo>
                    <a:pt x="282" y="15"/>
                  </a:lnTo>
                  <a:lnTo>
                    <a:pt x="281" y="16"/>
                  </a:lnTo>
                  <a:lnTo>
                    <a:pt x="281" y="17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8" y="22"/>
                  </a:lnTo>
                  <a:lnTo>
                    <a:pt x="278" y="23"/>
                  </a:lnTo>
                  <a:lnTo>
                    <a:pt x="278" y="23"/>
                  </a:lnTo>
                  <a:lnTo>
                    <a:pt x="277" y="23"/>
                  </a:lnTo>
                  <a:lnTo>
                    <a:pt x="276" y="23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7" y="21"/>
                  </a:lnTo>
                  <a:lnTo>
                    <a:pt x="267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5" y="25"/>
                  </a:lnTo>
                  <a:lnTo>
                    <a:pt x="265" y="26"/>
                  </a:lnTo>
                  <a:lnTo>
                    <a:pt x="265" y="27"/>
                  </a:lnTo>
                  <a:lnTo>
                    <a:pt x="266" y="30"/>
                  </a:lnTo>
                  <a:lnTo>
                    <a:pt x="266" y="31"/>
                  </a:lnTo>
                  <a:lnTo>
                    <a:pt x="266" y="32"/>
                  </a:lnTo>
                  <a:lnTo>
                    <a:pt x="266" y="34"/>
                  </a:lnTo>
                  <a:lnTo>
                    <a:pt x="266" y="35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37"/>
                  </a:lnTo>
                  <a:lnTo>
                    <a:pt x="266" y="37"/>
                  </a:lnTo>
                  <a:lnTo>
                    <a:pt x="267" y="37"/>
                  </a:lnTo>
                  <a:lnTo>
                    <a:pt x="267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40"/>
                  </a:lnTo>
                  <a:lnTo>
                    <a:pt x="278" y="41"/>
                  </a:lnTo>
                  <a:lnTo>
                    <a:pt x="280" y="42"/>
                  </a:lnTo>
                  <a:lnTo>
                    <a:pt x="282" y="42"/>
                  </a:lnTo>
                  <a:lnTo>
                    <a:pt x="283" y="42"/>
                  </a:lnTo>
                  <a:lnTo>
                    <a:pt x="285" y="42"/>
                  </a:lnTo>
                  <a:lnTo>
                    <a:pt x="287" y="43"/>
                  </a:lnTo>
                  <a:lnTo>
                    <a:pt x="288" y="43"/>
                  </a:lnTo>
                  <a:lnTo>
                    <a:pt x="288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8" y="45"/>
                  </a:lnTo>
                  <a:lnTo>
                    <a:pt x="287" y="45"/>
                  </a:lnTo>
                  <a:lnTo>
                    <a:pt x="287" y="46"/>
                  </a:lnTo>
                  <a:lnTo>
                    <a:pt x="286" y="47"/>
                  </a:lnTo>
                  <a:lnTo>
                    <a:pt x="285" y="47"/>
                  </a:lnTo>
                  <a:lnTo>
                    <a:pt x="285" y="48"/>
                  </a:lnTo>
                  <a:lnTo>
                    <a:pt x="283" y="50"/>
                  </a:lnTo>
                  <a:lnTo>
                    <a:pt x="283" y="51"/>
                  </a:lnTo>
                  <a:lnTo>
                    <a:pt x="281" y="54"/>
                  </a:lnTo>
                  <a:lnTo>
                    <a:pt x="280" y="55"/>
                  </a:lnTo>
                  <a:lnTo>
                    <a:pt x="280" y="56"/>
                  </a:lnTo>
                  <a:lnTo>
                    <a:pt x="280" y="58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0" y="62"/>
                  </a:lnTo>
                  <a:lnTo>
                    <a:pt x="280" y="64"/>
                  </a:lnTo>
                  <a:lnTo>
                    <a:pt x="280" y="65"/>
                  </a:lnTo>
                  <a:lnTo>
                    <a:pt x="281" y="68"/>
                  </a:lnTo>
                  <a:lnTo>
                    <a:pt x="282" y="72"/>
                  </a:lnTo>
                  <a:lnTo>
                    <a:pt x="283" y="75"/>
                  </a:lnTo>
                  <a:lnTo>
                    <a:pt x="283" y="76"/>
                  </a:lnTo>
                  <a:lnTo>
                    <a:pt x="284" y="77"/>
                  </a:lnTo>
                  <a:lnTo>
                    <a:pt x="284" y="78"/>
                  </a:lnTo>
                  <a:lnTo>
                    <a:pt x="285" y="79"/>
                  </a:lnTo>
                  <a:lnTo>
                    <a:pt x="287" y="82"/>
                  </a:lnTo>
                  <a:lnTo>
                    <a:pt x="288" y="83"/>
                  </a:lnTo>
                  <a:lnTo>
                    <a:pt x="288" y="84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90" y="87"/>
                  </a:lnTo>
                  <a:lnTo>
                    <a:pt x="290" y="88"/>
                  </a:lnTo>
                  <a:lnTo>
                    <a:pt x="289" y="88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89" y="90"/>
                  </a:lnTo>
                  <a:lnTo>
                    <a:pt x="288" y="90"/>
                  </a:lnTo>
                  <a:lnTo>
                    <a:pt x="286" y="92"/>
                  </a:lnTo>
                  <a:lnTo>
                    <a:pt x="285" y="93"/>
                  </a:lnTo>
                  <a:lnTo>
                    <a:pt x="285" y="93"/>
                  </a:lnTo>
                  <a:lnTo>
                    <a:pt x="285" y="94"/>
                  </a:lnTo>
                  <a:lnTo>
                    <a:pt x="285" y="94"/>
                  </a:lnTo>
                  <a:lnTo>
                    <a:pt x="284" y="95"/>
                  </a:lnTo>
                  <a:lnTo>
                    <a:pt x="284" y="96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4" y="99"/>
                  </a:lnTo>
                  <a:lnTo>
                    <a:pt x="284" y="9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8" y="103"/>
                  </a:lnTo>
                  <a:lnTo>
                    <a:pt x="290" y="104"/>
                  </a:lnTo>
                  <a:lnTo>
                    <a:pt x="293" y="107"/>
                  </a:lnTo>
                  <a:lnTo>
                    <a:pt x="295" y="108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9" y="110"/>
                  </a:lnTo>
                  <a:lnTo>
                    <a:pt x="300" y="110"/>
                  </a:lnTo>
                  <a:lnTo>
                    <a:pt x="301" y="110"/>
                  </a:lnTo>
                  <a:lnTo>
                    <a:pt x="302" y="110"/>
                  </a:lnTo>
                  <a:lnTo>
                    <a:pt x="303" y="109"/>
                  </a:lnTo>
                  <a:lnTo>
                    <a:pt x="304" y="109"/>
                  </a:lnTo>
                  <a:lnTo>
                    <a:pt x="305" y="108"/>
                  </a:lnTo>
                  <a:lnTo>
                    <a:pt x="306" y="107"/>
                  </a:lnTo>
                  <a:lnTo>
                    <a:pt x="307" y="106"/>
                  </a:lnTo>
                  <a:lnTo>
                    <a:pt x="309" y="105"/>
                  </a:lnTo>
                  <a:lnTo>
                    <a:pt x="309" y="104"/>
                  </a:lnTo>
                  <a:lnTo>
                    <a:pt x="310" y="103"/>
                  </a:lnTo>
                  <a:lnTo>
                    <a:pt x="311" y="102"/>
                  </a:lnTo>
                  <a:lnTo>
                    <a:pt x="311" y="100"/>
                  </a:lnTo>
                  <a:lnTo>
                    <a:pt x="312" y="97"/>
                  </a:lnTo>
                  <a:lnTo>
                    <a:pt x="313" y="95"/>
                  </a:lnTo>
                  <a:lnTo>
                    <a:pt x="314" y="94"/>
                  </a:lnTo>
                  <a:lnTo>
                    <a:pt x="315" y="92"/>
                  </a:lnTo>
                  <a:lnTo>
                    <a:pt x="316" y="91"/>
                  </a:lnTo>
                  <a:lnTo>
                    <a:pt x="316" y="91"/>
                  </a:lnTo>
                  <a:lnTo>
                    <a:pt x="316" y="90"/>
                  </a:lnTo>
                  <a:lnTo>
                    <a:pt x="316" y="90"/>
                  </a:lnTo>
                  <a:lnTo>
                    <a:pt x="316" y="89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5" y="86"/>
                  </a:lnTo>
                  <a:lnTo>
                    <a:pt x="315" y="85"/>
                  </a:lnTo>
                  <a:lnTo>
                    <a:pt x="314" y="83"/>
                  </a:lnTo>
                  <a:lnTo>
                    <a:pt x="313" y="82"/>
                  </a:lnTo>
                  <a:lnTo>
                    <a:pt x="313" y="81"/>
                  </a:lnTo>
                  <a:lnTo>
                    <a:pt x="312" y="80"/>
                  </a:lnTo>
                  <a:lnTo>
                    <a:pt x="312" y="79"/>
                  </a:lnTo>
                  <a:lnTo>
                    <a:pt x="312" y="78"/>
                  </a:lnTo>
                  <a:lnTo>
                    <a:pt x="311" y="77"/>
                  </a:lnTo>
                  <a:lnTo>
                    <a:pt x="311" y="77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4" y="70"/>
                  </a:lnTo>
                  <a:lnTo>
                    <a:pt x="304" y="69"/>
                  </a:lnTo>
                  <a:lnTo>
                    <a:pt x="303" y="69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8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04" y="67"/>
                  </a:lnTo>
                  <a:lnTo>
                    <a:pt x="305" y="65"/>
                  </a:lnTo>
                  <a:lnTo>
                    <a:pt x="307" y="64"/>
                  </a:lnTo>
                  <a:lnTo>
                    <a:pt x="308" y="63"/>
                  </a:lnTo>
                  <a:lnTo>
                    <a:pt x="309" y="62"/>
                  </a:lnTo>
                  <a:lnTo>
                    <a:pt x="311" y="61"/>
                  </a:lnTo>
                  <a:lnTo>
                    <a:pt x="312" y="60"/>
                  </a:lnTo>
                  <a:lnTo>
                    <a:pt x="314" y="60"/>
                  </a:lnTo>
                  <a:lnTo>
                    <a:pt x="315" y="60"/>
                  </a:lnTo>
                  <a:lnTo>
                    <a:pt x="316" y="60"/>
                  </a:lnTo>
                  <a:lnTo>
                    <a:pt x="317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2" y="61"/>
                  </a:lnTo>
                  <a:lnTo>
                    <a:pt x="324" y="61"/>
                  </a:lnTo>
                  <a:lnTo>
                    <a:pt x="325" y="61"/>
                  </a:lnTo>
                  <a:lnTo>
                    <a:pt x="326" y="62"/>
                  </a:lnTo>
                  <a:lnTo>
                    <a:pt x="326" y="62"/>
                  </a:lnTo>
                  <a:lnTo>
                    <a:pt x="327" y="63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29" y="66"/>
                  </a:lnTo>
                  <a:lnTo>
                    <a:pt x="330" y="67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2" y="71"/>
                  </a:lnTo>
                  <a:lnTo>
                    <a:pt x="334" y="72"/>
                  </a:lnTo>
                  <a:lnTo>
                    <a:pt x="334" y="73"/>
                  </a:lnTo>
                  <a:lnTo>
                    <a:pt x="335" y="74"/>
                  </a:lnTo>
                  <a:lnTo>
                    <a:pt x="336" y="75"/>
                  </a:lnTo>
                  <a:lnTo>
                    <a:pt x="336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8" y="80"/>
                  </a:lnTo>
                  <a:lnTo>
                    <a:pt x="339" y="81"/>
                  </a:lnTo>
                  <a:lnTo>
                    <a:pt x="340" y="83"/>
                  </a:lnTo>
                  <a:lnTo>
                    <a:pt x="341" y="87"/>
                  </a:lnTo>
                  <a:lnTo>
                    <a:pt x="341" y="90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3" y="92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7" y="96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9" y="100"/>
                  </a:lnTo>
                  <a:lnTo>
                    <a:pt x="349" y="101"/>
                  </a:lnTo>
                  <a:lnTo>
                    <a:pt x="350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4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7" y="106"/>
                  </a:lnTo>
                  <a:lnTo>
                    <a:pt x="357" y="105"/>
                  </a:lnTo>
                  <a:lnTo>
                    <a:pt x="358" y="104"/>
                  </a:lnTo>
                  <a:lnTo>
                    <a:pt x="358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60" y="103"/>
                  </a:lnTo>
                  <a:lnTo>
                    <a:pt x="360" y="103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5"/>
                  </a:lnTo>
                  <a:lnTo>
                    <a:pt x="361" y="107"/>
                  </a:lnTo>
                  <a:lnTo>
                    <a:pt x="360" y="108"/>
                  </a:lnTo>
                  <a:lnTo>
                    <a:pt x="360" y="110"/>
                  </a:lnTo>
                  <a:lnTo>
                    <a:pt x="360" y="111"/>
                  </a:lnTo>
                  <a:lnTo>
                    <a:pt x="360" y="113"/>
                  </a:lnTo>
                  <a:lnTo>
                    <a:pt x="359" y="116"/>
                  </a:lnTo>
                  <a:lnTo>
                    <a:pt x="359" y="119"/>
                  </a:lnTo>
                  <a:lnTo>
                    <a:pt x="358" y="121"/>
                  </a:lnTo>
                  <a:lnTo>
                    <a:pt x="358" y="121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59" y="123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1" y="125"/>
                  </a:lnTo>
                  <a:lnTo>
                    <a:pt x="364" y="126"/>
                  </a:lnTo>
                  <a:lnTo>
                    <a:pt x="365" y="127"/>
                  </a:lnTo>
                  <a:lnTo>
                    <a:pt x="367" y="128"/>
                  </a:lnTo>
                  <a:lnTo>
                    <a:pt x="369" y="128"/>
                  </a:lnTo>
                  <a:lnTo>
                    <a:pt x="371" y="129"/>
                  </a:lnTo>
                  <a:lnTo>
                    <a:pt x="374" y="130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9" y="132"/>
                  </a:lnTo>
                  <a:lnTo>
                    <a:pt x="380" y="133"/>
                  </a:lnTo>
                  <a:lnTo>
                    <a:pt x="381" y="134"/>
                  </a:lnTo>
                  <a:lnTo>
                    <a:pt x="384" y="136"/>
                  </a:lnTo>
                  <a:lnTo>
                    <a:pt x="385" y="137"/>
                  </a:lnTo>
                  <a:lnTo>
                    <a:pt x="386" y="138"/>
                  </a:lnTo>
                  <a:lnTo>
                    <a:pt x="386" y="138"/>
                  </a:lnTo>
                  <a:lnTo>
                    <a:pt x="387" y="139"/>
                  </a:lnTo>
                  <a:lnTo>
                    <a:pt x="387" y="140"/>
                  </a:lnTo>
                  <a:lnTo>
                    <a:pt x="387" y="141"/>
                  </a:lnTo>
                  <a:lnTo>
                    <a:pt x="389" y="146"/>
                  </a:lnTo>
                  <a:lnTo>
                    <a:pt x="390" y="149"/>
                  </a:lnTo>
                  <a:lnTo>
                    <a:pt x="390" y="150"/>
                  </a:lnTo>
                  <a:lnTo>
                    <a:pt x="392" y="153"/>
                  </a:lnTo>
                  <a:lnTo>
                    <a:pt x="394" y="158"/>
                  </a:lnTo>
                  <a:lnTo>
                    <a:pt x="394" y="160"/>
                  </a:lnTo>
                  <a:lnTo>
                    <a:pt x="390" y="166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1"/>
                  </a:lnTo>
                  <a:lnTo>
                    <a:pt x="388" y="172"/>
                  </a:lnTo>
                  <a:lnTo>
                    <a:pt x="388" y="173"/>
                  </a:lnTo>
                  <a:lnTo>
                    <a:pt x="388" y="174"/>
                  </a:lnTo>
                  <a:lnTo>
                    <a:pt x="388" y="175"/>
                  </a:lnTo>
                  <a:lnTo>
                    <a:pt x="388" y="176"/>
                  </a:lnTo>
                  <a:lnTo>
                    <a:pt x="389" y="179"/>
                  </a:lnTo>
                  <a:lnTo>
                    <a:pt x="389" y="181"/>
                  </a:lnTo>
                  <a:lnTo>
                    <a:pt x="389" y="182"/>
                  </a:lnTo>
                  <a:lnTo>
                    <a:pt x="389" y="186"/>
                  </a:lnTo>
                  <a:lnTo>
                    <a:pt x="389" y="187"/>
                  </a:lnTo>
                  <a:lnTo>
                    <a:pt x="390" y="188"/>
                  </a:lnTo>
                  <a:lnTo>
                    <a:pt x="390" y="189"/>
                  </a:lnTo>
                  <a:lnTo>
                    <a:pt x="391" y="191"/>
                  </a:lnTo>
                  <a:lnTo>
                    <a:pt x="393" y="195"/>
                  </a:lnTo>
                  <a:lnTo>
                    <a:pt x="394" y="198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200"/>
                  </a:lnTo>
                  <a:lnTo>
                    <a:pt x="394" y="201"/>
                  </a:lnTo>
                  <a:lnTo>
                    <a:pt x="394" y="202"/>
                  </a:lnTo>
                  <a:lnTo>
                    <a:pt x="394" y="203"/>
                  </a:lnTo>
                  <a:lnTo>
                    <a:pt x="394" y="204"/>
                  </a:lnTo>
                  <a:lnTo>
                    <a:pt x="394" y="204"/>
                  </a:lnTo>
                  <a:lnTo>
                    <a:pt x="394" y="205"/>
                  </a:lnTo>
                  <a:lnTo>
                    <a:pt x="395" y="205"/>
                  </a:lnTo>
                  <a:lnTo>
                    <a:pt x="395" y="205"/>
                  </a:lnTo>
                  <a:lnTo>
                    <a:pt x="396" y="205"/>
                  </a:lnTo>
                  <a:lnTo>
                    <a:pt x="397" y="205"/>
                  </a:lnTo>
                  <a:lnTo>
                    <a:pt x="399" y="205"/>
                  </a:lnTo>
                  <a:lnTo>
                    <a:pt x="401" y="205"/>
                  </a:lnTo>
                  <a:lnTo>
                    <a:pt x="402" y="205"/>
                  </a:lnTo>
                  <a:lnTo>
                    <a:pt x="403" y="205"/>
                  </a:lnTo>
                  <a:lnTo>
                    <a:pt x="404" y="205"/>
                  </a:lnTo>
                  <a:lnTo>
                    <a:pt x="405" y="205"/>
                  </a:lnTo>
                  <a:lnTo>
                    <a:pt x="405" y="205"/>
                  </a:lnTo>
                  <a:lnTo>
                    <a:pt x="406" y="206"/>
                  </a:lnTo>
                  <a:lnTo>
                    <a:pt x="406" y="206"/>
                  </a:lnTo>
                  <a:lnTo>
                    <a:pt x="406" y="207"/>
                  </a:lnTo>
                  <a:lnTo>
                    <a:pt x="407" y="207"/>
                  </a:lnTo>
                  <a:lnTo>
                    <a:pt x="407" y="208"/>
                  </a:lnTo>
                  <a:lnTo>
                    <a:pt x="407" y="209"/>
                  </a:lnTo>
                  <a:lnTo>
                    <a:pt x="407" y="210"/>
                  </a:lnTo>
                  <a:lnTo>
                    <a:pt x="407" y="211"/>
                  </a:lnTo>
                  <a:lnTo>
                    <a:pt x="407" y="212"/>
                  </a:lnTo>
                  <a:lnTo>
                    <a:pt x="406" y="213"/>
                  </a:lnTo>
                  <a:lnTo>
                    <a:pt x="406" y="214"/>
                  </a:lnTo>
                  <a:lnTo>
                    <a:pt x="405" y="216"/>
                  </a:lnTo>
                  <a:lnTo>
                    <a:pt x="405" y="217"/>
                  </a:lnTo>
                  <a:lnTo>
                    <a:pt x="404" y="218"/>
                  </a:lnTo>
                  <a:lnTo>
                    <a:pt x="404" y="219"/>
                  </a:lnTo>
                  <a:lnTo>
                    <a:pt x="403" y="220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1" y="222"/>
                  </a:lnTo>
                  <a:lnTo>
                    <a:pt x="399" y="224"/>
                  </a:lnTo>
                  <a:lnTo>
                    <a:pt x="397" y="226"/>
                  </a:lnTo>
                  <a:lnTo>
                    <a:pt x="396" y="226"/>
                  </a:lnTo>
                  <a:lnTo>
                    <a:pt x="395" y="227"/>
                  </a:lnTo>
                  <a:lnTo>
                    <a:pt x="394" y="227"/>
                  </a:lnTo>
                  <a:lnTo>
                    <a:pt x="394" y="229"/>
                  </a:lnTo>
                  <a:lnTo>
                    <a:pt x="393" y="230"/>
                  </a:lnTo>
                  <a:lnTo>
                    <a:pt x="392" y="231"/>
                  </a:lnTo>
                  <a:lnTo>
                    <a:pt x="390" y="235"/>
                  </a:lnTo>
                  <a:lnTo>
                    <a:pt x="389" y="236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7" y="239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4" y="241"/>
                  </a:lnTo>
                  <a:lnTo>
                    <a:pt x="384" y="242"/>
                  </a:lnTo>
                  <a:lnTo>
                    <a:pt x="384" y="243"/>
                  </a:lnTo>
                  <a:lnTo>
                    <a:pt x="383" y="244"/>
                  </a:lnTo>
                  <a:lnTo>
                    <a:pt x="383" y="245"/>
                  </a:lnTo>
                  <a:lnTo>
                    <a:pt x="383" y="246"/>
                  </a:lnTo>
                  <a:lnTo>
                    <a:pt x="383" y="247"/>
                  </a:lnTo>
                  <a:lnTo>
                    <a:pt x="384" y="249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5" y="251"/>
                  </a:lnTo>
                  <a:lnTo>
                    <a:pt x="385" y="251"/>
                  </a:lnTo>
                  <a:lnTo>
                    <a:pt x="386" y="251"/>
                  </a:lnTo>
                  <a:lnTo>
                    <a:pt x="387" y="251"/>
                  </a:lnTo>
                  <a:lnTo>
                    <a:pt x="388" y="252"/>
                  </a:lnTo>
                  <a:lnTo>
                    <a:pt x="389" y="252"/>
                  </a:lnTo>
                  <a:lnTo>
                    <a:pt x="390" y="251"/>
                  </a:lnTo>
                  <a:lnTo>
                    <a:pt x="391" y="251"/>
                  </a:lnTo>
                  <a:lnTo>
                    <a:pt x="392" y="251"/>
                  </a:lnTo>
                  <a:lnTo>
                    <a:pt x="394" y="251"/>
                  </a:lnTo>
                  <a:lnTo>
                    <a:pt x="396" y="250"/>
                  </a:lnTo>
                  <a:lnTo>
                    <a:pt x="403" y="247"/>
                  </a:lnTo>
                  <a:lnTo>
                    <a:pt x="405" y="247"/>
                  </a:lnTo>
                  <a:lnTo>
                    <a:pt x="406" y="246"/>
                  </a:lnTo>
                  <a:lnTo>
                    <a:pt x="407" y="246"/>
                  </a:lnTo>
                  <a:lnTo>
                    <a:pt x="408" y="246"/>
                  </a:lnTo>
                  <a:lnTo>
                    <a:pt x="409" y="246"/>
                  </a:lnTo>
                  <a:lnTo>
                    <a:pt x="410" y="246"/>
                  </a:lnTo>
                  <a:lnTo>
                    <a:pt x="411" y="246"/>
                  </a:lnTo>
                  <a:lnTo>
                    <a:pt x="411" y="246"/>
                  </a:lnTo>
                  <a:lnTo>
                    <a:pt x="412" y="247"/>
                  </a:lnTo>
                  <a:lnTo>
                    <a:pt x="412" y="247"/>
                  </a:lnTo>
                  <a:lnTo>
                    <a:pt x="413" y="248"/>
                  </a:lnTo>
                  <a:lnTo>
                    <a:pt x="413" y="249"/>
                  </a:lnTo>
                  <a:lnTo>
                    <a:pt x="415" y="250"/>
                  </a:lnTo>
                  <a:lnTo>
                    <a:pt x="416" y="252"/>
                  </a:lnTo>
                  <a:lnTo>
                    <a:pt x="416" y="253"/>
                  </a:lnTo>
                  <a:lnTo>
                    <a:pt x="417" y="254"/>
                  </a:lnTo>
                  <a:lnTo>
                    <a:pt x="417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59"/>
                  </a:lnTo>
                  <a:lnTo>
                    <a:pt x="417" y="260"/>
                  </a:lnTo>
                  <a:lnTo>
                    <a:pt x="417" y="264"/>
                  </a:lnTo>
                  <a:lnTo>
                    <a:pt x="417" y="265"/>
                  </a:lnTo>
                  <a:lnTo>
                    <a:pt x="417" y="266"/>
                  </a:lnTo>
                  <a:lnTo>
                    <a:pt x="417" y="267"/>
                  </a:lnTo>
                  <a:lnTo>
                    <a:pt x="417" y="267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8" y="268"/>
                  </a:lnTo>
                  <a:lnTo>
                    <a:pt x="419" y="269"/>
                  </a:lnTo>
                  <a:lnTo>
                    <a:pt x="422" y="269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4" y="270"/>
                  </a:lnTo>
                  <a:lnTo>
                    <a:pt x="426" y="271"/>
                  </a:lnTo>
                  <a:lnTo>
                    <a:pt x="428" y="272"/>
                  </a:lnTo>
                  <a:lnTo>
                    <a:pt x="428" y="272"/>
                  </a:lnTo>
                  <a:lnTo>
                    <a:pt x="429" y="273"/>
                  </a:lnTo>
                  <a:lnTo>
                    <a:pt x="430" y="273"/>
                  </a:lnTo>
                  <a:lnTo>
                    <a:pt x="431" y="274"/>
                  </a:lnTo>
                  <a:lnTo>
                    <a:pt x="433" y="276"/>
                  </a:lnTo>
                  <a:lnTo>
                    <a:pt x="433" y="276"/>
                  </a:lnTo>
                  <a:lnTo>
                    <a:pt x="434" y="277"/>
                  </a:lnTo>
                  <a:lnTo>
                    <a:pt x="435" y="277"/>
                  </a:lnTo>
                  <a:lnTo>
                    <a:pt x="435" y="277"/>
                  </a:lnTo>
                  <a:lnTo>
                    <a:pt x="437" y="278"/>
                  </a:lnTo>
                  <a:lnTo>
                    <a:pt x="442" y="278"/>
                  </a:lnTo>
                  <a:lnTo>
                    <a:pt x="445" y="279"/>
                  </a:lnTo>
                  <a:lnTo>
                    <a:pt x="450" y="280"/>
                  </a:lnTo>
                  <a:lnTo>
                    <a:pt x="451" y="280"/>
                  </a:lnTo>
                  <a:lnTo>
                    <a:pt x="452" y="280"/>
                  </a:lnTo>
                  <a:lnTo>
                    <a:pt x="452" y="281"/>
                  </a:lnTo>
                  <a:lnTo>
                    <a:pt x="453" y="281"/>
                  </a:lnTo>
                  <a:lnTo>
                    <a:pt x="455" y="282"/>
                  </a:lnTo>
                  <a:lnTo>
                    <a:pt x="456" y="283"/>
                  </a:lnTo>
                  <a:lnTo>
                    <a:pt x="456" y="284"/>
                  </a:lnTo>
                  <a:lnTo>
                    <a:pt x="457" y="284"/>
                  </a:lnTo>
                  <a:lnTo>
                    <a:pt x="457" y="284"/>
                  </a:lnTo>
                  <a:lnTo>
                    <a:pt x="457" y="285"/>
                  </a:lnTo>
                  <a:lnTo>
                    <a:pt x="457" y="287"/>
                  </a:lnTo>
                  <a:lnTo>
                    <a:pt x="458" y="288"/>
                  </a:lnTo>
                  <a:lnTo>
                    <a:pt x="458" y="291"/>
                  </a:lnTo>
                  <a:lnTo>
                    <a:pt x="458" y="292"/>
                  </a:lnTo>
                  <a:lnTo>
                    <a:pt x="458" y="292"/>
                  </a:lnTo>
                  <a:lnTo>
                    <a:pt x="459" y="293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60" y="294"/>
                  </a:lnTo>
                  <a:lnTo>
                    <a:pt x="460" y="294"/>
                  </a:lnTo>
                  <a:lnTo>
                    <a:pt x="461" y="295"/>
                  </a:lnTo>
                  <a:lnTo>
                    <a:pt x="462" y="295"/>
                  </a:lnTo>
                  <a:lnTo>
                    <a:pt x="464" y="295"/>
                  </a:lnTo>
                  <a:lnTo>
                    <a:pt x="466" y="295"/>
                  </a:lnTo>
                  <a:lnTo>
                    <a:pt x="467" y="296"/>
                  </a:lnTo>
                  <a:lnTo>
                    <a:pt x="468" y="296"/>
                  </a:lnTo>
                  <a:lnTo>
                    <a:pt x="469" y="296"/>
                  </a:lnTo>
                  <a:lnTo>
                    <a:pt x="469" y="297"/>
                  </a:lnTo>
                  <a:lnTo>
                    <a:pt x="470" y="297"/>
                  </a:lnTo>
                  <a:lnTo>
                    <a:pt x="476" y="301"/>
                  </a:lnTo>
                  <a:lnTo>
                    <a:pt x="477" y="302"/>
                  </a:lnTo>
                  <a:lnTo>
                    <a:pt x="478" y="303"/>
                  </a:lnTo>
                  <a:lnTo>
                    <a:pt x="480" y="304"/>
                  </a:lnTo>
                  <a:lnTo>
                    <a:pt x="481" y="304"/>
                  </a:lnTo>
                  <a:lnTo>
                    <a:pt x="481" y="304"/>
                  </a:lnTo>
                  <a:lnTo>
                    <a:pt x="482" y="304"/>
                  </a:lnTo>
                  <a:lnTo>
                    <a:pt x="483" y="305"/>
                  </a:lnTo>
                  <a:lnTo>
                    <a:pt x="484" y="304"/>
                  </a:lnTo>
                  <a:lnTo>
                    <a:pt x="485" y="304"/>
                  </a:lnTo>
                  <a:lnTo>
                    <a:pt x="486" y="304"/>
                  </a:lnTo>
                  <a:lnTo>
                    <a:pt x="490" y="303"/>
                  </a:lnTo>
                  <a:lnTo>
                    <a:pt x="492" y="303"/>
                  </a:lnTo>
                  <a:lnTo>
                    <a:pt x="493" y="303"/>
                  </a:lnTo>
                  <a:lnTo>
                    <a:pt x="496" y="303"/>
                  </a:lnTo>
                  <a:lnTo>
                    <a:pt x="500" y="302"/>
                  </a:lnTo>
                  <a:lnTo>
                    <a:pt x="500" y="302"/>
                  </a:lnTo>
                  <a:lnTo>
                    <a:pt x="501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3" y="303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9" y="305"/>
                  </a:lnTo>
                  <a:lnTo>
                    <a:pt x="510" y="305"/>
                  </a:lnTo>
                  <a:lnTo>
                    <a:pt x="511" y="306"/>
                  </a:lnTo>
                  <a:lnTo>
                    <a:pt x="513" y="307"/>
                  </a:lnTo>
                  <a:lnTo>
                    <a:pt x="514" y="308"/>
                  </a:lnTo>
                  <a:lnTo>
                    <a:pt x="514" y="308"/>
                  </a:lnTo>
                  <a:lnTo>
                    <a:pt x="514" y="309"/>
                  </a:lnTo>
                  <a:lnTo>
                    <a:pt x="515" y="309"/>
                  </a:lnTo>
                  <a:lnTo>
                    <a:pt x="515" y="310"/>
                  </a:lnTo>
                  <a:lnTo>
                    <a:pt x="515" y="310"/>
                  </a:lnTo>
                  <a:lnTo>
                    <a:pt x="515" y="311"/>
                  </a:lnTo>
                  <a:lnTo>
                    <a:pt x="516" y="312"/>
                  </a:lnTo>
                  <a:lnTo>
                    <a:pt x="516" y="313"/>
                  </a:lnTo>
                  <a:lnTo>
                    <a:pt x="516" y="315"/>
                  </a:lnTo>
                  <a:lnTo>
                    <a:pt x="516" y="316"/>
                  </a:lnTo>
                  <a:lnTo>
                    <a:pt x="516" y="317"/>
                  </a:lnTo>
                  <a:lnTo>
                    <a:pt x="517" y="317"/>
                  </a:lnTo>
                  <a:lnTo>
                    <a:pt x="517" y="318"/>
                  </a:lnTo>
                  <a:lnTo>
                    <a:pt x="517" y="318"/>
                  </a:lnTo>
                  <a:lnTo>
                    <a:pt x="518" y="319"/>
                  </a:lnTo>
                  <a:lnTo>
                    <a:pt x="518" y="319"/>
                  </a:lnTo>
                  <a:lnTo>
                    <a:pt x="519" y="319"/>
                  </a:lnTo>
                  <a:lnTo>
                    <a:pt x="520" y="320"/>
                  </a:lnTo>
                  <a:lnTo>
                    <a:pt x="522" y="321"/>
                  </a:lnTo>
                  <a:lnTo>
                    <a:pt x="523" y="321"/>
                  </a:lnTo>
                  <a:lnTo>
                    <a:pt x="530" y="324"/>
                  </a:lnTo>
                  <a:lnTo>
                    <a:pt x="531" y="325"/>
                  </a:lnTo>
                  <a:lnTo>
                    <a:pt x="532" y="326"/>
                  </a:lnTo>
                  <a:lnTo>
                    <a:pt x="533" y="327"/>
                  </a:lnTo>
                  <a:lnTo>
                    <a:pt x="534" y="328"/>
                  </a:lnTo>
                  <a:lnTo>
                    <a:pt x="536" y="329"/>
                  </a:lnTo>
                  <a:lnTo>
                    <a:pt x="537" y="330"/>
                  </a:lnTo>
                  <a:lnTo>
                    <a:pt x="538" y="332"/>
                  </a:lnTo>
                  <a:lnTo>
                    <a:pt x="541" y="337"/>
                  </a:lnTo>
                  <a:lnTo>
                    <a:pt x="544" y="340"/>
                  </a:lnTo>
                  <a:lnTo>
                    <a:pt x="544" y="341"/>
                  </a:lnTo>
                  <a:lnTo>
                    <a:pt x="545" y="342"/>
                  </a:lnTo>
                  <a:lnTo>
                    <a:pt x="545" y="343"/>
                  </a:lnTo>
                  <a:lnTo>
                    <a:pt x="547" y="346"/>
                  </a:lnTo>
                  <a:lnTo>
                    <a:pt x="547" y="348"/>
                  </a:lnTo>
                  <a:lnTo>
                    <a:pt x="548" y="349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8" y="350"/>
                  </a:lnTo>
                  <a:lnTo>
                    <a:pt x="547" y="350"/>
                  </a:lnTo>
                  <a:lnTo>
                    <a:pt x="547" y="350"/>
                  </a:lnTo>
                  <a:lnTo>
                    <a:pt x="546" y="350"/>
                  </a:lnTo>
                  <a:lnTo>
                    <a:pt x="544" y="351"/>
                  </a:lnTo>
                  <a:lnTo>
                    <a:pt x="541" y="354"/>
                  </a:lnTo>
                  <a:lnTo>
                    <a:pt x="536" y="357"/>
                  </a:lnTo>
                  <a:lnTo>
                    <a:pt x="535" y="358"/>
                  </a:lnTo>
                  <a:lnTo>
                    <a:pt x="532" y="361"/>
                  </a:lnTo>
                  <a:lnTo>
                    <a:pt x="531" y="361"/>
                  </a:lnTo>
                  <a:lnTo>
                    <a:pt x="530" y="362"/>
                  </a:lnTo>
                  <a:lnTo>
                    <a:pt x="529" y="362"/>
                  </a:lnTo>
                  <a:lnTo>
                    <a:pt x="529" y="362"/>
                  </a:lnTo>
                  <a:lnTo>
                    <a:pt x="528" y="363"/>
                  </a:lnTo>
                  <a:lnTo>
                    <a:pt x="527" y="363"/>
                  </a:lnTo>
                  <a:lnTo>
                    <a:pt x="525" y="363"/>
                  </a:lnTo>
                  <a:lnTo>
                    <a:pt x="522" y="364"/>
                  </a:lnTo>
                  <a:lnTo>
                    <a:pt x="521" y="364"/>
                  </a:lnTo>
                  <a:lnTo>
                    <a:pt x="521" y="364"/>
                  </a:lnTo>
                  <a:lnTo>
                    <a:pt x="520" y="365"/>
                  </a:lnTo>
                  <a:lnTo>
                    <a:pt x="519" y="366"/>
                  </a:lnTo>
                  <a:lnTo>
                    <a:pt x="518" y="367"/>
                  </a:lnTo>
                  <a:lnTo>
                    <a:pt x="517" y="367"/>
                  </a:lnTo>
                  <a:lnTo>
                    <a:pt x="517" y="367"/>
                  </a:lnTo>
                  <a:lnTo>
                    <a:pt x="516" y="367"/>
                  </a:lnTo>
                  <a:lnTo>
                    <a:pt x="514" y="368"/>
                  </a:lnTo>
                  <a:lnTo>
                    <a:pt x="513" y="368"/>
                  </a:lnTo>
                  <a:lnTo>
                    <a:pt x="513" y="368"/>
                  </a:lnTo>
                  <a:lnTo>
                    <a:pt x="512" y="368"/>
                  </a:lnTo>
                  <a:lnTo>
                    <a:pt x="511" y="368"/>
                  </a:lnTo>
                  <a:lnTo>
                    <a:pt x="511" y="367"/>
                  </a:lnTo>
                  <a:lnTo>
                    <a:pt x="510" y="367"/>
                  </a:lnTo>
                  <a:lnTo>
                    <a:pt x="509" y="366"/>
                  </a:lnTo>
                  <a:lnTo>
                    <a:pt x="509" y="366"/>
                  </a:lnTo>
                  <a:lnTo>
                    <a:pt x="508" y="366"/>
                  </a:lnTo>
                  <a:lnTo>
                    <a:pt x="506" y="365"/>
                  </a:lnTo>
                  <a:lnTo>
                    <a:pt x="506" y="365"/>
                  </a:lnTo>
                  <a:lnTo>
                    <a:pt x="505" y="364"/>
                  </a:lnTo>
                  <a:lnTo>
                    <a:pt x="504" y="363"/>
                  </a:lnTo>
                  <a:lnTo>
                    <a:pt x="500" y="361"/>
                  </a:lnTo>
                  <a:lnTo>
                    <a:pt x="499" y="360"/>
                  </a:lnTo>
                  <a:lnTo>
                    <a:pt x="497" y="359"/>
                  </a:lnTo>
                  <a:lnTo>
                    <a:pt x="496" y="359"/>
                  </a:lnTo>
                  <a:lnTo>
                    <a:pt x="495" y="358"/>
                  </a:lnTo>
                  <a:lnTo>
                    <a:pt x="493" y="358"/>
                  </a:lnTo>
                  <a:lnTo>
                    <a:pt x="492" y="358"/>
                  </a:lnTo>
                  <a:lnTo>
                    <a:pt x="491" y="358"/>
                  </a:lnTo>
                  <a:lnTo>
                    <a:pt x="490" y="358"/>
                  </a:lnTo>
                  <a:lnTo>
                    <a:pt x="489" y="358"/>
                  </a:lnTo>
                  <a:lnTo>
                    <a:pt x="489" y="358"/>
                  </a:lnTo>
                  <a:lnTo>
                    <a:pt x="488" y="358"/>
                  </a:lnTo>
                  <a:lnTo>
                    <a:pt x="487" y="358"/>
                  </a:lnTo>
                  <a:lnTo>
                    <a:pt x="485" y="359"/>
                  </a:lnTo>
                  <a:lnTo>
                    <a:pt x="485" y="360"/>
                  </a:lnTo>
                  <a:lnTo>
                    <a:pt x="484" y="361"/>
                  </a:lnTo>
                  <a:lnTo>
                    <a:pt x="481" y="363"/>
                  </a:lnTo>
                  <a:lnTo>
                    <a:pt x="480" y="364"/>
                  </a:lnTo>
                  <a:lnTo>
                    <a:pt x="475" y="367"/>
                  </a:lnTo>
                  <a:lnTo>
                    <a:pt x="474" y="368"/>
                  </a:lnTo>
                  <a:lnTo>
                    <a:pt x="473" y="369"/>
                  </a:lnTo>
                  <a:lnTo>
                    <a:pt x="472" y="369"/>
                  </a:lnTo>
                  <a:lnTo>
                    <a:pt x="471" y="369"/>
                  </a:lnTo>
                  <a:lnTo>
                    <a:pt x="471" y="369"/>
                  </a:lnTo>
                  <a:lnTo>
                    <a:pt x="470" y="369"/>
                  </a:lnTo>
                  <a:lnTo>
                    <a:pt x="468" y="370"/>
                  </a:lnTo>
                  <a:lnTo>
                    <a:pt x="465" y="370"/>
                  </a:lnTo>
                  <a:lnTo>
                    <a:pt x="464" y="370"/>
                  </a:lnTo>
                  <a:lnTo>
                    <a:pt x="463" y="370"/>
                  </a:lnTo>
                  <a:lnTo>
                    <a:pt x="462" y="369"/>
                  </a:lnTo>
                  <a:lnTo>
                    <a:pt x="461" y="369"/>
                  </a:lnTo>
                  <a:lnTo>
                    <a:pt x="461" y="369"/>
                  </a:lnTo>
                  <a:lnTo>
                    <a:pt x="459" y="368"/>
                  </a:lnTo>
                  <a:lnTo>
                    <a:pt x="458" y="367"/>
                  </a:lnTo>
                  <a:lnTo>
                    <a:pt x="457" y="367"/>
                  </a:lnTo>
                  <a:lnTo>
                    <a:pt x="455" y="365"/>
                  </a:lnTo>
                  <a:lnTo>
                    <a:pt x="454" y="364"/>
                  </a:lnTo>
                  <a:lnTo>
                    <a:pt x="452" y="362"/>
                  </a:lnTo>
                  <a:lnTo>
                    <a:pt x="449" y="360"/>
                  </a:lnTo>
                  <a:lnTo>
                    <a:pt x="448" y="359"/>
                  </a:lnTo>
                  <a:lnTo>
                    <a:pt x="448" y="359"/>
                  </a:lnTo>
                  <a:lnTo>
                    <a:pt x="447" y="358"/>
                  </a:lnTo>
                  <a:lnTo>
                    <a:pt x="444" y="357"/>
                  </a:lnTo>
                  <a:lnTo>
                    <a:pt x="443" y="357"/>
                  </a:lnTo>
                  <a:lnTo>
                    <a:pt x="439" y="354"/>
                  </a:lnTo>
                  <a:lnTo>
                    <a:pt x="436" y="352"/>
                  </a:lnTo>
                  <a:lnTo>
                    <a:pt x="435" y="351"/>
                  </a:lnTo>
                  <a:lnTo>
                    <a:pt x="434" y="351"/>
                  </a:lnTo>
                  <a:lnTo>
                    <a:pt x="433" y="351"/>
                  </a:lnTo>
                  <a:lnTo>
                    <a:pt x="429" y="349"/>
                  </a:lnTo>
                  <a:lnTo>
                    <a:pt x="426" y="348"/>
                  </a:lnTo>
                  <a:lnTo>
                    <a:pt x="424" y="348"/>
                  </a:lnTo>
                  <a:lnTo>
                    <a:pt x="423" y="347"/>
                  </a:lnTo>
                  <a:lnTo>
                    <a:pt x="421" y="347"/>
                  </a:lnTo>
                  <a:lnTo>
                    <a:pt x="420" y="346"/>
                  </a:lnTo>
                  <a:lnTo>
                    <a:pt x="418" y="346"/>
                  </a:lnTo>
                  <a:lnTo>
                    <a:pt x="417" y="346"/>
                  </a:lnTo>
                  <a:lnTo>
                    <a:pt x="415" y="345"/>
                  </a:lnTo>
                  <a:lnTo>
                    <a:pt x="414" y="345"/>
                  </a:lnTo>
                  <a:lnTo>
                    <a:pt x="413" y="345"/>
                  </a:lnTo>
                  <a:lnTo>
                    <a:pt x="412" y="346"/>
                  </a:lnTo>
                  <a:lnTo>
                    <a:pt x="411" y="346"/>
                  </a:lnTo>
                  <a:lnTo>
                    <a:pt x="411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7" y="348"/>
                  </a:lnTo>
                  <a:lnTo>
                    <a:pt x="405" y="350"/>
                  </a:lnTo>
                  <a:lnTo>
                    <a:pt x="403" y="353"/>
                  </a:lnTo>
                  <a:lnTo>
                    <a:pt x="398" y="357"/>
                  </a:lnTo>
                  <a:lnTo>
                    <a:pt x="396" y="358"/>
                  </a:lnTo>
                  <a:lnTo>
                    <a:pt x="392" y="361"/>
                  </a:lnTo>
                  <a:lnTo>
                    <a:pt x="390" y="363"/>
                  </a:lnTo>
                  <a:lnTo>
                    <a:pt x="389" y="364"/>
                  </a:lnTo>
                  <a:lnTo>
                    <a:pt x="388" y="365"/>
                  </a:lnTo>
                  <a:lnTo>
                    <a:pt x="387" y="366"/>
                  </a:lnTo>
                  <a:lnTo>
                    <a:pt x="386" y="367"/>
                  </a:lnTo>
                  <a:lnTo>
                    <a:pt x="386" y="367"/>
                  </a:lnTo>
                  <a:lnTo>
                    <a:pt x="385" y="368"/>
                  </a:lnTo>
                  <a:lnTo>
                    <a:pt x="385" y="369"/>
                  </a:lnTo>
                  <a:lnTo>
                    <a:pt x="384" y="370"/>
                  </a:lnTo>
                  <a:lnTo>
                    <a:pt x="383" y="375"/>
                  </a:lnTo>
                  <a:lnTo>
                    <a:pt x="382" y="376"/>
                  </a:lnTo>
                  <a:lnTo>
                    <a:pt x="382" y="377"/>
                  </a:lnTo>
                  <a:lnTo>
                    <a:pt x="381" y="378"/>
                  </a:lnTo>
                  <a:lnTo>
                    <a:pt x="380" y="380"/>
                  </a:lnTo>
                  <a:lnTo>
                    <a:pt x="379" y="383"/>
                  </a:lnTo>
                  <a:lnTo>
                    <a:pt x="378" y="385"/>
                  </a:lnTo>
                  <a:lnTo>
                    <a:pt x="377" y="386"/>
                  </a:lnTo>
                  <a:lnTo>
                    <a:pt x="376" y="387"/>
                  </a:lnTo>
                  <a:lnTo>
                    <a:pt x="372" y="391"/>
                  </a:lnTo>
                  <a:lnTo>
                    <a:pt x="368" y="396"/>
                  </a:lnTo>
                  <a:lnTo>
                    <a:pt x="367" y="397"/>
                  </a:lnTo>
                  <a:lnTo>
                    <a:pt x="365" y="399"/>
                  </a:lnTo>
                  <a:lnTo>
                    <a:pt x="365" y="400"/>
                  </a:lnTo>
                  <a:lnTo>
                    <a:pt x="361" y="406"/>
                  </a:lnTo>
                  <a:lnTo>
                    <a:pt x="360" y="408"/>
                  </a:lnTo>
                  <a:lnTo>
                    <a:pt x="358" y="412"/>
                  </a:lnTo>
                  <a:lnTo>
                    <a:pt x="357" y="414"/>
                  </a:lnTo>
                  <a:lnTo>
                    <a:pt x="355" y="418"/>
                  </a:lnTo>
                  <a:lnTo>
                    <a:pt x="354" y="421"/>
                  </a:lnTo>
                  <a:lnTo>
                    <a:pt x="353" y="423"/>
                  </a:lnTo>
                  <a:lnTo>
                    <a:pt x="352" y="425"/>
                  </a:lnTo>
                  <a:lnTo>
                    <a:pt x="351" y="429"/>
                  </a:lnTo>
                  <a:lnTo>
                    <a:pt x="350" y="431"/>
                  </a:lnTo>
                  <a:lnTo>
                    <a:pt x="350" y="432"/>
                  </a:lnTo>
                  <a:lnTo>
                    <a:pt x="348" y="435"/>
                  </a:lnTo>
                  <a:lnTo>
                    <a:pt x="347" y="436"/>
                  </a:lnTo>
                  <a:lnTo>
                    <a:pt x="346" y="438"/>
                  </a:lnTo>
                  <a:lnTo>
                    <a:pt x="345" y="440"/>
                  </a:lnTo>
                  <a:lnTo>
                    <a:pt x="345" y="442"/>
                  </a:lnTo>
                  <a:lnTo>
                    <a:pt x="345" y="443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3" y="451"/>
                  </a:lnTo>
                  <a:lnTo>
                    <a:pt x="342" y="453"/>
                  </a:lnTo>
                  <a:lnTo>
                    <a:pt x="342" y="455"/>
                  </a:lnTo>
                  <a:lnTo>
                    <a:pt x="342" y="456"/>
                  </a:lnTo>
                  <a:lnTo>
                    <a:pt x="341" y="458"/>
                  </a:lnTo>
                  <a:lnTo>
                    <a:pt x="341" y="458"/>
                  </a:lnTo>
                  <a:lnTo>
                    <a:pt x="340" y="460"/>
                  </a:lnTo>
                  <a:lnTo>
                    <a:pt x="340" y="461"/>
                  </a:lnTo>
                  <a:lnTo>
                    <a:pt x="339" y="461"/>
                  </a:lnTo>
                  <a:lnTo>
                    <a:pt x="338" y="462"/>
                  </a:lnTo>
                  <a:lnTo>
                    <a:pt x="337" y="463"/>
                  </a:lnTo>
                  <a:lnTo>
                    <a:pt x="337" y="463"/>
                  </a:lnTo>
                  <a:lnTo>
                    <a:pt x="336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4" y="464"/>
                  </a:lnTo>
                  <a:lnTo>
                    <a:pt x="334" y="464"/>
                  </a:lnTo>
                  <a:lnTo>
                    <a:pt x="333" y="464"/>
                  </a:lnTo>
                  <a:lnTo>
                    <a:pt x="332" y="464"/>
                  </a:lnTo>
                  <a:lnTo>
                    <a:pt x="332" y="463"/>
                  </a:lnTo>
                  <a:lnTo>
                    <a:pt x="331" y="463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1"/>
                  </a:lnTo>
                  <a:lnTo>
                    <a:pt x="331" y="460"/>
                  </a:lnTo>
                  <a:lnTo>
                    <a:pt x="331" y="460"/>
                  </a:lnTo>
                  <a:lnTo>
                    <a:pt x="330" y="456"/>
                  </a:lnTo>
                  <a:lnTo>
                    <a:pt x="329" y="452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5"/>
                  </a:lnTo>
                  <a:lnTo>
                    <a:pt x="328" y="442"/>
                  </a:lnTo>
                  <a:lnTo>
                    <a:pt x="327" y="439"/>
                  </a:lnTo>
                  <a:lnTo>
                    <a:pt x="327" y="438"/>
                  </a:lnTo>
                  <a:lnTo>
                    <a:pt x="327" y="436"/>
                  </a:lnTo>
                  <a:lnTo>
                    <a:pt x="327" y="432"/>
                  </a:lnTo>
                  <a:lnTo>
                    <a:pt x="326" y="431"/>
                  </a:lnTo>
                  <a:lnTo>
                    <a:pt x="326" y="429"/>
                  </a:lnTo>
                  <a:lnTo>
                    <a:pt x="326" y="428"/>
                  </a:lnTo>
                  <a:lnTo>
                    <a:pt x="326" y="427"/>
                  </a:lnTo>
                  <a:lnTo>
                    <a:pt x="325" y="426"/>
                  </a:lnTo>
                  <a:lnTo>
                    <a:pt x="325" y="425"/>
                  </a:lnTo>
                  <a:lnTo>
                    <a:pt x="324" y="424"/>
                  </a:lnTo>
                  <a:lnTo>
                    <a:pt x="323" y="423"/>
                  </a:lnTo>
                  <a:lnTo>
                    <a:pt x="322" y="422"/>
                  </a:lnTo>
                  <a:lnTo>
                    <a:pt x="322" y="421"/>
                  </a:lnTo>
                  <a:lnTo>
                    <a:pt x="321" y="421"/>
                  </a:lnTo>
                  <a:lnTo>
                    <a:pt x="321" y="421"/>
                  </a:lnTo>
                  <a:lnTo>
                    <a:pt x="320" y="421"/>
                  </a:lnTo>
                  <a:lnTo>
                    <a:pt x="319" y="420"/>
                  </a:lnTo>
                  <a:lnTo>
                    <a:pt x="318" y="420"/>
                  </a:lnTo>
                  <a:lnTo>
                    <a:pt x="317" y="420"/>
                  </a:lnTo>
                  <a:lnTo>
                    <a:pt x="316" y="420"/>
                  </a:lnTo>
                  <a:lnTo>
                    <a:pt x="316" y="420"/>
                  </a:lnTo>
                  <a:lnTo>
                    <a:pt x="315" y="420"/>
                  </a:lnTo>
                  <a:lnTo>
                    <a:pt x="314" y="420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09" y="421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2" y="422"/>
                  </a:lnTo>
                  <a:lnTo>
                    <a:pt x="298" y="423"/>
                  </a:lnTo>
                  <a:lnTo>
                    <a:pt x="296" y="423"/>
                  </a:lnTo>
                  <a:lnTo>
                    <a:pt x="293" y="424"/>
                  </a:lnTo>
                  <a:lnTo>
                    <a:pt x="292" y="424"/>
                  </a:lnTo>
                  <a:lnTo>
                    <a:pt x="291" y="424"/>
                  </a:lnTo>
                  <a:lnTo>
                    <a:pt x="289" y="423"/>
                  </a:lnTo>
                  <a:lnTo>
                    <a:pt x="285" y="423"/>
                  </a:lnTo>
                  <a:lnTo>
                    <a:pt x="284" y="422"/>
                  </a:lnTo>
                  <a:lnTo>
                    <a:pt x="282" y="421"/>
                  </a:lnTo>
                  <a:lnTo>
                    <a:pt x="280" y="420"/>
                  </a:lnTo>
                  <a:lnTo>
                    <a:pt x="279" y="420"/>
                  </a:lnTo>
                  <a:lnTo>
                    <a:pt x="278" y="419"/>
                  </a:lnTo>
                  <a:lnTo>
                    <a:pt x="275" y="417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3" y="415"/>
                  </a:lnTo>
                  <a:lnTo>
                    <a:pt x="271" y="414"/>
                  </a:lnTo>
                  <a:lnTo>
                    <a:pt x="270" y="414"/>
                  </a:lnTo>
                  <a:lnTo>
                    <a:pt x="268" y="414"/>
                  </a:lnTo>
                  <a:lnTo>
                    <a:pt x="268" y="413"/>
                  </a:lnTo>
                  <a:lnTo>
                    <a:pt x="267" y="413"/>
                  </a:lnTo>
                  <a:lnTo>
                    <a:pt x="266" y="413"/>
                  </a:lnTo>
                  <a:lnTo>
                    <a:pt x="265" y="413"/>
                  </a:lnTo>
                  <a:lnTo>
                    <a:pt x="264" y="413"/>
                  </a:lnTo>
                  <a:lnTo>
                    <a:pt x="263" y="413"/>
                  </a:lnTo>
                  <a:lnTo>
                    <a:pt x="260" y="413"/>
                  </a:lnTo>
                  <a:lnTo>
                    <a:pt x="259" y="413"/>
                  </a:lnTo>
                  <a:lnTo>
                    <a:pt x="258" y="413"/>
                  </a:lnTo>
                  <a:lnTo>
                    <a:pt x="258" y="413"/>
                  </a:lnTo>
                  <a:lnTo>
                    <a:pt x="257" y="413"/>
                  </a:lnTo>
                  <a:lnTo>
                    <a:pt x="257" y="413"/>
                  </a:lnTo>
                  <a:lnTo>
                    <a:pt x="256" y="413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5" y="412"/>
                  </a:lnTo>
                  <a:lnTo>
                    <a:pt x="255" y="411"/>
                  </a:lnTo>
                  <a:lnTo>
                    <a:pt x="255" y="411"/>
                  </a:lnTo>
                  <a:lnTo>
                    <a:pt x="254" y="410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3" y="405"/>
                  </a:lnTo>
                  <a:lnTo>
                    <a:pt x="253" y="402"/>
                  </a:lnTo>
                  <a:lnTo>
                    <a:pt x="253" y="401"/>
                  </a:lnTo>
                  <a:lnTo>
                    <a:pt x="253" y="401"/>
                  </a:lnTo>
                  <a:lnTo>
                    <a:pt x="252" y="400"/>
                  </a:lnTo>
                  <a:lnTo>
                    <a:pt x="252" y="399"/>
                  </a:lnTo>
                  <a:lnTo>
                    <a:pt x="251" y="398"/>
                  </a:lnTo>
                  <a:lnTo>
                    <a:pt x="251" y="397"/>
                  </a:lnTo>
                  <a:lnTo>
                    <a:pt x="250" y="396"/>
                  </a:lnTo>
                  <a:lnTo>
                    <a:pt x="249" y="394"/>
                  </a:lnTo>
                  <a:lnTo>
                    <a:pt x="248" y="394"/>
                  </a:lnTo>
                  <a:lnTo>
                    <a:pt x="247" y="393"/>
                  </a:lnTo>
                  <a:lnTo>
                    <a:pt x="246" y="393"/>
                  </a:lnTo>
                  <a:lnTo>
                    <a:pt x="245" y="392"/>
                  </a:lnTo>
                  <a:lnTo>
                    <a:pt x="244" y="392"/>
                  </a:lnTo>
                  <a:lnTo>
                    <a:pt x="243" y="392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37" y="392"/>
                  </a:lnTo>
                  <a:lnTo>
                    <a:pt x="236" y="392"/>
                  </a:lnTo>
                  <a:lnTo>
                    <a:pt x="234" y="392"/>
                  </a:lnTo>
                  <a:lnTo>
                    <a:pt x="233" y="391"/>
                  </a:lnTo>
                  <a:lnTo>
                    <a:pt x="232" y="391"/>
                  </a:lnTo>
                  <a:lnTo>
                    <a:pt x="231" y="391"/>
                  </a:lnTo>
                  <a:lnTo>
                    <a:pt x="229" y="391"/>
                  </a:lnTo>
                  <a:lnTo>
                    <a:pt x="228" y="390"/>
                  </a:lnTo>
                  <a:lnTo>
                    <a:pt x="227" y="390"/>
                  </a:lnTo>
                  <a:lnTo>
                    <a:pt x="221" y="386"/>
                  </a:lnTo>
                  <a:lnTo>
                    <a:pt x="219" y="385"/>
                  </a:lnTo>
                  <a:lnTo>
                    <a:pt x="216" y="383"/>
                  </a:lnTo>
                  <a:lnTo>
                    <a:pt x="215" y="382"/>
                  </a:lnTo>
                  <a:lnTo>
                    <a:pt x="213" y="382"/>
                  </a:lnTo>
                  <a:lnTo>
                    <a:pt x="213" y="381"/>
                  </a:lnTo>
                  <a:lnTo>
                    <a:pt x="212" y="381"/>
                  </a:lnTo>
                  <a:lnTo>
                    <a:pt x="211" y="381"/>
                  </a:lnTo>
                  <a:lnTo>
                    <a:pt x="211" y="381"/>
                  </a:lnTo>
                  <a:lnTo>
                    <a:pt x="210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6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2" y="383"/>
                  </a:lnTo>
                  <a:lnTo>
                    <a:pt x="199" y="383"/>
                  </a:lnTo>
                  <a:lnTo>
                    <a:pt x="197" y="383"/>
                  </a:lnTo>
                  <a:lnTo>
                    <a:pt x="194" y="383"/>
                  </a:lnTo>
                  <a:lnTo>
                    <a:pt x="191" y="382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7" y="383"/>
                  </a:lnTo>
                  <a:lnTo>
                    <a:pt x="186" y="383"/>
                  </a:lnTo>
                  <a:lnTo>
                    <a:pt x="186" y="384"/>
                  </a:lnTo>
                  <a:lnTo>
                    <a:pt x="185" y="385"/>
                  </a:lnTo>
                  <a:lnTo>
                    <a:pt x="184" y="386"/>
                  </a:lnTo>
                  <a:lnTo>
                    <a:pt x="183" y="387"/>
                  </a:lnTo>
                  <a:lnTo>
                    <a:pt x="182" y="389"/>
                  </a:lnTo>
                  <a:lnTo>
                    <a:pt x="181" y="392"/>
                  </a:lnTo>
                  <a:lnTo>
                    <a:pt x="180" y="394"/>
                  </a:lnTo>
                  <a:lnTo>
                    <a:pt x="179" y="397"/>
                  </a:lnTo>
                  <a:lnTo>
                    <a:pt x="178" y="399"/>
                  </a:lnTo>
                  <a:lnTo>
                    <a:pt x="178" y="400"/>
                  </a:lnTo>
                  <a:lnTo>
                    <a:pt x="177" y="401"/>
                  </a:lnTo>
                  <a:lnTo>
                    <a:pt x="175" y="405"/>
                  </a:lnTo>
                  <a:lnTo>
                    <a:pt x="172" y="409"/>
                  </a:lnTo>
                  <a:lnTo>
                    <a:pt x="171" y="410"/>
                  </a:lnTo>
                  <a:lnTo>
                    <a:pt x="170" y="411"/>
                  </a:lnTo>
                  <a:lnTo>
                    <a:pt x="170" y="412"/>
                  </a:lnTo>
                  <a:lnTo>
                    <a:pt x="168" y="413"/>
                  </a:lnTo>
                  <a:lnTo>
                    <a:pt x="167" y="413"/>
                  </a:lnTo>
                  <a:lnTo>
                    <a:pt x="165" y="415"/>
                  </a:lnTo>
                  <a:lnTo>
                    <a:pt x="164" y="416"/>
                  </a:lnTo>
                  <a:lnTo>
                    <a:pt x="162" y="416"/>
                  </a:lnTo>
                  <a:lnTo>
                    <a:pt x="162" y="417"/>
                  </a:lnTo>
                  <a:lnTo>
                    <a:pt x="161" y="417"/>
                  </a:lnTo>
                  <a:lnTo>
                    <a:pt x="160" y="417"/>
                  </a:lnTo>
                  <a:lnTo>
                    <a:pt x="159" y="417"/>
                  </a:lnTo>
                  <a:lnTo>
                    <a:pt x="158" y="416"/>
                  </a:lnTo>
                  <a:lnTo>
                    <a:pt x="157" y="416"/>
                  </a:lnTo>
                  <a:lnTo>
                    <a:pt x="156" y="416"/>
                  </a:lnTo>
                  <a:lnTo>
                    <a:pt x="156" y="416"/>
                  </a:lnTo>
                  <a:lnTo>
                    <a:pt x="154" y="414"/>
                  </a:lnTo>
                  <a:lnTo>
                    <a:pt x="154" y="414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2" y="413"/>
                  </a:lnTo>
                  <a:lnTo>
                    <a:pt x="151" y="413"/>
                  </a:lnTo>
                  <a:lnTo>
                    <a:pt x="151" y="413"/>
                  </a:lnTo>
                  <a:lnTo>
                    <a:pt x="150" y="414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6" y="415"/>
                  </a:lnTo>
                  <a:lnTo>
                    <a:pt x="145" y="415"/>
                  </a:lnTo>
                  <a:lnTo>
                    <a:pt x="144" y="415"/>
                  </a:lnTo>
                  <a:lnTo>
                    <a:pt x="143" y="415"/>
                  </a:lnTo>
                  <a:lnTo>
                    <a:pt x="142" y="415"/>
                  </a:lnTo>
                  <a:lnTo>
                    <a:pt x="139" y="415"/>
                  </a:lnTo>
                  <a:lnTo>
                    <a:pt x="137" y="414"/>
                  </a:lnTo>
                  <a:lnTo>
                    <a:pt x="135" y="414"/>
                  </a:lnTo>
                  <a:lnTo>
                    <a:pt x="133" y="414"/>
                  </a:lnTo>
                  <a:lnTo>
                    <a:pt x="132" y="414"/>
                  </a:lnTo>
                  <a:lnTo>
                    <a:pt x="130" y="414"/>
                  </a:lnTo>
                  <a:lnTo>
                    <a:pt x="126" y="414"/>
                  </a:lnTo>
                  <a:lnTo>
                    <a:pt x="124" y="414"/>
                  </a:lnTo>
                  <a:lnTo>
                    <a:pt x="121" y="414"/>
                  </a:lnTo>
                  <a:lnTo>
                    <a:pt x="118" y="413"/>
                  </a:lnTo>
                  <a:lnTo>
                    <a:pt x="113" y="413"/>
                  </a:lnTo>
                  <a:lnTo>
                    <a:pt x="101" y="412"/>
                  </a:lnTo>
                  <a:lnTo>
                    <a:pt x="98" y="411"/>
                  </a:lnTo>
                  <a:lnTo>
                    <a:pt x="97" y="411"/>
                  </a:lnTo>
                  <a:lnTo>
                    <a:pt x="95" y="411"/>
                  </a:lnTo>
                  <a:lnTo>
                    <a:pt x="94" y="411"/>
                  </a:lnTo>
                  <a:lnTo>
                    <a:pt x="91" y="412"/>
                  </a:lnTo>
                  <a:lnTo>
                    <a:pt x="89" y="412"/>
                  </a:lnTo>
                  <a:lnTo>
                    <a:pt x="87" y="412"/>
                  </a:lnTo>
                  <a:lnTo>
                    <a:pt x="84" y="411"/>
                  </a:lnTo>
                  <a:lnTo>
                    <a:pt x="79" y="411"/>
                  </a:lnTo>
                  <a:lnTo>
                    <a:pt x="78" y="411"/>
                  </a:lnTo>
                  <a:lnTo>
                    <a:pt x="77" y="411"/>
                  </a:lnTo>
                  <a:lnTo>
                    <a:pt x="75" y="411"/>
                  </a:lnTo>
                  <a:lnTo>
                    <a:pt x="74" y="410"/>
                  </a:lnTo>
                  <a:lnTo>
                    <a:pt x="73" y="410"/>
                  </a:lnTo>
                  <a:lnTo>
                    <a:pt x="71" y="409"/>
                  </a:lnTo>
                  <a:lnTo>
                    <a:pt x="70" y="409"/>
                  </a:lnTo>
                  <a:lnTo>
                    <a:pt x="68" y="408"/>
                  </a:lnTo>
                  <a:lnTo>
                    <a:pt x="67" y="407"/>
                  </a:lnTo>
                  <a:lnTo>
                    <a:pt x="65" y="406"/>
                  </a:lnTo>
                  <a:lnTo>
                    <a:pt x="59" y="403"/>
                  </a:lnTo>
                  <a:lnTo>
                    <a:pt x="50" y="399"/>
                  </a:lnTo>
                  <a:lnTo>
                    <a:pt x="47" y="397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5"/>
                  </a:lnTo>
                  <a:lnTo>
                    <a:pt x="42" y="394"/>
                  </a:lnTo>
                  <a:lnTo>
                    <a:pt x="41" y="392"/>
                  </a:lnTo>
                  <a:lnTo>
                    <a:pt x="39" y="391"/>
                  </a:lnTo>
                  <a:lnTo>
                    <a:pt x="37" y="390"/>
                  </a:lnTo>
                  <a:lnTo>
                    <a:pt x="36" y="388"/>
                  </a:lnTo>
                  <a:lnTo>
                    <a:pt x="35" y="387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3" y="384"/>
                  </a:lnTo>
                  <a:lnTo>
                    <a:pt x="33" y="384"/>
                  </a:lnTo>
                  <a:lnTo>
                    <a:pt x="32" y="382"/>
                  </a:lnTo>
                  <a:lnTo>
                    <a:pt x="31" y="380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1" y="378"/>
                  </a:lnTo>
                  <a:lnTo>
                    <a:pt x="31" y="378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9" y="377"/>
                  </a:lnTo>
                  <a:lnTo>
                    <a:pt x="29" y="376"/>
                  </a:lnTo>
                  <a:lnTo>
                    <a:pt x="28" y="376"/>
                  </a:lnTo>
                  <a:lnTo>
                    <a:pt x="27" y="376"/>
                  </a:lnTo>
                  <a:lnTo>
                    <a:pt x="26" y="376"/>
                  </a:lnTo>
                  <a:lnTo>
                    <a:pt x="26" y="376"/>
                  </a:lnTo>
                  <a:lnTo>
                    <a:pt x="25" y="375"/>
                  </a:lnTo>
                  <a:lnTo>
                    <a:pt x="25" y="375"/>
                  </a:lnTo>
                  <a:lnTo>
                    <a:pt x="24" y="374"/>
                  </a:lnTo>
                  <a:lnTo>
                    <a:pt x="23" y="373"/>
                  </a:lnTo>
                  <a:lnTo>
                    <a:pt x="22" y="372"/>
                  </a:lnTo>
                  <a:lnTo>
                    <a:pt x="21" y="372"/>
                  </a:lnTo>
                  <a:lnTo>
                    <a:pt x="21" y="371"/>
                  </a:lnTo>
                  <a:lnTo>
                    <a:pt x="20" y="371"/>
                  </a:lnTo>
                  <a:lnTo>
                    <a:pt x="19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5" y="370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7"/>
                  </a:lnTo>
                  <a:lnTo>
                    <a:pt x="13" y="367"/>
                  </a:lnTo>
                  <a:lnTo>
                    <a:pt x="13" y="366"/>
                  </a:lnTo>
                  <a:lnTo>
                    <a:pt x="12" y="366"/>
                  </a:lnTo>
                  <a:lnTo>
                    <a:pt x="11" y="365"/>
                  </a:lnTo>
                  <a:lnTo>
                    <a:pt x="10" y="365"/>
                  </a:lnTo>
                  <a:lnTo>
                    <a:pt x="9" y="363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5" y="361"/>
                  </a:lnTo>
                  <a:lnTo>
                    <a:pt x="4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1" y="359"/>
                  </a:lnTo>
                  <a:lnTo>
                    <a:pt x="1" y="359"/>
                  </a:lnTo>
                  <a:lnTo>
                    <a:pt x="0" y="358"/>
                  </a:lnTo>
                  <a:lnTo>
                    <a:pt x="0" y="358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68">
              <a:extLst>
                <a:ext uri="{FF2B5EF4-FFF2-40B4-BE49-F238E27FC236}">
                  <a16:creationId xmlns:a16="http://schemas.microsoft.com/office/drawing/2014/main" id="{A40D30B3-1588-40AE-E7A5-FDDD159C7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21"/>
              <a:ext cx="303" cy="362"/>
            </a:xfrm>
            <a:custGeom>
              <a:avLst/>
              <a:gdLst>
                <a:gd name="T0" fmla="*/ 88 w 303"/>
                <a:gd name="T1" fmla="*/ 354 h 362"/>
                <a:gd name="T2" fmla="*/ 71 w 303"/>
                <a:gd name="T3" fmla="*/ 357 h 362"/>
                <a:gd name="T4" fmla="*/ 57 w 303"/>
                <a:gd name="T5" fmla="*/ 362 h 362"/>
                <a:gd name="T6" fmla="*/ 34 w 303"/>
                <a:gd name="T7" fmla="*/ 351 h 362"/>
                <a:gd name="T8" fmla="*/ 10 w 303"/>
                <a:gd name="T9" fmla="*/ 342 h 362"/>
                <a:gd name="T10" fmla="*/ 4 w 303"/>
                <a:gd name="T11" fmla="*/ 331 h 362"/>
                <a:gd name="T12" fmla="*/ 6 w 303"/>
                <a:gd name="T13" fmla="*/ 328 h 362"/>
                <a:gd name="T14" fmla="*/ 11 w 303"/>
                <a:gd name="T15" fmla="*/ 323 h 362"/>
                <a:gd name="T16" fmla="*/ 16 w 303"/>
                <a:gd name="T17" fmla="*/ 318 h 362"/>
                <a:gd name="T18" fmla="*/ 26 w 303"/>
                <a:gd name="T19" fmla="*/ 321 h 362"/>
                <a:gd name="T20" fmla="*/ 34 w 303"/>
                <a:gd name="T21" fmla="*/ 319 h 362"/>
                <a:gd name="T22" fmla="*/ 45 w 303"/>
                <a:gd name="T23" fmla="*/ 312 h 362"/>
                <a:gd name="T24" fmla="*/ 56 w 303"/>
                <a:gd name="T25" fmla="*/ 316 h 362"/>
                <a:gd name="T26" fmla="*/ 66 w 303"/>
                <a:gd name="T27" fmla="*/ 307 h 362"/>
                <a:gd name="T28" fmla="*/ 78 w 303"/>
                <a:gd name="T29" fmla="*/ 297 h 362"/>
                <a:gd name="T30" fmla="*/ 93 w 303"/>
                <a:gd name="T31" fmla="*/ 290 h 362"/>
                <a:gd name="T32" fmla="*/ 102 w 303"/>
                <a:gd name="T33" fmla="*/ 286 h 362"/>
                <a:gd name="T34" fmla="*/ 107 w 303"/>
                <a:gd name="T35" fmla="*/ 279 h 362"/>
                <a:gd name="T36" fmla="*/ 116 w 303"/>
                <a:gd name="T37" fmla="*/ 277 h 362"/>
                <a:gd name="T38" fmla="*/ 126 w 303"/>
                <a:gd name="T39" fmla="*/ 271 h 362"/>
                <a:gd name="T40" fmla="*/ 134 w 303"/>
                <a:gd name="T41" fmla="*/ 278 h 362"/>
                <a:gd name="T42" fmla="*/ 146 w 303"/>
                <a:gd name="T43" fmla="*/ 278 h 362"/>
                <a:gd name="T44" fmla="*/ 159 w 303"/>
                <a:gd name="T45" fmla="*/ 277 h 362"/>
                <a:gd name="T46" fmla="*/ 178 w 303"/>
                <a:gd name="T47" fmla="*/ 273 h 362"/>
                <a:gd name="T48" fmla="*/ 180 w 303"/>
                <a:gd name="T49" fmla="*/ 265 h 362"/>
                <a:gd name="T50" fmla="*/ 196 w 303"/>
                <a:gd name="T51" fmla="*/ 260 h 362"/>
                <a:gd name="T52" fmla="*/ 205 w 303"/>
                <a:gd name="T53" fmla="*/ 255 h 362"/>
                <a:gd name="T54" fmla="*/ 212 w 303"/>
                <a:gd name="T55" fmla="*/ 246 h 362"/>
                <a:gd name="T56" fmla="*/ 207 w 303"/>
                <a:gd name="T57" fmla="*/ 236 h 362"/>
                <a:gd name="T58" fmla="*/ 203 w 303"/>
                <a:gd name="T59" fmla="*/ 230 h 362"/>
                <a:gd name="T60" fmla="*/ 210 w 303"/>
                <a:gd name="T61" fmla="*/ 225 h 362"/>
                <a:gd name="T62" fmla="*/ 209 w 303"/>
                <a:gd name="T63" fmla="*/ 215 h 362"/>
                <a:gd name="T64" fmla="*/ 219 w 303"/>
                <a:gd name="T65" fmla="*/ 208 h 362"/>
                <a:gd name="T66" fmla="*/ 217 w 303"/>
                <a:gd name="T67" fmla="*/ 200 h 362"/>
                <a:gd name="T68" fmla="*/ 210 w 303"/>
                <a:gd name="T69" fmla="*/ 192 h 362"/>
                <a:gd name="T70" fmla="*/ 213 w 303"/>
                <a:gd name="T71" fmla="*/ 181 h 362"/>
                <a:gd name="T72" fmla="*/ 222 w 303"/>
                <a:gd name="T73" fmla="*/ 172 h 362"/>
                <a:gd name="T74" fmla="*/ 217 w 303"/>
                <a:gd name="T75" fmla="*/ 163 h 362"/>
                <a:gd name="T76" fmla="*/ 223 w 303"/>
                <a:gd name="T77" fmla="*/ 151 h 362"/>
                <a:gd name="T78" fmla="*/ 221 w 303"/>
                <a:gd name="T79" fmla="*/ 146 h 362"/>
                <a:gd name="T80" fmla="*/ 213 w 303"/>
                <a:gd name="T81" fmla="*/ 141 h 362"/>
                <a:gd name="T82" fmla="*/ 210 w 303"/>
                <a:gd name="T83" fmla="*/ 134 h 362"/>
                <a:gd name="T84" fmla="*/ 206 w 303"/>
                <a:gd name="T85" fmla="*/ 123 h 362"/>
                <a:gd name="T86" fmla="*/ 212 w 303"/>
                <a:gd name="T87" fmla="*/ 105 h 362"/>
                <a:gd name="T88" fmla="*/ 220 w 303"/>
                <a:gd name="T89" fmla="*/ 95 h 362"/>
                <a:gd name="T90" fmla="*/ 234 w 303"/>
                <a:gd name="T91" fmla="*/ 91 h 362"/>
                <a:gd name="T92" fmla="*/ 233 w 303"/>
                <a:gd name="T93" fmla="*/ 86 h 362"/>
                <a:gd name="T94" fmla="*/ 228 w 303"/>
                <a:gd name="T95" fmla="*/ 82 h 362"/>
                <a:gd name="T96" fmla="*/ 238 w 303"/>
                <a:gd name="T97" fmla="*/ 77 h 362"/>
                <a:gd name="T98" fmla="*/ 243 w 303"/>
                <a:gd name="T99" fmla="*/ 82 h 362"/>
                <a:gd name="T100" fmla="*/ 249 w 303"/>
                <a:gd name="T101" fmla="*/ 81 h 362"/>
                <a:gd name="T102" fmla="*/ 250 w 303"/>
                <a:gd name="T103" fmla="*/ 71 h 362"/>
                <a:gd name="T104" fmla="*/ 245 w 303"/>
                <a:gd name="T105" fmla="*/ 63 h 362"/>
                <a:gd name="T106" fmla="*/ 253 w 303"/>
                <a:gd name="T107" fmla="*/ 61 h 362"/>
                <a:gd name="T108" fmla="*/ 260 w 303"/>
                <a:gd name="T109" fmla="*/ 50 h 362"/>
                <a:gd name="T110" fmla="*/ 253 w 303"/>
                <a:gd name="T111" fmla="*/ 42 h 362"/>
                <a:gd name="T112" fmla="*/ 250 w 303"/>
                <a:gd name="T113" fmla="*/ 35 h 362"/>
                <a:gd name="T114" fmla="*/ 255 w 303"/>
                <a:gd name="T115" fmla="*/ 25 h 362"/>
                <a:gd name="T116" fmla="*/ 264 w 303"/>
                <a:gd name="T117" fmla="*/ 17 h 362"/>
                <a:gd name="T118" fmla="*/ 272 w 303"/>
                <a:gd name="T119" fmla="*/ 18 h 362"/>
                <a:gd name="T120" fmla="*/ 290 w 303"/>
                <a:gd name="T121" fmla="*/ 18 h 362"/>
                <a:gd name="T122" fmla="*/ 299 w 303"/>
                <a:gd name="T123" fmla="*/ 1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3" h="362">
                  <a:moveTo>
                    <a:pt x="94" y="358"/>
                  </a:moveTo>
                  <a:lnTo>
                    <a:pt x="93" y="356"/>
                  </a:lnTo>
                  <a:lnTo>
                    <a:pt x="92" y="356"/>
                  </a:lnTo>
                  <a:lnTo>
                    <a:pt x="92" y="356"/>
                  </a:lnTo>
                  <a:lnTo>
                    <a:pt x="92" y="355"/>
                  </a:lnTo>
                  <a:lnTo>
                    <a:pt x="91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90" y="354"/>
                  </a:lnTo>
                  <a:lnTo>
                    <a:pt x="89" y="354"/>
                  </a:lnTo>
                  <a:lnTo>
                    <a:pt x="88" y="354"/>
                  </a:lnTo>
                  <a:lnTo>
                    <a:pt x="85" y="354"/>
                  </a:lnTo>
                  <a:lnTo>
                    <a:pt x="83" y="354"/>
                  </a:lnTo>
                  <a:lnTo>
                    <a:pt x="81" y="354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6" y="355"/>
                  </a:lnTo>
                  <a:lnTo>
                    <a:pt x="75" y="355"/>
                  </a:lnTo>
                  <a:lnTo>
                    <a:pt x="74" y="355"/>
                  </a:lnTo>
                  <a:lnTo>
                    <a:pt x="73" y="356"/>
                  </a:lnTo>
                  <a:lnTo>
                    <a:pt x="72" y="356"/>
                  </a:lnTo>
                  <a:lnTo>
                    <a:pt x="71" y="357"/>
                  </a:lnTo>
                  <a:lnTo>
                    <a:pt x="68" y="359"/>
                  </a:lnTo>
                  <a:lnTo>
                    <a:pt x="67" y="360"/>
                  </a:lnTo>
                  <a:lnTo>
                    <a:pt x="66" y="360"/>
                  </a:lnTo>
                  <a:lnTo>
                    <a:pt x="65" y="361"/>
                  </a:lnTo>
                  <a:lnTo>
                    <a:pt x="64" y="361"/>
                  </a:lnTo>
                  <a:lnTo>
                    <a:pt x="63" y="361"/>
                  </a:lnTo>
                  <a:lnTo>
                    <a:pt x="62" y="362"/>
                  </a:lnTo>
                  <a:lnTo>
                    <a:pt x="61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7" y="362"/>
                  </a:lnTo>
                  <a:lnTo>
                    <a:pt x="54" y="362"/>
                  </a:lnTo>
                  <a:lnTo>
                    <a:pt x="48" y="361"/>
                  </a:lnTo>
                  <a:lnTo>
                    <a:pt x="47" y="360"/>
                  </a:lnTo>
                  <a:lnTo>
                    <a:pt x="45" y="360"/>
                  </a:lnTo>
                  <a:lnTo>
                    <a:pt x="44" y="359"/>
                  </a:lnTo>
                  <a:lnTo>
                    <a:pt x="43" y="359"/>
                  </a:lnTo>
                  <a:lnTo>
                    <a:pt x="42" y="358"/>
                  </a:lnTo>
                  <a:lnTo>
                    <a:pt x="40" y="357"/>
                  </a:lnTo>
                  <a:lnTo>
                    <a:pt x="39" y="356"/>
                  </a:lnTo>
                  <a:lnTo>
                    <a:pt x="35" y="352"/>
                  </a:lnTo>
                  <a:lnTo>
                    <a:pt x="34" y="351"/>
                  </a:lnTo>
                  <a:lnTo>
                    <a:pt x="33" y="350"/>
                  </a:lnTo>
                  <a:lnTo>
                    <a:pt x="31" y="350"/>
                  </a:lnTo>
                  <a:lnTo>
                    <a:pt x="30" y="349"/>
                  </a:lnTo>
                  <a:lnTo>
                    <a:pt x="27" y="348"/>
                  </a:lnTo>
                  <a:lnTo>
                    <a:pt x="24" y="346"/>
                  </a:lnTo>
                  <a:lnTo>
                    <a:pt x="23" y="345"/>
                  </a:lnTo>
                  <a:lnTo>
                    <a:pt x="21" y="344"/>
                  </a:lnTo>
                  <a:lnTo>
                    <a:pt x="20" y="344"/>
                  </a:lnTo>
                  <a:lnTo>
                    <a:pt x="18" y="343"/>
                  </a:lnTo>
                  <a:lnTo>
                    <a:pt x="12" y="342"/>
                  </a:lnTo>
                  <a:lnTo>
                    <a:pt x="10" y="342"/>
                  </a:lnTo>
                  <a:lnTo>
                    <a:pt x="9" y="342"/>
                  </a:lnTo>
                  <a:lnTo>
                    <a:pt x="7" y="341"/>
                  </a:lnTo>
                  <a:lnTo>
                    <a:pt x="5" y="341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1" y="336"/>
                  </a:lnTo>
                  <a:lnTo>
                    <a:pt x="2" y="333"/>
                  </a:lnTo>
                  <a:lnTo>
                    <a:pt x="2" y="332"/>
                  </a:lnTo>
                  <a:lnTo>
                    <a:pt x="3" y="332"/>
                  </a:lnTo>
                  <a:lnTo>
                    <a:pt x="3" y="332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5" y="331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6" y="329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7" y="327"/>
                  </a:lnTo>
                  <a:lnTo>
                    <a:pt x="8" y="326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4"/>
                  </a:lnTo>
                  <a:lnTo>
                    <a:pt x="8" y="324"/>
                  </a:lnTo>
                  <a:lnTo>
                    <a:pt x="8" y="323"/>
                  </a:lnTo>
                  <a:lnTo>
                    <a:pt x="9" y="323"/>
                  </a:lnTo>
                  <a:lnTo>
                    <a:pt x="10" y="323"/>
                  </a:lnTo>
                  <a:lnTo>
                    <a:pt x="10" y="323"/>
                  </a:lnTo>
                  <a:lnTo>
                    <a:pt x="11" y="323"/>
                  </a:lnTo>
                  <a:lnTo>
                    <a:pt x="11" y="323"/>
                  </a:lnTo>
                  <a:lnTo>
                    <a:pt x="11" y="322"/>
                  </a:lnTo>
                  <a:lnTo>
                    <a:pt x="13" y="321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20"/>
                  </a:lnTo>
                  <a:lnTo>
                    <a:pt x="13" y="319"/>
                  </a:lnTo>
                  <a:lnTo>
                    <a:pt x="14" y="319"/>
                  </a:lnTo>
                  <a:lnTo>
                    <a:pt x="14" y="319"/>
                  </a:lnTo>
                  <a:lnTo>
                    <a:pt x="15" y="318"/>
                  </a:lnTo>
                  <a:lnTo>
                    <a:pt x="16" y="318"/>
                  </a:lnTo>
                  <a:lnTo>
                    <a:pt x="17" y="318"/>
                  </a:lnTo>
                  <a:lnTo>
                    <a:pt x="18" y="318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2" y="318"/>
                  </a:lnTo>
                  <a:lnTo>
                    <a:pt x="23" y="319"/>
                  </a:lnTo>
                  <a:lnTo>
                    <a:pt x="25" y="320"/>
                  </a:lnTo>
                  <a:lnTo>
                    <a:pt x="25" y="321"/>
                  </a:lnTo>
                  <a:lnTo>
                    <a:pt x="26" y="321"/>
                  </a:lnTo>
                  <a:lnTo>
                    <a:pt x="27" y="321"/>
                  </a:lnTo>
                  <a:lnTo>
                    <a:pt x="28" y="322"/>
                  </a:lnTo>
                  <a:lnTo>
                    <a:pt x="29" y="322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2" y="321"/>
                  </a:lnTo>
                  <a:lnTo>
                    <a:pt x="32" y="321"/>
                  </a:lnTo>
                  <a:lnTo>
                    <a:pt x="33" y="320"/>
                  </a:lnTo>
                  <a:lnTo>
                    <a:pt x="34" y="319"/>
                  </a:lnTo>
                  <a:lnTo>
                    <a:pt x="34" y="319"/>
                  </a:lnTo>
                  <a:lnTo>
                    <a:pt x="35" y="317"/>
                  </a:lnTo>
                  <a:lnTo>
                    <a:pt x="37" y="314"/>
                  </a:lnTo>
                  <a:lnTo>
                    <a:pt x="38" y="314"/>
                  </a:lnTo>
                  <a:lnTo>
                    <a:pt x="38" y="314"/>
                  </a:lnTo>
                  <a:lnTo>
                    <a:pt x="38" y="313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0" y="313"/>
                  </a:lnTo>
                  <a:lnTo>
                    <a:pt x="41" y="313"/>
                  </a:lnTo>
                  <a:lnTo>
                    <a:pt x="45" y="312"/>
                  </a:lnTo>
                  <a:lnTo>
                    <a:pt x="46" y="312"/>
                  </a:lnTo>
                  <a:lnTo>
                    <a:pt x="47" y="312"/>
                  </a:lnTo>
                  <a:lnTo>
                    <a:pt x="48" y="312"/>
                  </a:lnTo>
                  <a:lnTo>
                    <a:pt x="49" y="313"/>
                  </a:lnTo>
                  <a:lnTo>
                    <a:pt x="50" y="313"/>
                  </a:lnTo>
                  <a:lnTo>
                    <a:pt x="51" y="314"/>
                  </a:lnTo>
                  <a:lnTo>
                    <a:pt x="52" y="314"/>
                  </a:lnTo>
                  <a:lnTo>
                    <a:pt x="54" y="316"/>
                  </a:lnTo>
                  <a:lnTo>
                    <a:pt x="55" y="316"/>
                  </a:lnTo>
                  <a:lnTo>
                    <a:pt x="56" y="316"/>
                  </a:lnTo>
                  <a:lnTo>
                    <a:pt x="56" y="316"/>
                  </a:lnTo>
                  <a:lnTo>
                    <a:pt x="57" y="316"/>
                  </a:lnTo>
                  <a:lnTo>
                    <a:pt x="57" y="316"/>
                  </a:lnTo>
                  <a:lnTo>
                    <a:pt x="58" y="316"/>
                  </a:lnTo>
                  <a:lnTo>
                    <a:pt x="58" y="316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1" y="313"/>
                  </a:lnTo>
                  <a:lnTo>
                    <a:pt x="62" y="311"/>
                  </a:lnTo>
                  <a:lnTo>
                    <a:pt x="62" y="311"/>
                  </a:lnTo>
                  <a:lnTo>
                    <a:pt x="64" y="309"/>
                  </a:lnTo>
                  <a:lnTo>
                    <a:pt x="66" y="307"/>
                  </a:lnTo>
                  <a:lnTo>
                    <a:pt x="66" y="307"/>
                  </a:lnTo>
                  <a:lnTo>
                    <a:pt x="67" y="306"/>
                  </a:lnTo>
                  <a:lnTo>
                    <a:pt x="68" y="306"/>
                  </a:lnTo>
                  <a:lnTo>
                    <a:pt x="69" y="305"/>
                  </a:lnTo>
                  <a:lnTo>
                    <a:pt x="71" y="304"/>
                  </a:lnTo>
                  <a:lnTo>
                    <a:pt x="72" y="303"/>
                  </a:lnTo>
                  <a:lnTo>
                    <a:pt x="73" y="302"/>
                  </a:lnTo>
                  <a:lnTo>
                    <a:pt x="74" y="301"/>
                  </a:lnTo>
                  <a:lnTo>
                    <a:pt x="75" y="300"/>
                  </a:lnTo>
                  <a:lnTo>
                    <a:pt x="77" y="299"/>
                  </a:lnTo>
                  <a:lnTo>
                    <a:pt x="78" y="297"/>
                  </a:lnTo>
                  <a:lnTo>
                    <a:pt x="79" y="296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81" y="294"/>
                  </a:lnTo>
                  <a:lnTo>
                    <a:pt x="82" y="293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8" y="291"/>
                  </a:lnTo>
                  <a:lnTo>
                    <a:pt x="89" y="290"/>
                  </a:lnTo>
                  <a:lnTo>
                    <a:pt x="91" y="290"/>
                  </a:lnTo>
                  <a:lnTo>
                    <a:pt x="93" y="290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9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1" y="288"/>
                  </a:lnTo>
                  <a:lnTo>
                    <a:pt x="101" y="287"/>
                  </a:lnTo>
                  <a:lnTo>
                    <a:pt x="101" y="287"/>
                  </a:lnTo>
                  <a:lnTo>
                    <a:pt x="102" y="286"/>
                  </a:lnTo>
                  <a:lnTo>
                    <a:pt x="103" y="283"/>
                  </a:lnTo>
                  <a:lnTo>
                    <a:pt x="103" y="282"/>
                  </a:lnTo>
                  <a:lnTo>
                    <a:pt x="104" y="281"/>
                  </a:lnTo>
                  <a:lnTo>
                    <a:pt x="104" y="280"/>
                  </a:lnTo>
                  <a:lnTo>
                    <a:pt x="105" y="280"/>
                  </a:lnTo>
                  <a:lnTo>
                    <a:pt x="105" y="280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4" y="278"/>
                  </a:lnTo>
                  <a:lnTo>
                    <a:pt x="115" y="278"/>
                  </a:lnTo>
                  <a:lnTo>
                    <a:pt x="115" y="277"/>
                  </a:lnTo>
                  <a:lnTo>
                    <a:pt x="116" y="277"/>
                  </a:lnTo>
                  <a:lnTo>
                    <a:pt x="117" y="276"/>
                  </a:lnTo>
                  <a:lnTo>
                    <a:pt x="119" y="274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3"/>
                  </a:lnTo>
                  <a:lnTo>
                    <a:pt x="121" y="272"/>
                  </a:lnTo>
                  <a:lnTo>
                    <a:pt x="123" y="272"/>
                  </a:lnTo>
                  <a:lnTo>
                    <a:pt x="123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6" y="271"/>
                  </a:lnTo>
                  <a:lnTo>
                    <a:pt x="126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29" y="273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1" y="276"/>
                  </a:lnTo>
                  <a:lnTo>
                    <a:pt x="132" y="276"/>
                  </a:lnTo>
                  <a:lnTo>
                    <a:pt x="134" y="278"/>
                  </a:lnTo>
                  <a:lnTo>
                    <a:pt x="135" y="279"/>
                  </a:lnTo>
                  <a:lnTo>
                    <a:pt x="136" y="279"/>
                  </a:lnTo>
                  <a:lnTo>
                    <a:pt x="137" y="280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9" y="280"/>
                  </a:lnTo>
                  <a:lnTo>
                    <a:pt x="141" y="280"/>
                  </a:lnTo>
                  <a:lnTo>
                    <a:pt x="142" y="280"/>
                  </a:lnTo>
                  <a:lnTo>
                    <a:pt x="143" y="279"/>
                  </a:lnTo>
                  <a:lnTo>
                    <a:pt x="144" y="279"/>
                  </a:lnTo>
                  <a:lnTo>
                    <a:pt x="146" y="278"/>
                  </a:lnTo>
                  <a:lnTo>
                    <a:pt x="147" y="277"/>
                  </a:lnTo>
                  <a:lnTo>
                    <a:pt x="148" y="276"/>
                  </a:lnTo>
                  <a:lnTo>
                    <a:pt x="149" y="276"/>
                  </a:lnTo>
                  <a:lnTo>
                    <a:pt x="149" y="275"/>
                  </a:lnTo>
                  <a:lnTo>
                    <a:pt x="150" y="275"/>
                  </a:lnTo>
                  <a:lnTo>
                    <a:pt x="151" y="275"/>
                  </a:lnTo>
                  <a:lnTo>
                    <a:pt x="152" y="275"/>
                  </a:lnTo>
                  <a:lnTo>
                    <a:pt x="154" y="276"/>
                  </a:lnTo>
                  <a:lnTo>
                    <a:pt x="155" y="276"/>
                  </a:lnTo>
                  <a:lnTo>
                    <a:pt x="158" y="276"/>
                  </a:lnTo>
                  <a:lnTo>
                    <a:pt x="159" y="277"/>
                  </a:lnTo>
                  <a:lnTo>
                    <a:pt x="161" y="277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4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8" y="273"/>
                  </a:lnTo>
                  <a:lnTo>
                    <a:pt x="179" y="273"/>
                  </a:lnTo>
                  <a:lnTo>
                    <a:pt x="179" y="272"/>
                  </a:lnTo>
                  <a:lnTo>
                    <a:pt x="179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68"/>
                  </a:lnTo>
                  <a:lnTo>
                    <a:pt x="180" y="267"/>
                  </a:lnTo>
                  <a:lnTo>
                    <a:pt x="180" y="266"/>
                  </a:lnTo>
                  <a:lnTo>
                    <a:pt x="180" y="265"/>
                  </a:lnTo>
                  <a:lnTo>
                    <a:pt x="181" y="265"/>
                  </a:lnTo>
                  <a:lnTo>
                    <a:pt x="181" y="264"/>
                  </a:lnTo>
                  <a:lnTo>
                    <a:pt x="182" y="263"/>
                  </a:lnTo>
                  <a:lnTo>
                    <a:pt x="183" y="263"/>
                  </a:lnTo>
                  <a:lnTo>
                    <a:pt x="184" y="262"/>
                  </a:lnTo>
                  <a:lnTo>
                    <a:pt x="185" y="262"/>
                  </a:lnTo>
                  <a:lnTo>
                    <a:pt x="186" y="261"/>
                  </a:lnTo>
                  <a:lnTo>
                    <a:pt x="188" y="261"/>
                  </a:lnTo>
                  <a:lnTo>
                    <a:pt x="189" y="261"/>
                  </a:lnTo>
                  <a:lnTo>
                    <a:pt x="193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1" y="259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3" y="257"/>
                  </a:lnTo>
                  <a:lnTo>
                    <a:pt x="203" y="257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05" y="255"/>
                  </a:lnTo>
                  <a:lnTo>
                    <a:pt x="206" y="254"/>
                  </a:lnTo>
                  <a:lnTo>
                    <a:pt x="206" y="253"/>
                  </a:lnTo>
                  <a:lnTo>
                    <a:pt x="207" y="251"/>
                  </a:lnTo>
                  <a:lnTo>
                    <a:pt x="207" y="251"/>
                  </a:lnTo>
                  <a:lnTo>
                    <a:pt x="207" y="250"/>
                  </a:lnTo>
                  <a:lnTo>
                    <a:pt x="208" y="250"/>
                  </a:lnTo>
                  <a:lnTo>
                    <a:pt x="208" y="249"/>
                  </a:lnTo>
                  <a:lnTo>
                    <a:pt x="210" y="247"/>
                  </a:lnTo>
                  <a:lnTo>
                    <a:pt x="211" y="247"/>
                  </a:lnTo>
                  <a:lnTo>
                    <a:pt x="211" y="246"/>
                  </a:lnTo>
                  <a:lnTo>
                    <a:pt x="212" y="246"/>
                  </a:lnTo>
                  <a:lnTo>
                    <a:pt x="212" y="245"/>
                  </a:lnTo>
                  <a:lnTo>
                    <a:pt x="212" y="245"/>
                  </a:lnTo>
                  <a:lnTo>
                    <a:pt x="212" y="244"/>
                  </a:lnTo>
                  <a:lnTo>
                    <a:pt x="212" y="243"/>
                  </a:lnTo>
                  <a:lnTo>
                    <a:pt x="212" y="243"/>
                  </a:lnTo>
                  <a:lnTo>
                    <a:pt x="212" y="242"/>
                  </a:lnTo>
                  <a:lnTo>
                    <a:pt x="212" y="241"/>
                  </a:lnTo>
                  <a:lnTo>
                    <a:pt x="211" y="241"/>
                  </a:lnTo>
                  <a:lnTo>
                    <a:pt x="210" y="240"/>
                  </a:lnTo>
                  <a:lnTo>
                    <a:pt x="209" y="239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4" y="234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3" y="232"/>
                  </a:lnTo>
                  <a:lnTo>
                    <a:pt x="202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1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30"/>
                  </a:lnTo>
                  <a:lnTo>
                    <a:pt x="205" y="230"/>
                  </a:lnTo>
                  <a:lnTo>
                    <a:pt x="206" y="229"/>
                  </a:lnTo>
                  <a:lnTo>
                    <a:pt x="207" y="229"/>
                  </a:lnTo>
                  <a:lnTo>
                    <a:pt x="207" y="228"/>
                  </a:lnTo>
                  <a:lnTo>
                    <a:pt x="208" y="228"/>
                  </a:lnTo>
                  <a:lnTo>
                    <a:pt x="208" y="227"/>
                  </a:lnTo>
                  <a:lnTo>
                    <a:pt x="209" y="227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0" y="225"/>
                  </a:lnTo>
                  <a:lnTo>
                    <a:pt x="210" y="224"/>
                  </a:lnTo>
                  <a:lnTo>
                    <a:pt x="210" y="224"/>
                  </a:lnTo>
                  <a:lnTo>
                    <a:pt x="209" y="223"/>
                  </a:lnTo>
                  <a:lnTo>
                    <a:pt x="209" y="222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08" y="218"/>
                  </a:lnTo>
                  <a:lnTo>
                    <a:pt x="208" y="217"/>
                  </a:lnTo>
                  <a:lnTo>
                    <a:pt x="209" y="217"/>
                  </a:lnTo>
                  <a:lnTo>
                    <a:pt x="209" y="216"/>
                  </a:lnTo>
                  <a:lnTo>
                    <a:pt x="209" y="215"/>
                  </a:lnTo>
                  <a:lnTo>
                    <a:pt x="210" y="215"/>
                  </a:lnTo>
                  <a:lnTo>
                    <a:pt x="210" y="214"/>
                  </a:lnTo>
                  <a:lnTo>
                    <a:pt x="211" y="214"/>
                  </a:lnTo>
                  <a:lnTo>
                    <a:pt x="211" y="213"/>
                  </a:lnTo>
                  <a:lnTo>
                    <a:pt x="212" y="213"/>
                  </a:lnTo>
                  <a:lnTo>
                    <a:pt x="214" y="212"/>
                  </a:lnTo>
                  <a:lnTo>
                    <a:pt x="215" y="211"/>
                  </a:lnTo>
                  <a:lnTo>
                    <a:pt x="216" y="211"/>
                  </a:lnTo>
                  <a:lnTo>
                    <a:pt x="217" y="210"/>
                  </a:lnTo>
                  <a:lnTo>
                    <a:pt x="218" y="209"/>
                  </a:lnTo>
                  <a:lnTo>
                    <a:pt x="219" y="208"/>
                  </a:lnTo>
                  <a:lnTo>
                    <a:pt x="219" y="208"/>
                  </a:lnTo>
                  <a:lnTo>
                    <a:pt x="219" y="207"/>
                  </a:lnTo>
                  <a:lnTo>
                    <a:pt x="219" y="206"/>
                  </a:lnTo>
                  <a:lnTo>
                    <a:pt x="219" y="205"/>
                  </a:lnTo>
                  <a:lnTo>
                    <a:pt x="219" y="203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18" y="201"/>
                  </a:lnTo>
                  <a:lnTo>
                    <a:pt x="218" y="201"/>
                  </a:lnTo>
                  <a:lnTo>
                    <a:pt x="218" y="200"/>
                  </a:lnTo>
                  <a:lnTo>
                    <a:pt x="217" y="200"/>
                  </a:lnTo>
                  <a:lnTo>
                    <a:pt x="217" y="199"/>
                  </a:lnTo>
                  <a:lnTo>
                    <a:pt x="217" y="198"/>
                  </a:lnTo>
                  <a:lnTo>
                    <a:pt x="215" y="198"/>
                  </a:lnTo>
                  <a:lnTo>
                    <a:pt x="213" y="196"/>
                  </a:lnTo>
                  <a:lnTo>
                    <a:pt x="212" y="195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10" y="191"/>
                  </a:lnTo>
                  <a:lnTo>
                    <a:pt x="210" y="190"/>
                  </a:lnTo>
                  <a:lnTo>
                    <a:pt x="210" y="189"/>
                  </a:lnTo>
                  <a:lnTo>
                    <a:pt x="210" y="188"/>
                  </a:lnTo>
                  <a:lnTo>
                    <a:pt x="210" y="187"/>
                  </a:lnTo>
                  <a:lnTo>
                    <a:pt x="211" y="186"/>
                  </a:lnTo>
                  <a:lnTo>
                    <a:pt x="211" y="185"/>
                  </a:lnTo>
                  <a:lnTo>
                    <a:pt x="212" y="184"/>
                  </a:lnTo>
                  <a:lnTo>
                    <a:pt x="212" y="183"/>
                  </a:lnTo>
                  <a:lnTo>
                    <a:pt x="212" y="182"/>
                  </a:lnTo>
                  <a:lnTo>
                    <a:pt x="213" y="181"/>
                  </a:lnTo>
                  <a:lnTo>
                    <a:pt x="214" y="180"/>
                  </a:lnTo>
                  <a:lnTo>
                    <a:pt x="215" y="178"/>
                  </a:lnTo>
                  <a:lnTo>
                    <a:pt x="216" y="178"/>
                  </a:lnTo>
                  <a:lnTo>
                    <a:pt x="217" y="177"/>
                  </a:lnTo>
                  <a:lnTo>
                    <a:pt x="219" y="175"/>
                  </a:lnTo>
                  <a:lnTo>
                    <a:pt x="220" y="175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3"/>
                  </a:lnTo>
                  <a:lnTo>
                    <a:pt x="222" y="173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2" y="171"/>
                  </a:lnTo>
                  <a:lnTo>
                    <a:pt x="221" y="171"/>
                  </a:lnTo>
                  <a:lnTo>
                    <a:pt x="221" y="170"/>
                  </a:lnTo>
                  <a:lnTo>
                    <a:pt x="221" y="169"/>
                  </a:lnTo>
                  <a:lnTo>
                    <a:pt x="220" y="168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7" y="165"/>
                  </a:lnTo>
                  <a:lnTo>
                    <a:pt x="217" y="164"/>
                  </a:lnTo>
                  <a:lnTo>
                    <a:pt x="217" y="163"/>
                  </a:lnTo>
                  <a:lnTo>
                    <a:pt x="217" y="163"/>
                  </a:lnTo>
                  <a:lnTo>
                    <a:pt x="217" y="162"/>
                  </a:lnTo>
                  <a:lnTo>
                    <a:pt x="217" y="161"/>
                  </a:lnTo>
                  <a:lnTo>
                    <a:pt x="217" y="160"/>
                  </a:lnTo>
                  <a:lnTo>
                    <a:pt x="217" y="159"/>
                  </a:lnTo>
                  <a:lnTo>
                    <a:pt x="218" y="159"/>
                  </a:lnTo>
                  <a:lnTo>
                    <a:pt x="218" y="158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3" y="151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8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2" y="147"/>
                  </a:lnTo>
                  <a:lnTo>
                    <a:pt x="222" y="146"/>
                  </a:lnTo>
                  <a:lnTo>
                    <a:pt x="222" y="146"/>
                  </a:lnTo>
                  <a:lnTo>
                    <a:pt x="221" y="146"/>
                  </a:lnTo>
                  <a:lnTo>
                    <a:pt x="218" y="145"/>
                  </a:lnTo>
                  <a:lnTo>
                    <a:pt x="217" y="145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5" y="144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1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0"/>
                  </a:lnTo>
                  <a:lnTo>
                    <a:pt x="215" y="140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9"/>
                  </a:lnTo>
                  <a:lnTo>
                    <a:pt x="216" y="138"/>
                  </a:lnTo>
                  <a:lnTo>
                    <a:pt x="215" y="138"/>
                  </a:lnTo>
                  <a:lnTo>
                    <a:pt x="215" y="138"/>
                  </a:lnTo>
                  <a:lnTo>
                    <a:pt x="210" y="134"/>
                  </a:lnTo>
                  <a:lnTo>
                    <a:pt x="207" y="132"/>
                  </a:lnTo>
                  <a:lnTo>
                    <a:pt x="206" y="131"/>
                  </a:lnTo>
                  <a:lnTo>
                    <a:pt x="206" y="131"/>
                  </a:lnTo>
                  <a:lnTo>
                    <a:pt x="205" y="130"/>
                  </a:lnTo>
                  <a:lnTo>
                    <a:pt x="205" y="130"/>
                  </a:lnTo>
                  <a:lnTo>
                    <a:pt x="205" y="129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7"/>
                  </a:lnTo>
                  <a:lnTo>
                    <a:pt x="205" y="126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6" y="119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3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8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4"/>
                  </a:lnTo>
                  <a:lnTo>
                    <a:pt x="214" y="101"/>
                  </a:lnTo>
                  <a:lnTo>
                    <a:pt x="215" y="100"/>
                  </a:lnTo>
                  <a:lnTo>
                    <a:pt x="216" y="99"/>
                  </a:lnTo>
                  <a:lnTo>
                    <a:pt x="216" y="98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20" y="95"/>
                  </a:lnTo>
                  <a:lnTo>
                    <a:pt x="221" y="95"/>
                  </a:lnTo>
                  <a:lnTo>
                    <a:pt x="222" y="95"/>
                  </a:lnTo>
                  <a:lnTo>
                    <a:pt x="223" y="94"/>
                  </a:lnTo>
                  <a:lnTo>
                    <a:pt x="226" y="94"/>
                  </a:lnTo>
                  <a:lnTo>
                    <a:pt x="228" y="94"/>
                  </a:lnTo>
                  <a:lnTo>
                    <a:pt x="230" y="93"/>
                  </a:lnTo>
                  <a:lnTo>
                    <a:pt x="231" y="93"/>
                  </a:lnTo>
                  <a:lnTo>
                    <a:pt x="232" y="93"/>
                  </a:lnTo>
                  <a:lnTo>
                    <a:pt x="233" y="92"/>
                  </a:lnTo>
                  <a:lnTo>
                    <a:pt x="234" y="92"/>
                  </a:lnTo>
                  <a:lnTo>
                    <a:pt x="234" y="91"/>
                  </a:lnTo>
                  <a:lnTo>
                    <a:pt x="235" y="91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8"/>
                  </a:lnTo>
                  <a:lnTo>
                    <a:pt x="235" y="88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3" y="87"/>
                  </a:lnTo>
                  <a:lnTo>
                    <a:pt x="233" y="86"/>
                  </a:lnTo>
                  <a:lnTo>
                    <a:pt x="232" y="86"/>
                  </a:lnTo>
                  <a:lnTo>
                    <a:pt x="231" y="86"/>
                  </a:lnTo>
                  <a:lnTo>
                    <a:pt x="229" y="85"/>
                  </a:lnTo>
                  <a:lnTo>
                    <a:pt x="228" y="85"/>
                  </a:lnTo>
                  <a:lnTo>
                    <a:pt x="228" y="85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4"/>
                  </a:lnTo>
                  <a:lnTo>
                    <a:pt x="227" y="83"/>
                  </a:lnTo>
                  <a:lnTo>
                    <a:pt x="228" y="83"/>
                  </a:lnTo>
                  <a:lnTo>
                    <a:pt x="228" y="82"/>
                  </a:lnTo>
                  <a:lnTo>
                    <a:pt x="229" y="81"/>
                  </a:lnTo>
                  <a:lnTo>
                    <a:pt x="231" y="80"/>
                  </a:lnTo>
                  <a:lnTo>
                    <a:pt x="231" y="79"/>
                  </a:lnTo>
                  <a:lnTo>
                    <a:pt x="232" y="79"/>
                  </a:lnTo>
                  <a:lnTo>
                    <a:pt x="233" y="78"/>
                  </a:lnTo>
                  <a:lnTo>
                    <a:pt x="234" y="77"/>
                  </a:lnTo>
                  <a:lnTo>
                    <a:pt x="235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7" y="77"/>
                  </a:lnTo>
                  <a:lnTo>
                    <a:pt x="238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0" y="77"/>
                  </a:lnTo>
                  <a:lnTo>
                    <a:pt x="240" y="78"/>
                  </a:lnTo>
                  <a:lnTo>
                    <a:pt x="241" y="78"/>
                  </a:lnTo>
                  <a:lnTo>
                    <a:pt x="241" y="79"/>
                  </a:lnTo>
                  <a:lnTo>
                    <a:pt x="242" y="80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3" y="82"/>
                  </a:lnTo>
                  <a:lnTo>
                    <a:pt x="243" y="82"/>
                  </a:lnTo>
                  <a:lnTo>
                    <a:pt x="244" y="83"/>
                  </a:lnTo>
                  <a:lnTo>
                    <a:pt x="244" y="83"/>
                  </a:lnTo>
                  <a:lnTo>
                    <a:pt x="245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8" y="82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1"/>
                  </a:lnTo>
                  <a:lnTo>
                    <a:pt x="250" y="80"/>
                  </a:lnTo>
                  <a:lnTo>
                    <a:pt x="250" y="78"/>
                  </a:lnTo>
                  <a:lnTo>
                    <a:pt x="251" y="77"/>
                  </a:lnTo>
                  <a:lnTo>
                    <a:pt x="251" y="76"/>
                  </a:lnTo>
                  <a:lnTo>
                    <a:pt x="251" y="75"/>
                  </a:lnTo>
                  <a:lnTo>
                    <a:pt x="251" y="75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3"/>
                  </a:lnTo>
                  <a:lnTo>
                    <a:pt x="251" y="72"/>
                  </a:lnTo>
                  <a:lnTo>
                    <a:pt x="250" y="71"/>
                  </a:lnTo>
                  <a:lnTo>
                    <a:pt x="249" y="70"/>
                  </a:lnTo>
                  <a:lnTo>
                    <a:pt x="249" y="69"/>
                  </a:lnTo>
                  <a:lnTo>
                    <a:pt x="247" y="68"/>
                  </a:lnTo>
                  <a:lnTo>
                    <a:pt x="247" y="67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6" y="65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3"/>
                  </a:lnTo>
                  <a:lnTo>
                    <a:pt x="249" y="63"/>
                  </a:lnTo>
                  <a:lnTo>
                    <a:pt x="249" y="63"/>
                  </a:lnTo>
                  <a:lnTo>
                    <a:pt x="250" y="63"/>
                  </a:lnTo>
                  <a:lnTo>
                    <a:pt x="251" y="62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4" y="61"/>
                  </a:lnTo>
                  <a:lnTo>
                    <a:pt x="255" y="59"/>
                  </a:lnTo>
                  <a:lnTo>
                    <a:pt x="256" y="58"/>
                  </a:lnTo>
                  <a:lnTo>
                    <a:pt x="257" y="57"/>
                  </a:lnTo>
                  <a:lnTo>
                    <a:pt x="258" y="55"/>
                  </a:lnTo>
                  <a:lnTo>
                    <a:pt x="258" y="54"/>
                  </a:lnTo>
                  <a:lnTo>
                    <a:pt x="259" y="53"/>
                  </a:lnTo>
                  <a:lnTo>
                    <a:pt x="259" y="52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7" y="45"/>
                  </a:lnTo>
                  <a:lnTo>
                    <a:pt x="257" y="44"/>
                  </a:lnTo>
                  <a:lnTo>
                    <a:pt x="256" y="44"/>
                  </a:lnTo>
                  <a:lnTo>
                    <a:pt x="253" y="42"/>
                  </a:lnTo>
                  <a:lnTo>
                    <a:pt x="253" y="42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51" y="40"/>
                  </a:lnTo>
                  <a:lnTo>
                    <a:pt x="250" y="39"/>
                  </a:lnTo>
                  <a:lnTo>
                    <a:pt x="250" y="38"/>
                  </a:lnTo>
                  <a:lnTo>
                    <a:pt x="250" y="38"/>
                  </a:lnTo>
                  <a:lnTo>
                    <a:pt x="250" y="37"/>
                  </a:lnTo>
                  <a:lnTo>
                    <a:pt x="250" y="37"/>
                  </a:lnTo>
                  <a:lnTo>
                    <a:pt x="250" y="36"/>
                  </a:lnTo>
                  <a:lnTo>
                    <a:pt x="250" y="35"/>
                  </a:lnTo>
                  <a:lnTo>
                    <a:pt x="252" y="31"/>
                  </a:lnTo>
                  <a:lnTo>
                    <a:pt x="252" y="29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6" y="25"/>
                  </a:lnTo>
                  <a:lnTo>
                    <a:pt x="256" y="24"/>
                  </a:lnTo>
                  <a:lnTo>
                    <a:pt x="257" y="24"/>
                  </a:lnTo>
                  <a:lnTo>
                    <a:pt x="257" y="23"/>
                  </a:lnTo>
                  <a:lnTo>
                    <a:pt x="259" y="22"/>
                  </a:lnTo>
                  <a:lnTo>
                    <a:pt x="260" y="21"/>
                  </a:lnTo>
                  <a:lnTo>
                    <a:pt x="261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8"/>
                  </a:lnTo>
                  <a:lnTo>
                    <a:pt x="264" y="17"/>
                  </a:lnTo>
                  <a:lnTo>
                    <a:pt x="265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1" y="18"/>
                  </a:lnTo>
                  <a:lnTo>
                    <a:pt x="272" y="18"/>
                  </a:lnTo>
                  <a:lnTo>
                    <a:pt x="273" y="18"/>
                  </a:lnTo>
                  <a:lnTo>
                    <a:pt x="275" y="18"/>
                  </a:lnTo>
                  <a:lnTo>
                    <a:pt x="277" y="17"/>
                  </a:lnTo>
                  <a:lnTo>
                    <a:pt x="280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7" y="18"/>
                  </a:lnTo>
                  <a:lnTo>
                    <a:pt x="289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5" y="18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8" y="16"/>
                  </a:lnTo>
                  <a:lnTo>
                    <a:pt x="298" y="15"/>
                  </a:lnTo>
                  <a:lnTo>
                    <a:pt x="298" y="14"/>
                  </a:lnTo>
                  <a:lnTo>
                    <a:pt x="299" y="13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2" y="2"/>
                  </a:lnTo>
                  <a:lnTo>
                    <a:pt x="302" y="1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69">
              <a:extLst>
                <a:ext uri="{FF2B5EF4-FFF2-40B4-BE49-F238E27FC236}">
                  <a16:creationId xmlns:a16="http://schemas.microsoft.com/office/drawing/2014/main" id="{CD9B00AA-D930-C850-5495-3C88BCF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365" cy="541"/>
            </a:xfrm>
            <a:custGeom>
              <a:avLst/>
              <a:gdLst>
                <a:gd name="T0" fmla="*/ 183 w 365"/>
                <a:gd name="T1" fmla="*/ 74 h 541"/>
                <a:gd name="T2" fmla="*/ 199 w 365"/>
                <a:gd name="T3" fmla="*/ 75 h 541"/>
                <a:gd name="T4" fmla="*/ 205 w 365"/>
                <a:gd name="T5" fmla="*/ 104 h 541"/>
                <a:gd name="T6" fmla="*/ 178 w 365"/>
                <a:gd name="T7" fmla="*/ 117 h 541"/>
                <a:gd name="T8" fmla="*/ 153 w 365"/>
                <a:gd name="T9" fmla="*/ 151 h 541"/>
                <a:gd name="T10" fmla="*/ 137 w 365"/>
                <a:gd name="T11" fmla="*/ 197 h 541"/>
                <a:gd name="T12" fmla="*/ 143 w 365"/>
                <a:gd name="T13" fmla="*/ 226 h 541"/>
                <a:gd name="T14" fmla="*/ 133 w 365"/>
                <a:gd name="T15" fmla="*/ 253 h 541"/>
                <a:gd name="T16" fmla="*/ 143 w 365"/>
                <a:gd name="T17" fmla="*/ 275 h 541"/>
                <a:gd name="T18" fmla="*/ 152 w 365"/>
                <a:gd name="T19" fmla="*/ 287 h 541"/>
                <a:gd name="T20" fmla="*/ 184 w 365"/>
                <a:gd name="T21" fmla="*/ 270 h 541"/>
                <a:gd name="T22" fmla="*/ 195 w 365"/>
                <a:gd name="T23" fmla="*/ 287 h 541"/>
                <a:gd name="T24" fmla="*/ 208 w 365"/>
                <a:gd name="T25" fmla="*/ 288 h 541"/>
                <a:gd name="T26" fmla="*/ 222 w 365"/>
                <a:gd name="T27" fmla="*/ 279 h 541"/>
                <a:gd name="T28" fmla="*/ 229 w 365"/>
                <a:gd name="T29" fmla="*/ 270 h 541"/>
                <a:gd name="T30" fmla="*/ 240 w 365"/>
                <a:gd name="T31" fmla="*/ 299 h 541"/>
                <a:gd name="T32" fmla="*/ 269 w 365"/>
                <a:gd name="T33" fmla="*/ 317 h 541"/>
                <a:gd name="T34" fmla="*/ 294 w 365"/>
                <a:gd name="T35" fmla="*/ 318 h 541"/>
                <a:gd name="T36" fmla="*/ 297 w 365"/>
                <a:gd name="T37" fmla="*/ 350 h 541"/>
                <a:gd name="T38" fmla="*/ 314 w 365"/>
                <a:gd name="T39" fmla="*/ 355 h 541"/>
                <a:gd name="T40" fmla="*/ 347 w 365"/>
                <a:gd name="T41" fmla="*/ 394 h 541"/>
                <a:gd name="T42" fmla="*/ 355 w 365"/>
                <a:gd name="T43" fmla="*/ 401 h 541"/>
                <a:gd name="T44" fmla="*/ 361 w 365"/>
                <a:gd name="T45" fmla="*/ 419 h 541"/>
                <a:gd name="T46" fmla="*/ 341 w 365"/>
                <a:gd name="T47" fmla="*/ 426 h 541"/>
                <a:gd name="T48" fmla="*/ 324 w 365"/>
                <a:gd name="T49" fmla="*/ 456 h 541"/>
                <a:gd name="T50" fmla="*/ 299 w 365"/>
                <a:gd name="T51" fmla="*/ 451 h 541"/>
                <a:gd name="T52" fmla="*/ 282 w 365"/>
                <a:gd name="T53" fmla="*/ 457 h 541"/>
                <a:gd name="T54" fmla="*/ 282 w 365"/>
                <a:gd name="T55" fmla="*/ 476 h 541"/>
                <a:gd name="T56" fmla="*/ 256 w 365"/>
                <a:gd name="T57" fmla="*/ 477 h 541"/>
                <a:gd name="T58" fmla="*/ 239 w 365"/>
                <a:gd name="T59" fmla="*/ 496 h 541"/>
                <a:gd name="T60" fmla="*/ 208 w 365"/>
                <a:gd name="T61" fmla="*/ 488 h 541"/>
                <a:gd name="T62" fmla="*/ 198 w 365"/>
                <a:gd name="T63" fmla="*/ 479 h 541"/>
                <a:gd name="T64" fmla="*/ 196 w 365"/>
                <a:gd name="T65" fmla="*/ 508 h 541"/>
                <a:gd name="T66" fmla="*/ 165 w 365"/>
                <a:gd name="T67" fmla="*/ 530 h 541"/>
                <a:gd name="T68" fmla="*/ 141 w 365"/>
                <a:gd name="T69" fmla="*/ 541 h 541"/>
                <a:gd name="T70" fmla="*/ 111 w 365"/>
                <a:gd name="T71" fmla="*/ 507 h 541"/>
                <a:gd name="T72" fmla="*/ 106 w 365"/>
                <a:gd name="T73" fmla="*/ 484 h 541"/>
                <a:gd name="T74" fmla="*/ 94 w 365"/>
                <a:gd name="T75" fmla="*/ 477 h 541"/>
                <a:gd name="T76" fmla="*/ 77 w 365"/>
                <a:gd name="T77" fmla="*/ 448 h 541"/>
                <a:gd name="T78" fmla="*/ 50 w 365"/>
                <a:gd name="T79" fmla="*/ 448 h 541"/>
                <a:gd name="T80" fmla="*/ 63 w 365"/>
                <a:gd name="T81" fmla="*/ 470 h 541"/>
                <a:gd name="T82" fmla="*/ 43 w 365"/>
                <a:gd name="T83" fmla="*/ 490 h 541"/>
                <a:gd name="T84" fmla="*/ 36 w 365"/>
                <a:gd name="T85" fmla="*/ 470 h 541"/>
                <a:gd name="T86" fmla="*/ 28 w 365"/>
                <a:gd name="T87" fmla="*/ 435 h 541"/>
                <a:gd name="T88" fmla="*/ 15 w 365"/>
                <a:gd name="T89" fmla="*/ 419 h 541"/>
                <a:gd name="T90" fmla="*/ 22 w 365"/>
                <a:gd name="T91" fmla="*/ 404 h 541"/>
                <a:gd name="T92" fmla="*/ 32 w 365"/>
                <a:gd name="T93" fmla="*/ 384 h 541"/>
                <a:gd name="T94" fmla="*/ 40 w 365"/>
                <a:gd name="T95" fmla="*/ 353 h 541"/>
                <a:gd name="T96" fmla="*/ 27 w 365"/>
                <a:gd name="T97" fmla="*/ 333 h 541"/>
                <a:gd name="T98" fmla="*/ 18 w 365"/>
                <a:gd name="T99" fmla="*/ 306 h 541"/>
                <a:gd name="T100" fmla="*/ 9 w 365"/>
                <a:gd name="T101" fmla="*/ 274 h 541"/>
                <a:gd name="T102" fmla="*/ 4 w 365"/>
                <a:gd name="T103" fmla="*/ 225 h 541"/>
                <a:gd name="T104" fmla="*/ 12 w 365"/>
                <a:gd name="T105" fmla="*/ 206 h 541"/>
                <a:gd name="T106" fmla="*/ 25 w 365"/>
                <a:gd name="T107" fmla="*/ 176 h 541"/>
                <a:gd name="T108" fmla="*/ 39 w 365"/>
                <a:gd name="T109" fmla="*/ 128 h 541"/>
                <a:gd name="T110" fmla="*/ 53 w 365"/>
                <a:gd name="T111" fmla="*/ 105 h 541"/>
                <a:gd name="T112" fmla="*/ 80 w 365"/>
                <a:gd name="T113" fmla="*/ 103 h 541"/>
                <a:gd name="T114" fmla="*/ 85 w 365"/>
                <a:gd name="T115" fmla="*/ 78 h 541"/>
                <a:gd name="T116" fmla="*/ 57 w 365"/>
                <a:gd name="T117" fmla="*/ 44 h 541"/>
                <a:gd name="T118" fmla="*/ 40 w 365"/>
                <a:gd name="T119" fmla="*/ 14 h 541"/>
                <a:gd name="T120" fmla="*/ 69 w 365"/>
                <a:gd name="T121" fmla="*/ 10 h 541"/>
                <a:gd name="T122" fmla="*/ 113 w 365"/>
                <a:gd name="T123" fmla="*/ 22 h 541"/>
                <a:gd name="T124" fmla="*/ 143 w 365"/>
                <a:gd name="T125" fmla="*/ 4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541">
                  <a:moveTo>
                    <a:pt x="169" y="56"/>
                  </a:moveTo>
                  <a:lnTo>
                    <a:pt x="170" y="55"/>
                  </a:lnTo>
                  <a:lnTo>
                    <a:pt x="171" y="55"/>
                  </a:lnTo>
                  <a:lnTo>
                    <a:pt x="172" y="55"/>
                  </a:lnTo>
                  <a:lnTo>
                    <a:pt x="176" y="54"/>
                  </a:lnTo>
                  <a:lnTo>
                    <a:pt x="177" y="54"/>
                  </a:lnTo>
                  <a:lnTo>
                    <a:pt x="178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1" y="55"/>
                  </a:lnTo>
                  <a:lnTo>
                    <a:pt x="181" y="56"/>
                  </a:lnTo>
                  <a:lnTo>
                    <a:pt x="182" y="58"/>
                  </a:lnTo>
                  <a:lnTo>
                    <a:pt x="183" y="61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2" y="72"/>
                  </a:lnTo>
                  <a:lnTo>
                    <a:pt x="182" y="73"/>
                  </a:lnTo>
                  <a:lnTo>
                    <a:pt x="183" y="74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4" y="77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9" y="77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91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4"/>
                  </a:lnTo>
                  <a:lnTo>
                    <a:pt x="195" y="74"/>
                  </a:lnTo>
                  <a:lnTo>
                    <a:pt x="197" y="75"/>
                  </a:lnTo>
                  <a:lnTo>
                    <a:pt x="198" y="75"/>
                  </a:lnTo>
                  <a:lnTo>
                    <a:pt x="199" y="75"/>
                  </a:lnTo>
                  <a:lnTo>
                    <a:pt x="200" y="76"/>
                  </a:lnTo>
                  <a:lnTo>
                    <a:pt x="201" y="76"/>
                  </a:lnTo>
                  <a:lnTo>
                    <a:pt x="202" y="77"/>
                  </a:lnTo>
                  <a:lnTo>
                    <a:pt x="203" y="77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5" y="79"/>
                  </a:lnTo>
                  <a:lnTo>
                    <a:pt x="206" y="80"/>
                  </a:lnTo>
                  <a:lnTo>
                    <a:pt x="206" y="81"/>
                  </a:lnTo>
                  <a:lnTo>
                    <a:pt x="207" y="82"/>
                  </a:lnTo>
                  <a:lnTo>
                    <a:pt x="207" y="82"/>
                  </a:lnTo>
                  <a:lnTo>
                    <a:pt x="208" y="83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94"/>
                  </a:lnTo>
                  <a:lnTo>
                    <a:pt x="207" y="97"/>
                  </a:lnTo>
                  <a:lnTo>
                    <a:pt x="207" y="98"/>
                  </a:lnTo>
                  <a:lnTo>
                    <a:pt x="207" y="100"/>
                  </a:lnTo>
                  <a:lnTo>
                    <a:pt x="206" y="101"/>
                  </a:lnTo>
                  <a:lnTo>
                    <a:pt x="206" y="102"/>
                  </a:lnTo>
                  <a:lnTo>
                    <a:pt x="206" y="103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04" y="104"/>
                  </a:lnTo>
                  <a:lnTo>
                    <a:pt x="204" y="105"/>
                  </a:lnTo>
                  <a:lnTo>
                    <a:pt x="203" y="105"/>
                  </a:lnTo>
                  <a:lnTo>
                    <a:pt x="202" y="105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8" y="105"/>
                  </a:lnTo>
                  <a:lnTo>
                    <a:pt x="197" y="104"/>
                  </a:lnTo>
                  <a:lnTo>
                    <a:pt x="195" y="104"/>
                  </a:lnTo>
                  <a:lnTo>
                    <a:pt x="194" y="104"/>
                  </a:lnTo>
                  <a:lnTo>
                    <a:pt x="194" y="104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6"/>
                  </a:lnTo>
                  <a:lnTo>
                    <a:pt x="190" y="107"/>
                  </a:lnTo>
                  <a:lnTo>
                    <a:pt x="189" y="109"/>
                  </a:lnTo>
                  <a:lnTo>
                    <a:pt x="185" y="113"/>
                  </a:lnTo>
                  <a:lnTo>
                    <a:pt x="184" y="114"/>
                  </a:lnTo>
                  <a:lnTo>
                    <a:pt x="183" y="115"/>
                  </a:lnTo>
                  <a:lnTo>
                    <a:pt x="182" y="115"/>
                  </a:lnTo>
                  <a:lnTo>
                    <a:pt x="181" y="116"/>
                  </a:lnTo>
                  <a:lnTo>
                    <a:pt x="180" y="116"/>
                  </a:lnTo>
                  <a:lnTo>
                    <a:pt x="178" y="117"/>
                  </a:lnTo>
                  <a:lnTo>
                    <a:pt x="177" y="118"/>
                  </a:lnTo>
                  <a:lnTo>
                    <a:pt x="176" y="118"/>
                  </a:lnTo>
                  <a:lnTo>
                    <a:pt x="175" y="119"/>
                  </a:lnTo>
                  <a:lnTo>
                    <a:pt x="174" y="120"/>
                  </a:lnTo>
                  <a:lnTo>
                    <a:pt x="173" y="120"/>
                  </a:lnTo>
                  <a:lnTo>
                    <a:pt x="171" y="123"/>
                  </a:lnTo>
                  <a:lnTo>
                    <a:pt x="170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6" y="126"/>
                  </a:lnTo>
                  <a:lnTo>
                    <a:pt x="165" y="128"/>
                  </a:lnTo>
                  <a:lnTo>
                    <a:pt x="163" y="130"/>
                  </a:lnTo>
                  <a:lnTo>
                    <a:pt x="158" y="136"/>
                  </a:lnTo>
                  <a:lnTo>
                    <a:pt x="156" y="138"/>
                  </a:lnTo>
                  <a:lnTo>
                    <a:pt x="156" y="139"/>
                  </a:lnTo>
                  <a:lnTo>
                    <a:pt x="155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5" y="145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4" y="149"/>
                  </a:lnTo>
                  <a:lnTo>
                    <a:pt x="154" y="150"/>
                  </a:lnTo>
                  <a:lnTo>
                    <a:pt x="153" y="151"/>
                  </a:lnTo>
                  <a:lnTo>
                    <a:pt x="152" y="155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6"/>
                  </a:lnTo>
                  <a:lnTo>
                    <a:pt x="151" y="170"/>
                  </a:lnTo>
                  <a:lnTo>
                    <a:pt x="151" y="172"/>
                  </a:lnTo>
                  <a:lnTo>
                    <a:pt x="151" y="174"/>
                  </a:lnTo>
                  <a:lnTo>
                    <a:pt x="151" y="175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79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8" y="182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1" y="191"/>
                  </a:lnTo>
                  <a:lnTo>
                    <a:pt x="140" y="192"/>
                  </a:lnTo>
                  <a:lnTo>
                    <a:pt x="139" y="194"/>
                  </a:lnTo>
                  <a:lnTo>
                    <a:pt x="138" y="195"/>
                  </a:lnTo>
                  <a:lnTo>
                    <a:pt x="137" y="197"/>
                  </a:lnTo>
                  <a:lnTo>
                    <a:pt x="136" y="199"/>
                  </a:lnTo>
                  <a:lnTo>
                    <a:pt x="135" y="200"/>
                  </a:lnTo>
                  <a:lnTo>
                    <a:pt x="135" y="201"/>
                  </a:lnTo>
                  <a:lnTo>
                    <a:pt x="135" y="202"/>
                  </a:lnTo>
                  <a:lnTo>
                    <a:pt x="135" y="203"/>
                  </a:lnTo>
                  <a:lnTo>
                    <a:pt x="134" y="204"/>
                  </a:lnTo>
                  <a:lnTo>
                    <a:pt x="134" y="208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5" y="216"/>
                  </a:lnTo>
                  <a:lnTo>
                    <a:pt x="135" y="216"/>
                  </a:lnTo>
                  <a:lnTo>
                    <a:pt x="136" y="218"/>
                  </a:lnTo>
                  <a:lnTo>
                    <a:pt x="140" y="222"/>
                  </a:lnTo>
                  <a:lnTo>
                    <a:pt x="141" y="223"/>
                  </a:lnTo>
                  <a:lnTo>
                    <a:pt x="141" y="224"/>
                  </a:lnTo>
                  <a:lnTo>
                    <a:pt x="142" y="224"/>
                  </a:lnTo>
                  <a:lnTo>
                    <a:pt x="142" y="225"/>
                  </a:lnTo>
                  <a:lnTo>
                    <a:pt x="142" y="226"/>
                  </a:lnTo>
                  <a:lnTo>
                    <a:pt x="143" y="226"/>
                  </a:lnTo>
                  <a:lnTo>
                    <a:pt x="143" y="227"/>
                  </a:lnTo>
                  <a:lnTo>
                    <a:pt x="143" y="228"/>
                  </a:lnTo>
                  <a:lnTo>
                    <a:pt x="143" y="228"/>
                  </a:lnTo>
                  <a:lnTo>
                    <a:pt x="143" y="229"/>
                  </a:lnTo>
                  <a:lnTo>
                    <a:pt x="143" y="230"/>
                  </a:lnTo>
                  <a:lnTo>
                    <a:pt x="143" y="231"/>
                  </a:lnTo>
                  <a:lnTo>
                    <a:pt x="142" y="232"/>
                  </a:lnTo>
                  <a:lnTo>
                    <a:pt x="141" y="233"/>
                  </a:lnTo>
                  <a:lnTo>
                    <a:pt x="141" y="234"/>
                  </a:lnTo>
                  <a:lnTo>
                    <a:pt x="140" y="235"/>
                  </a:lnTo>
                  <a:lnTo>
                    <a:pt x="138" y="238"/>
                  </a:lnTo>
                  <a:lnTo>
                    <a:pt x="137" y="240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5" y="247"/>
                  </a:lnTo>
                  <a:lnTo>
                    <a:pt x="135" y="248"/>
                  </a:lnTo>
                  <a:lnTo>
                    <a:pt x="135" y="249"/>
                  </a:lnTo>
                  <a:lnTo>
                    <a:pt x="134" y="250"/>
                  </a:lnTo>
                  <a:lnTo>
                    <a:pt x="134" y="251"/>
                  </a:lnTo>
                  <a:lnTo>
                    <a:pt x="133" y="253"/>
                  </a:lnTo>
                  <a:lnTo>
                    <a:pt x="132" y="256"/>
                  </a:lnTo>
                  <a:lnTo>
                    <a:pt x="131" y="257"/>
                  </a:lnTo>
                  <a:lnTo>
                    <a:pt x="131" y="258"/>
                  </a:lnTo>
                  <a:lnTo>
                    <a:pt x="131" y="259"/>
                  </a:lnTo>
                  <a:lnTo>
                    <a:pt x="131" y="260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1" y="263"/>
                  </a:lnTo>
                  <a:lnTo>
                    <a:pt x="132" y="265"/>
                  </a:lnTo>
                  <a:lnTo>
                    <a:pt x="133" y="266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9"/>
                  </a:lnTo>
                  <a:lnTo>
                    <a:pt x="137" y="272"/>
                  </a:lnTo>
                  <a:lnTo>
                    <a:pt x="138" y="272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1" y="274"/>
                  </a:lnTo>
                  <a:lnTo>
                    <a:pt x="141" y="275"/>
                  </a:lnTo>
                  <a:lnTo>
                    <a:pt x="142" y="275"/>
                  </a:lnTo>
                  <a:lnTo>
                    <a:pt x="143" y="275"/>
                  </a:lnTo>
                  <a:lnTo>
                    <a:pt x="144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8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0" y="273"/>
                  </a:lnTo>
                  <a:lnTo>
                    <a:pt x="151" y="273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1" y="275"/>
                  </a:lnTo>
                  <a:lnTo>
                    <a:pt x="151" y="276"/>
                  </a:lnTo>
                  <a:lnTo>
                    <a:pt x="151" y="278"/>
                  </a:lnTo>
                  <a:lnTo>
                    <a:pt x="150" y="281"/>
                  </a:lnTo>
                  <a:lnTo>
                    <a:pt x="150" y="282"/>
                  </a:lnTo>
                  <a:lnTo>
                    <a:pt x="150" y="283"/>
                  </a:lnTo>
                  <a:lnTo>
                    <a:pt x="150" y="284"/>
                  </a:lnTo>
                  <a:lnTo>
                    <a:pt x="151" y="285"/>
                  </a:lnTo>
                  <a:lnTo>
                    <a:pt x="151" y="285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52" y="286"/>
                  </a:lnTo>
                  <a:lnTo>
                    <a:pt x="152" y="287"/>
                  </a:lnTo>
                  <a:lnTo>
                    <a:pt x="153" y="287"/>
                  </a:lnTo>
                  <a:lnTo>
                    <a:pt x="153" y="287"/>
                  </a:lnTo>
                  <a:lnTo>
                    <a:pt x="154" y="287"/>
                  </a:lnTo>
                  <a:lnTo>
                    <a:pt x="158" y="287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4" y="286"/>
                  </a:lnTo>
                  <a:lnTo>
                    <a:pt x="164" y="285"/>
                  </a:lnTo>
                  <a:lnTo>
                    <a:pt x="165" y="284"/>
                  </a:lnTo>
                  <a:lnTo>
                    <a:pt x="166" y="283"/>
                  </a:lnTo>
                  <a:lnTo>
                    <a:pt x="167" y="282"/>
                  </a:lnTo>
                  <a:lnTo>
                    <a:pt x="168" y="281"/>
                  </a:lnTo>
                  <a:lnTo>
                    <a:pt x="169" y="280"/>
                  </a:lnTo>
                  <a:lnTo>
                    <a:pt x="172" y="278"/>
                  </a:lnTo>
                  <a:lnTo>
                    <a:pt x="175" y="275"/>
                  </a:lnTo>
                  <a:lnTo>
                    <a:pt x="176" y="274"/>
                  </a:lnTo>
                  <a:lnTo>
                    <a:pt x="178" y="273"/>
                  </a:lnTo>
                  <a:lnTo>
                    <a:pt x="179" y="272"/>
                  </a:lnTo>
                  <a:lnTo>
                    <a:pt x="180" y="272"/>
                  </a:lnTo>
                  <a:lnTo>
                    <a:pt x="181" y="272"/>
                  </a:lnTo>
                  <a:lnTo>
                    <a:pt x="182" y="271"/>
                  </a:lnTo>
                  <a:lnTo>
                    <a:pt x="184" y="270"/>
                  </a:lnTo>
                  <a:lnTo>
                    <a:pt x="185" y="270"/>
                  </a:lnTo>
                  <a:lnTo>
                    <a:pt x="185" y="270"/>
                  </a:lnTo>
                  <a:lnTo>
                    <a:pt x="187" y="269"/>
                  </a:lnTo>
                  <a:lnTo>
                    <a:pt x="189" y="269"/>
                  </a:lnTo>
                  <a:lnTo>
                    <a:pt x="190" y="269"/>
                  </a:lnTo>
                  <a:lnTo>
                    <a:pt x="191" y="269"/>
                  </a:lnTo>
                  <a:lnTo>
                    <a:pt x="192" y="269"/>
                  </a:lnTo>
                  <a:lnTo>
                    <a:pt x="192" y="269"/>
                  </a:lnTo>
                  <a:lnTo>
                    <a:pt x="193" y="270"/>
                  </a:lnTo>
                  <a:lnTo>
                    <a:pt x="194" y="270"/>
                  </a:lnTo>
                  <a:lnTo>
                    <a:pt x="194" y="271"/>
                  </a:lnTo>
                  <a:lnTo>
                    <a:pt x="195" y="271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7" y="273"/>
                  </a:lnTo>
                  <a:lnTo>
                    <a:pt x="197" y="274"/>
                  </a:lnTo>
                  <a:lnTo>
                    <a:pt x="197" y="275"/>
                  </a:lnTo>
                  <a:lnTo>
                    <a:pt x="197" y="275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6" y="280"/>
                  </a:lnTo>
                  <a:lnTo>
                    <a:pt x="195" y="284"/>
                  </a:lnTo>
                  <a:lnTo>
                    <a:pt x="195" y="287"/>
                  </a:lnTo>
                  <a:lnTo>
                    <a:pt x="195" y="287"/>
                  </a:lnTo>
                  <a:lnTo>
                    <a:pt x="195" y="288"/>
                  </a:lnTo>
                  <a:lnTo>
                    <a:pt x="195" y="289"/>
                  </a:lnTo>
                  <a:lnTo>
                    <a:pt x="195" y="290"/>
                  </a:lnTo>
                  <a:lnTo>
                    <a:pt x="196" y="291"/>
                  </a:lnTo>
                  <a:lnTo>
                    <a:pt x="196" y="293"/>
                  </a:lnTo>
                  <a:lnTo>
                    <a:pt x="197" y="294"/>
                  </a:lnTo>
                  <a:lnTo>
                    <a:pt x="198" y="295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1" y="296"/>
                  </a:lnTo>
                  <a:lnTo>
                    <a:pt x="201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2" y="296"/>
                  </a:lnTo>
                  <a:lnTo>
                    <a:pt x="203" y="295"/>
                  </a:lnTo>
                  <a:lnTo>
                    <a:pt x="204" y="293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7" y="290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9" y="287"/>
                  </a:lnTo>
                  <a:lnTo>
                    <a:pt x="209" y="286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11" y="284"/>
                  </a:lnTo>
                  <a:lnTo>
                    <a:pt x="211" y="284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4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5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7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82"/>
                  </a:lnTo>
                  <a:lnTo>
                    <a:pt x="220" y="282"/>
                  </a:lnTo>
                  <a:lnTo>
                    <a:pt x="220" y="281"/>
                  </a:lnTo>
                  <a:lnTo>
                    <a:pt x="221" y="280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8"/>
                  </a:lnTo>
                  <a:lnTo>
                    <a:pt x="223" y="278"/>
                  </a:lnTo>
                  <a:lnTo>
                    <a:pt x="223" y="277"/>
                  </a:lnTo>
                  <a:lnTo>
                    <a:pt x="223" y="276"/>
                  </a:lnTo>
                  <a:lnTo>
                    <a:pt x="223" y="275"/>
                  </a:lnTo>
                  <a:lnTo>
                    <a:pt x="222" y="274"/>
                  </a:lnTo>
                  <a:lnTo>
                    <a:pt x="221" y="267"/>
                  </a:lnTo>
                  <a:lnTo>
                    <a:pt x="220" y="266"/>
                  </a:lnTo>
                  <a:lnTo>
                    <a:pt x="220" y="265"/>
                  </a:lnTo>
                  <a:lnTo>
                    <a:pt x="220" y="265"/>
                  </a:lnTo>
                  <a:lnTo>
                    <a:pt x="221" y="264"/>
                  </a:lnTo>
                  <a:lnTo>
                    <a:pt x="221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3" y="263"/>
                  </a:lnTo>
                  <a:lnTo>
                    <a:pt x="224" y="263"/>
                  </a:lnTo>
                  <a:lnTo>
                    <a:pt x="225" y="263"/>
                  </a:lnTo>
                  <a:lnTo>
                    <a:pt x="225" y="263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6" y="264"/>
                  </a:lnTo>
                  <a:lnTo>
                    <a:pt x="227" y="265"/>
                  </a:lnTo>
                  <a:lnTo>
                    <a:pt x="228" y="268"/>
                  </a:lnTo>
                  <a:lnTo>
                    <a:pt x="229" y="270"/>
                  </a:lnTo>
                  <a:lnTo>
                    <a:pt x="230" y="272"/>
                  </a:lnTo>
                  <a:lnTo>
                    <a:pt x="230" y="273"/>
                  </a:lnTo>
                  <a:lnTo>
                    <a:pt x="231" y="274"/>
                  </a:lnTo>
                  <a:lnTo>
                    <a:pt x="231" y="27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1" y="280"/>
                  </a:lnTo>
                  <a:lnTo>
                    <a:pt x="231" y="281"/>
                  </a:lnTo>
                  <a:lnTo>
                    <a:pt x="232" y="283"/>
                  </a:lnTo>
                  <a:lnTo>
                    <a:pt x="232" y="284"/>
                  </a:lnTo>
                  <a:lnTo>
                    <a:pt x="234" y="286"/>
                  </a:lnTo>
                  <a:lnTo>
                    <a:pt x="234" y="287"/>
                  </a:lnTo>
                  <a:lnTo>
                    <a:pt x="235" y="288"/>
                  </a:lnTo>
                  <a:lnTo>
                    <a:pt x="235" y="288"/>
                  </a:lnTo>
                  <a:lnTo>
                    <a:pt x="235" y="289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6" y="292"/>
                  </a:lnTo>
                  <a:lnTo>
                    <a:pt x="236" y="293"/>
                  </a:lnTo>
                  <a:lnTo>
                    <a:pt x="236" y="294"/>
                  </a:lnTo>
                  <a:lnTo>
                    <a:pt x="237" y="295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40" y="299"/>
                  </a:lnTo>
                  <a:lnTo>
                    <a:pt x="241" y="300"/>
                  </a:lnTo>
                  <a:lnTo>
                    <a:pt x="242" y="301"/>
                  </a:lnTo>
                  <a:lnTo>
                    <a:pt x="243" y="303"/>
                  </a:lnTo>
                  <a:lnTo>
                    <a:pt x="243" y="304"/>
                  </a:lnTo>
                  <a:lnTo>
                    <a:pt x="244" y="305"/>
                  </a:lnTo>
                  <a:lnTo>
                    <a:pt x="245" y="306"/>
                  </a:lnTo>
                  <a:lnTo>
                    <a:pt x="245" y="306"/>
                  </a:lnTo>
                  <a:lnTo>
                    <a:pt x="246" y="307"/>
                  </a:lnTo>
                  <a:lnTo>
                    <a:pt x="247" y="307"/>
                  </a:lnTo>
                  <a:lnTo>
                    <a:pt x="249" y="308"/>
                  </a:lnTo>
                  <a:lnTo>
                    <a:pt x="250" y="309"/>
                  </a:lnTo>
                  <a:lnTo>
                    <a:pt x="251" y="309"/>
                  </a:lnTo>
                  <a:lnTo>
                    <a:pt x="252" y="310"/>
                  </a:lnTo>
                  <a:lnTo>
                    <a:pt x="253" y="311"/>
                  </a:lnTo>
                  <a:lnTo>
                    <a:pt x="254" y="312"/>
                  </a:lnTo>
                  <a:lnTo>
                    <a:pt x="255" y="313"/>
                  </a:lnTo>
                  <a:lnTo>
                    <a:pt x="256" y="313"/>
                  </a:lnTo>
                  <a:lnTo>
                    <a:pt x="260" y="315"/>
                  </a:lnTo>
                  <a:lnTo>
                    <a:pt x="262" y="316"/>
                  </a:lnTo>
                  <a:lnTo>
                    <a:pt x="263" y="316"/>
                  </a:lnTo>
                  <a:lnTo>
                    <a:pt x="264" y="316"/>
                  </a:lnTo>
                  <a:lnTo>
                    <a:pt x="267" y="317"/>
                  </a:lnTo>
                  <a:lnTo>
                    <a:pt x="268" y="317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0" y="317"/>
                  </a:lnTo>
                  <a:lnTo>
                    <a:pt x="271" y="317"/>
                  </a:lnTo>
                  <a:lnTo>
                    <a:pt x="273" y="316"/>
                  </a:lnTo>
                  <a:lnTo>
                    <a:pt x="275" y="315"/>
                  </a:lnTo>
                  <a:lnTo>
                    <a:pt x="277" y="314"/>
                  </a:lnTo>
                  <a:lnTo>
                    <a:pt x="278" y="314"/>
                  </a:lnTo>
                  <a:lnTo>
                    <a:pt x="283" y="312"/>
                  </a:lnTo>
                  <a:lnTo>
                    <a:pt x="284" y="312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88" y="311"/>
                  </a:lnTo>
                  <a:lnTo>
                    <a:pt x="289" y="311"/>
                  </a:lnTo>
                  <a:lnTo>
                    <a:pt x="289" y="311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3"/>
                  </a:lnTo>
                  <a:lnTo>
                    <a:pt x="292" y="314"/>
                  </a:lnTo>
                  <a:lnTo>
                    <a:pt x="293" y="315"/>
                  </a:lnTo>
                  <a:lnTo>
                    <a:pt x="293" y="316"/>
                  </a:lnTo>
                  <a:lnTo>
                    <a:pt x="294" y="317"/>
                  </a:lnTo>
                  <a:lnTo>
                    <a:pt x="294" y="318"/>
                  </a:lnTo>
                  <a:lnTo>
                    <a:pt x="295" y="320"/>
                  </a:lnTo>
                  <a:lnTo>
                    <a:pt x="295" y="321"/>
                  </a:lnTo>
                  <a:lnTo>
                    <a:pt x="295" y="323"/>
                  </a:lnTo>
                  <a:lnTo>
                    <a:pt x="295" y="324"/>
                  </a:lnTo>
                  <a:lnTo>
                    <a:pt x="295" y="325"/>
                  </a:lnTo>
                  <a:lnTo>
                    <a:pt x="295" y="326"/>
                  </a:lnTo>
                  <a:lnTo>
                    <a:pt x="295" y="327"/>
                  </a:lnTo>
                  <a:lnTo>
                    <a:pt x="295" y="328"/>
                  </a:lnTo>
                  <a:lnTo>
                    <a:pt x="294" y="332"/>
                  </a:lnTo>
                  <a:lnTo>
                    <a:pt x="293" y="334"/>
                  </a:lnTo>
                  <a:lnTo>
                    <a:pt x="293" y="335"/>
                  </a:lnTo>
                  <a:lnTo>
                    <a:pt x="293" y="336"/>
                  </a:lnTo>
                  <a:lnTo>
                    <a:pt x="293" y="337"/>
                  </a:lnTo>
                  <a:lnTo>
                    <a:pt x="293" y="338"/>
                  </a:lnTo>
                  <a:lnTo>
                    <a:pt x="293" y="340"/>
                  </a:lnTo>
                  <a:lnTo>
                    <a:pt x="293" y="341"/>
                  </a:lnTo>
                  <a:lnTo>
                    <a:pt x="294" y="343"/>
                  </a:lnTo>
                  <a:lnTo>
                    <a:pt x="294" y="345"/>
                  </a:lnTo>
                  <a:lnTo>
                    <a:pt x="294" y="346"/>
                  </a:lnTo>
                  <a:lnTo>
                    <a:pt x="295" y="347"/>
                  </a:lnTo>
                  <a:lnTo>
                    <a:pt x="295" y="348"/>
                  </a:lnTo>
                  <a:lnTo>
                    <a:pt x="296" y="349"/>
                  </a:lnTo>
                  <a:lnTo>
                    <a:pt x="296" y="349"/>
                  </a:lnTo>
                  <a:lnTo>
                    <a:pt x="297" y="350"/>
                  </a:lnTo>
                  <a:lnTo>
                    <a:pt x="298" y="351"/>
                  </a:lnTo>
                  <a:lnTo>
                    <a:pt x="299" y="351"/>
                  </a:lnTo>
                  <a:lnTo>
                    <a:pt x="300" y="352"/>
                  </a:lnTo>
                  <a:lnTo>
                    <a:pt x="301" y="353"/>
                  </a:lnTo>
                  <a:lnTo>
                    <a:pt x="302" y="353"/>
                  </a:lnTo>
                  <a:lnTo>
                    <a:pt x="303" y="354"/>
                  </a:lnTo>
                  <a:lnTo>
                    <a:pt x="304" y="354"/>
                  </a:lnTo>
                  <a:lnTo>
                    <a:pt x="304" y="354"/>
                  </a:lnTo>
                  <a:lnTo>
                    <a:pt x="305" y="354"/>
                  </a:lnTo>
                  <a:lnTo>
                    <a:pt x="306" y="353"/>
                  </a:lnTo>
                  <a:lnTo>
                    <a:pt x="306" y="353"/>
                  </a:lnTo>
                  <a:lnTo>
                    <a:pt x="307" y="353"/>
                  </a:lnTo>
                  <a:lnTo>
                    <a:pt x="308" y="352"/>
                  </a:lnTo>
                  <a:lnTo>
                    <a:pt x="309" y="352"/>
                  </a:lnTo>
                  <a:lnTo>
                    <a:pt x="309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0" y="351"/>
                  </a:lnTo>
                  <a:lnTo>
                    <a:pt x="311" y="351"/>
                  </a:lnTo>
                  <a:lnTo>
                    <a:pt x="311" y="352"/>
                  </a:lnTo>
                  <a:lnTo>
                    <a:pt x="312" y="352"/>
                  </a:lnTo>
                  <a:lnTo>
                    <a:pt x="313" y="353"/>
                  </a:lnTo>
                  <a:lnTo>
                    <a:pt x="313" y="354"/>
                  </a:lnTo>
                  <a:lnTo>
                    <a:pt x="314" y="355"/>
                  </a:lnTo>
                  <a:lnTo>
                    <a:pt x="316" y="356"/>
                  </a:lnTo>
                  <a:lnTo>
                    <a:pt x="317" y="358"/>
                  </a:lnTo>
                  <a:lnTo>
                    <a:pt x="317" y="359"/>
                  </a:lnTo>
                  <a:lnTo>
                    <a:pt x="318" y="360"/>
                  </a:lnTo>
                  <a:lnTo>
                    <a:pt x="319" y="362"/>
                  </a:lnTo>
                  <a:lnTo>
                    <a:pt x="320" y="363"/>
                  </a:lnTo>
                  <a:lnTo>
                    <a:pt x="321" y="365"/>
                  </a:lnTo>
                  <a:lnTo>
                    <a:pt x="322" y="366"/>
                  </a:lnTo>
                  <a:lnTo>
                    <a:pt x="322" y="367"/>
                  </a:lnTo>
                  <a:lnTo>
                    <a:pt x="323" y="367"/>
                  </a:lnTo>
                  <a:lnTo>
                    <a:pt x="324" y="368"/>
                  </a:lnTo>
                  <a:lnTo>
                    <a:pt x="331" y="374"/>
                  </a:lnTo>
                  <a:lnTo>
                    <a:pt x="333" y="374"/>
                  </a:lnTo>
                  <a:lnTo>
                    <a:pt x="334" y="376"/>
                  </a:lnTo>
                  <a:lnTo>
                    <a:pt x="337" y="379"/>
                  </a:lnTo>
                  <a:lnTo>
                    <a:pt x="339" y="381"/>
                  </a:lnTo>
                  <a:lnTo>
                    <a:pt x="340" y="382"/>
                  </a:lnTo>
                  <a:lnTo>
                    <a:pt x="342" y="384"/>
                  </a:lnTo>
                  <a:lnTo>
                    <a:pt x="343" y="386"/>
                  </a:lnTo>
                  <a:lnTo>
                    <a:pt x="345" y="389"/>
                  </a:lnTo>
                  <a:lnTo>
                    <a:pt x="346" y="392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4"/>
                  </a:lnTo>
                  <a:lnTo>
                    <a:pt x="347" y="395"/>
                  </a:lnTo>
                  <a:lnTo>
                    <a:pt x="347" y="395"/>
                  </a:lnTo>
                  <a:lnTo>
                    <a:pt x="347" y="396"/>
                  </a:lnTo>
                  <a:lnTo>
                    <a:pt x="347" y="397"/>
                  </a:lnTo>
                  <a:lnTo>
                    <a:pt x="346" y="398"/>
                  </a:lnTo>
                  <a:lnTo>
                    <a:pt x="346" y="399"/>
                  </a:lnTo>
                  <a:lnTo>
                    <a:pt x="345" y="400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5" y="402"/>
                  </a:lnTo>
                  <a:lnTo>
                    <a:pt x="346" y="403"/>
                  </a:lnTo>
                  <a:lnTo>
                    <a:pt x="346" y="404"/>
                  </a:lnTo>
                  <a:lnTo>
                    <a:pt x="347" y="404"/>
                  </a:lnTo>
                  <a:lnTo>
                    <a:pt x="347" y="405"/>
                  </a:lnTo>
                  <a:lnTo>
                    <a:pt x="347" y="405"/>
                  </a:lnTo>
                  <a:lnTo>
                    <a:pt x="348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49" y="405"/>
                  </a:lnTo>
                  <a:lnTo>
                    <a:pt x="350" y="405"/>
                  </a:lnTo>
                  <a:lnTo>
                    <a:pt x="352" y="403"/>
                  </a:lnTo>
                  <a:lnTo>
                    <a:pt x="353" y="402"/>
                  </a:lnTo>
                  <a:lnTo>
                    <a:pt x="354" y="401"/>
                  </a:lnTo>
                  <a:lnTo>
                    <a:pt x="355" y="401"/>
                  </a:lnTo>
                  <a:lnTo>
                    <a:pt x="356" y="401"/>
                  </a:lnTo>
                  <a:lnTo>
                    <a:pt x="357" y="400"/>
                  </a:lnTo>
                  <a:lnTo>
                    <a:pt x="357" y="400"/>
                  </a:lnTo>
                  <a:lnTo>
                    <a:pt x="358" y="400"/>
                  </a:lnTo>
                  <a:lnTo>
                    <a:pt x="358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59" y="401"/>
                  </a:lnTo>
                  <a:lnTo>
                    <a:pt x="360" y="402"/>
                  </a:lnTo>
                  <a:lnTo>
                    <a:pt x="361" y="403"/>
                  </a:lnTo>
                  <a:lnTo>
                    <a:pt x="362" y="404"/>
                  </a:lnTo>
                  <a:lnTo>
                    <a:pt x="362" y="405"/>
                  </a:lnTo>
                  <a:lnTo>
                    <a:pt x="364" y="408"/>
                  </a:lnTo>
                  <a:lnTo>
                    <a:pt x="365" y="411"/>
                  </a:lnTo>
                  <a:lnTo>
                    <a:pt x="365" y="411"/>
                  </a:lnTo>
                  <a:lnTo>
                    <a:pt x="365" y="412"/>
                  </a:lnTo>
                  <a:lnTo>
                    <a:pt x="365" y="412"/>
                  </a:lnTo>
                  <a:lnTo>
                    <a:pt x="365" y="413"/>
                  </a:lnTo>
                  <a:lnTo>
                    <a:pt x="365" y="413"/>
                  </a:lnTo>
                  <a:lnTo>
                    <a:pt x="364" y="414"/>
                  </a:lnTo>
                  <a:lnTo>
                    <a:pt x="364" y="415"/>
                  </a:lnTo>
                  <a:lnTo>
                    <a:pt x="363" y="416"/>
                  </a:lnTo>
                  <a:lnTo>
                    <a:pt x="362" y="418"/>
                  </a:lnTo>
                  <a:lnTo>
                    <a:pt x="361" y="419"/>
                  </a:lnTo>
                  <a:lnTo>
                    <a:pt x="361" y="420"/>
                  </a:lnTo>
                  <a:lnTo>
                    <a:pt x="360" y="421"/>
                  </a:lnTo>
                  <a:lnTo>
                    <a:pt x="360" y="421"/>
                  </a:lnTo>
                  <a:lnTo>
                    <a:pt x="359" y="422"/>
                  </a:lnTo>
                  <a:lnTo>
                    <a:pt x="358" y="422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6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4" y="423"/>
                  </a:lnTo>
                  <a:lnTo>
                    <a:pt x="353" y="423"/>
                  </a:lnTo>
                  <a:lnTo>
                    <a:pt x="351" y="422"/>
                  </a:lnTo>
                  <a:lnTo>
                    <a:pt x="348" y="422"/>
                  </a:lnTo>
                  <a:lnTo>
                    <a:pt x="347" y="421"/>
                  </a:lnTo>
                  <a:lnTo>
                    <a:pt x="346" y="421"/>
                  </a:lnTo>
                  <a:lnTo>
                    <a:pt x="345" y="421"/>
                  </a:lnTo>
                  <a:lnTo>
                    <a:pt x="344" y="421"/>
                  </a:lnTo>
                  <a:lnTo>
                    <a:pt x="344" y="421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2" y="424"/>
                  </a:lnTo>
                  <a:lnTo>
                    <a:pt x="341" y="426"/>
                  </a:lnTo>
                  <a:lnTo>
                    <a:pt x="341" y="426"/>
                  </a:lnTo>
                  <a:lnTo>
                    <a:pt x="340" y="427"/>
                  </a:lnTo>
                  <a:lnTo>
                    <a:pt x="340" y="428"/>
                  </a:lnTo>
                  <a:lnTo>
                    <a:pt x="339" y="428"/>
                  </a:lnTo>
                  <a:lnTo>
                    <a:pt x="338" y="429"/>
                  </a:lnTo>
                  <a:lnTo>
                    <a:pt x="336" y="430"/>
                  </a:lnTo>
                  <a:lnTo>
                    <a:pt x="335" y="431"/>
                  </a:lnTo>
                  <a:lnTo>
                    <a:pt x="334" y="432"/>
                  </a:lnTo>
                  <a:lnTo>
                    <a:pt x="333" y="434"/>
                  </a:lnTo>
                  <a:lnTo>
                    <a:pt x="331" y="436"/>
                  </a:lnTo>
                  <a:lnTo>
                    <a:pt x="330" y="436"/>
                  </a:lnTo>
                  <a:lnTo>
                    <a:pt x="330" y="437"/>
                  </a:lnTo>
                  <a:lnTo>
                    <a:pt x="330" y="438"/>
                  </a:lnTo>
                  <a:lnTo>
                    <a:pt x="330" y="438"/>
                  </a:lnTo>
                  <a:lnTo>
                    <a:pt x="329" y="439"/>
                  </a:lnTo>
                  <a:lnTo>
                    <a:pt x="329" y="442"/>
                  </a:lnTo>
                  <a:lnTo>
                    <a:pt x="329" y="443"/>
                  </a:lnTo>
                  <a:lnTo>
                    <a:pt x="329" y="444"/>
                  </a:lnTo>
                  <a:lnTo>
                    <a:pt x="329" y="446"/>
                  </a:lnTo>
                  <a:lnTo>
                    <a:pt x="328" y="447"/>
                  </a:lnTo>
                  <a:lnTo>
                    <a:pt x="327" y="450"/>
                  </a:lnTo>
                  <a:lnTo>
                    <a:pt x="326" y="453"/>
                  </a:lnTo>
                  <a:lnTo>
                    <a:pt x="325" y="456"/>
                  </a:lnTo>
                  <a:lnTo>
                    <a:pt x="324" y="456"/>
                  </a:lnTo>
                  <a:lnTo>
                    <a:pt x="324" y="457"/>
                  </a:lnTo>
                  <a:lnTo>
                    <a:pt x="323" y="457"/>
                  </a:lnTo>
                  <a:lnTo>
                    <a:pt x="323" y="458"/>
                  </a:lnTo>
                  <a:lnTo>
                    <a:pt x="322" y="458"/>
                  </a:lnTo>
                  <a:lnTo>
                    <a:pt x="322" y="458"/>
                  </a:lnTo>
                  <a:lnTo>
                    <a:pt x="321" y="459"/>
                  </a:lnTo>
                  <a:lnTo>
                    <a:pt x="318" y="460"/>
                  </a:lnTo>
                  <a:lnTo>
                    <a:pt x="316" y="460"/>
                  </a:lnTo>
                  <a:lnTo>
                    <a:pt x="315" y="460"/>
                  </a:lnTo>
                  <a:lnTo>
                    <a:pt x="314" y="460"/>
                  </a:lnTo>
                  <a:lnTo>
                    <a:pt x="312" y="460"/>
                  </a:lnTo>
                  <a:lnTo>
                    <a:pt x="311" y="460"/>
                  </a:lnTo>
                  <a:lnTo>
                    <a:pt x="310" y="459"/>
                  </a:lnTo>
                  <a:lnTo>
                    <a:pt x="309" y="459"/>
                  </a:lnTo>
                  <a:lnTo>
                    <a:pt x="308" y="458"/>
                  </a:lnTo>
                  <a:lnTo>
                    <a:pt x="307" y="458"/>
                  </a:lnTo>
                  <a:lnTo>
                    <a:pt x="306" y="457"/>
                  </a:lnTo>
                  <a:lnTo>
                    <a:pt x="306" y="457"/>
                  </a:lnTo>
                  <a:lnTo>
                    <a:pt x="304" y="455"/>
                  </a:lnTo>
                  <a:lnTo>
                    <a:pt x="303" y="454"/>
                  </a:lnTo>
                  <a:lnTo>
                    <a:pt x="302" y="453"/>
                  </a:lnTo>
                  <a:lnTo>
                    <a:pt x="301" y="452"/>
                  </a:lnTo>
                  <a:lnTo>
                    <a:pt x="300" y="452"/>
                  </a:lnTo>
                  <a:lnTo>
                    <a:pt x="299" y="451"/>
                  </a:lnTo>
                  <a:lnTo>
                    <a:pt x="298" y="451"/>
                  </a:lnTo>
                  <a:lnTo>
                    <a:pt x="297" y="451"/>
                  </a:lnTo>
                  <a:lnTo>
                    <a:pt x="296" y="451"/>
                  </a:lnTo>
                  <a:lnTo>
                    <a:pt x="296" y="451"/>
                  </a:lnTo>
                  <a:lnTo>
                    <a:pt x="295" y="452"/>
                  </a:lnTo>
                  <a:lnTo>
                    <a:pt x="294" y="452"/>
                  </a:lnTo>
                  <a:lnTo>
                    <a:pt x="294" y="452"/>
                  </a:lnTo>
                  <a:lnTo>
                    <a:pt x="293" y="453"/>
                  </a:lnTo>
                  <a:lnTo>
                    <a:pt x="292" y="456"/>
                  </a:lnTo>
                  <a:lnTo>
                    <a:pt x="291" y="456"/>
                  </a:lnTo>
                  <a:lnTo>
                    <a:pt x="291" y="456"/>
                  </a:lnTo>
                  <a:lnTo>
                    <a:pt x="291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90" y="457"/>
                  </a:lnTo>
                  <a:lnTo>
                    <a:pt x="289" y="457"/>
                  </a:lnTo>
                  <a:lnTo>
                    <a:pt x="288" y="457"/>
                  </a:lnTo>
                  <a:lnTo>
                    <a:pt x="287" y="457"/>
                  </a:lnTo>
                  <a:lnTo>
                    <a:pt x="286" y="457"/>
                  </a:lnTo>
                  <a:lnTo>
                    <a:pt x="285" y="456"/>
                  </a:lnTo>
                  <a:lnTo>
                    <a:pt x="285" y="456"/>
                  </a:lnTo>
                  <a:lnTo>
                    <a:pt x="284" y="456"/>
                  </a:lnTo>
                  <a:lnTo>
                    <a:pt x="283" y="457"/>
                  </a:lnTo>
                  <a:lnTo>
                    <a:pt x="282" y="457"/>
                  </a:lnTo>
                  <a:lnTo>
                    <a:pt x="282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8"/>
                  </a:lnTo>
                  <a:lnTo>
                    <a:pt x="281" y="459"/>
                  </a:lnTo>
                  <a:lnTo>
                    <a:pt x="281" y="459"/>
                  </a:lnTo>
                  <a:lnTo>
                    <a:pt x="281" y="460"/>
                  </a:lnTo>
                  <a:lnTo>
                    <a:pt x="281" y="461"/>
                  </a:lnTo>
                  <a:lnTo>
                    <a:pt x="283" y="465"/>
                  </a:lnTo>
                  <a:lnTo>
                    <a:pt x="284" y="467"/>
                  </a:lnTo>
                  <a:lnTo>
                    <a:pt x="284" y="468"/>
                  </a:lnTo>
                  <a:lnTo>
                    <a:pt x="285" y="469"/>
                  </a:lnTo>
                  <a:lnTo>
                    <a:pt x="285" y="470"/>
                  </a:lnTo>
                  <a:lnTo>
                    <a:pt x="285" y="471"/>
                  </a:lnTo>
                  <a:lnTo>
                    <a:pt x="285" y="471"/>
                  </a:lnTo>
                  <a:lnTo>
                    <a:pt x="284" y="472"/>
                  </a:lnTo>
                  <a:lnTo>
                    <a:pt x="284" y="473"/>
                  </a:lnTo>
                  <a:lnTo>
                    <a:pt x="284" y="474"/>
                  </a:lnTo>
                  <a:lnTo>
                    <a:pt x="283" y="475"/>
                  </a:lnTo>
                  <a:lnTo>
                    <a:pt x="282" y="476"/>
                  </a:lnTo>
                  <a:lnTo>
                    <a:pt x="282" y="476"/>
                  </a:lnTo>
                  <a:lnTo>
                    <a:pt x="281" y="477"/>
                  </a:lnTo>
                  <a:lnTo>
                    <a:pt x="280" y="478"/>
                  </a:lnTo>
                  <a:lnTo>
                    <a:pt x="280" y="478"/>
                  </a:lnTo>
                  <a:lnTo>
                    <a:pt x="279" y="478"/>
                  </a:lnTo>
                  <a:lnTo>
                    <a:pt x="278" y="479"/>
                  </a:lnTo>
                  <a:lnTo>
                    <a:pt x="277" y="479"/>
                  </a:lnTo>
                  <a:lnTo>
                    <a:pt x="276" y="479"/>
                  </a:lnTo>
                  <a:lnTo>
                    <a:pt x="275" y="479"/>
                  </a:lnTo>
                  <a:lnTo>
                    <a:pt x="274" y="479"/>
                  </a:lnTo>
                  <a:lnTo>
                    <a:pt x="273" y="479"/>
                  </a:lnTo>
                  <a:lnTo>
                    <a:pt x="273" y="479"/>
                  </a:lnTo>
                  <a:lnTo>
                    <a:pt x="272" y="479"/>
                  </a:lnTo>
                  <a:lnTo>
                    <a:pt x="271" y="479"/>
                  </a:lnTo>
                  <a:lnTo>
                    <a:pt x="270" y="478"/>
                  </a:lnTo>
                  <a:lnTo>
                    <a:pt x="268" y="478"/>
                  </a:lnTo>
                  <a:lnTo>
                    <a:pt x="268" y="477"/>
                  </a:lnTo>
                  <a:lnTo>
                    <a:pt x="267" y="477"/>
                  </a:lnTo>
                  <a:lnTo>
                    <a:pt x="266" y="477"/>
                  </a:lnTo>
                  <a:lnTo>
                    <a:pt x="265" y="477"/>
                  </a:lnTo>
                  <a:lnTo>
                    <a:pt x="263" y="477"/>
                  </a:lnTo>
                  <a:lnTo>
                    <a:pt x="262" y="477"/>
                  </a:lnTo>
                  <a:lnTo>
                    <a:pt x="260" y="477"/>
                  </a:lnTo>
                  <a:lnTo>
                    <a:pt x="258" y="477"/>
                  </a:lnTo>
                  <a:lnTo>
                    <a:pt x="256" y="477"/>
                  </a:lnTo>
                  <a:lnTo>
                    <a:pt x="255" y="478"/>
                  </a:lnTo>
                  <a:lnTo>
                    <a:pt x="253" y="478"/>
                  </a:lnTo>
                  <a:lnTo>
                    <a:pt x="251" y="479"/>
                  </a:lnTo>
                  <a:lnTo>
                    <a:pt x="248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7" y="480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2"/>
                  </a:lnTo>
                  <a:lnTo>
                    <a:pt x="246" y="483"/>
                  </a:lnTo>
                  <a:lnTo>
                    <a:pt x="245" y="485"/>
                  </a:lnTo>
                  <a:lnTo>
                    <a:pt x="245" y="487"/>
                  </a:lnTo>
                  <a:lnTo>
                    <a:pt x="245" y="488"/>
                  </a:lnTo>
                  <a:lnTo>
                    <a:pt x="244" y="488"/>
                  </a:lnTo>
                  <a:lnTo>
                    <a:pt x="244" y="489"/>
                  </a:lnTo>
                  <a:lnTo>
                    <a:pt x="243" y="490"/>
                  </a:lnTo>
                  <a:lnTo>
                    <a:pt x="242" y="492"/>
                  </a:lnTo>
                  <a:lnTo>
                    <a:pt x="242" y="493"/>
                  </a:lnTo>
                  <a:lnTo>
                    <a:pt x="241" y="494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39" y="496"/>
                  </a:lnTo>
                  <a:lnTo>
                    <a:pt x="238" y="497"/>
                  </a:lnTo>
                  <a:lnTo>
                    <a:pt x="237" y="497"/>
                  </a:lnTo>
                  <a:lnTo>
                    <a:pt x="236" y="497"/>
                  </a:lnTo>
                  <a:lnTo>
                    <a:pt x="236" y="497"/>
                  </a:lnTo>
                  <a:lnTo>
                    <a:pt x="235" y="497"/>
                  </a:lnTo>
                  <a:lnTo>
                    <a:pt x="234" y="497"/>
                  </a:lnTo>
                  <a:lnTo>
                    <a:pt x="233" y="496"/>
                  </a:lnTo>
                  <a:lnTo>
                    <a:pt x="230" y="494"/>
                  </a:lnTo>
                  <a:lnTo>
                    <a:pt x="229" y="493"/>
                  </a:lnTo>
                  <a:lnTo>
                    <a:pt x="228" y="492"/>
                  </a:lnTo>
                  <a:lnTo>
                    <a:pt x="227" y="492"/>
                  </a:lnTo>
                  <a:lnTo>
                    <a:pt x="227" y="491"/>
                  </a:lnTo>
                  <a:lnTo>
                    <a:pt x="226" y="491"/>
                  </a:lnTo>
                  <a:lnTo>
                    <a:pt x="225" y="491"/>
                  </a:lnTo>
                  <a:lnTo>
                    <a:pt x="224" y="491"/>
                  </a:lnTo>
                  <a:lnTo>
                    <a:pt x="223" y="491"/>
                  </a:lnTo>
                  <a:lnTo>
                    <a:pt x="221" y="491"/>
                  </a:lnTo>
                  <a:lnTo>
                    <a:pt x="219" y="490"/>
                  </a:lnTo>
                  <a:lnTo>
                    <a:pt x="217" y="490"/>
                  </a:lnTo>
                  <a:lnTo>
                    <a:pt x="215" y="489"/>
                  </a:lnTo>
                  <a:lnTo>
                    <a:pt x="213" y="489"/>
                  </a:lnTo>
                  <a:lnTo>
                    <a:pt x="212" y="488"/>
                  </a:lnTo>
                  <a:lnTo>
                    <a:pt x="211" y="488"/>
                  </a:lnTo>
                  <a:lnTo>
                    <a:pt x="208" y="488"/>
                  </a:lnTo>
                  <a:lnTo>
                    <a:pt x="208" y="488"/>
                  </a:lnTo>
                  <a:lnTo>
                    <a:pt x="207" y="488"/>
                  </a:lnTo>
                  <a:lnTo>
                    <a:pt x="207" y="487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6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1"/>
                  </a:lnTo>
                  <a:lnTo>
                    <a:pt x="205" y="480"/>
                  </a:lnTo>
                  <a:lnTo>
                    <a:pt x="204" y="480"/>
                  </a:lnTo>
                  <a:lnTo>
                    <a:pt x="204" y="479"/>
                  </a:lnTo>
                  <a:lnTo>
                    <a:pt x="204" y="478"/>
                  </a:lnTo>
                  <a:lnTo>
                    <a:pt x="203" y="478"/>
                  </a:lnTo>
                  <a:lnTo>
                    <a:pt x="203" y="477"/>
                  </a:lnTo>
                  <a:lnTo>
                    <a:pt x="202" y="477"/>
                  </a:lnTo>
                  <a:lnTo>
                    <a:pt x="202" y="477"/>
                  </a:lnTo>
                  <a:lnTo>
                    <a:pt x="201" y="477"/>
                  </a:lnTo>
                  <a:lnTo>
                    <a:pt x="201" y="477"/>
                  </a:lnTo>
                  <a:lnTo>
                    <a:pt x="200" y="477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9" y="478"/>
                  </a:lnTo>
                  <a:lnTo>
                    <a:pt x="198" y="479"/>
                  </a:lnTo>
                  <a:lnTo>
                    <a:pt x="198" y="479"/>
                  </a:lnTo>
                  <a:lnTo>
                    <a:pt x="197" y="480"/>
                  </a:lnTo>
                  <a:lnTo>
                    <a:pt x="195" y="484"/>
                  </a:lnTo>
                  <a:lnTo>
                    <a:pt x="194" y="486"/>
                  </a:lnTo>
                  <a:lnTo>
                    <a:pt x="194" y="487"/>
                  </a:lnTo>
                  <a:lnTo>
                    <a:pt x="193" y="488"/>
                  </a:lnTo>
                  <a:lnTo>
                    <a:pt x="193" y="489"/>
                  </a:lnTo>
                  <a:lnTo>
                    <a:pt x="193" y="490"/>
                  </a:lnTo>
                  <a:lnTo>
                    <a:pt x="193" y="491"/>
                  </a:lnTo>
                  <a:lnTo>
                    <a:pt x="193" y="493"/>
                  </a:lnTo>
                  <a:lnTo>
                    <a:pt x="194" y="494"/>
                  </a:lnTo>
                  <a:lnTo>
                    <a:pt x="194" y="496"/>
                  </a:lnTo>
                  <a:lnTo>
                    <a:pt x="195" y="497"/>
                  </a:lnTo>
                  <a:lnTo>
                    <a:pt x="196" y="499"/>
                  </a:lnTo>
                  <a:lnTo>
                    <a:pt x="197" y="501"/>
                  </a:lnTo>
                  <a:lnTo>
                    <a:pt x="197" y="502"/>
                  </a:lnTo>
                  <a:lnTo>
                    <a:pt x="197" y="503"/>
                  </a:lnTo>
                  <a:lnTo>
                    <a:pt x="197" y="504"/>
                  </a:lnTo>
                  <a:lnTo>
                    <a:pt x="197" y="505"/>
                  </a:lnTo>
                  <a:lnTo>
                    <a:pt x="197" y="506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8"/>
                  </a:lnTo>
                  <a:lnTo>
                    <a:pt x="195" y="509"/>
                  </a:lnTo>
                  <a:lnTo>
                    <a:pt x="193" y="511"/>
                  </a:lnTo>
                  <a:lnTo>
                    <a:pt x="191" y="513"/>
                  </a:lnTo>
                  <a:lnTo>
                    <a:pt x="190" y="514"/>
                  </a:lnTo>
                  <a:lnTo>
                    <a:pt x="189" y="514"/>
                  </a:lnTo>
                  <a:lnTo>
                    <a:pt x="189" y="515"/>
                  </a:lnTo>
                  <a:lnTo>
                    <a:pt x="188" y="516"/>
                  </a:lnTo>
                  <a:lnTo>
                    <a:pt x="186" y="519"/>
                  </a:lnTo>
                  <a:lnTo>
                    <a:pt x="184" y="521"/>
                  </a:lnTo>
                  <a:lnTo>
                    <a:pt x="182" y="524"/>
                  </a:lnTo>
                  <a:lnTo>
                    <a:pt x="181" y="525"/>
                  </a:lnTo>
                  <a:lnTo>
                    <a:pt x="180" y="526"/>
                  </a:lnTo>
                  <a:lnTo>
                    <a:pt x="180" y="527"/>
                  </a:lnTo>
                  <a:lnTo>
                    <a:pt x="179" y="527"/>
                  </a:lnTo>
                  <a:lnTo>
                    <a:pt x="178" y="528"/>
                  </a:lnTo>
                  <a:lnTo>
                    <a:pt x="177" y="528"/>
                  </a:lnTo>
                  <a:lnTo>
                    <a:pt x="177" y="529"/>
                  </a:lnTo>
                  <a:lnTo>
                    <a:pt x="176" y="529"/>
                  </a:lnTo>
                  <a:lnTo>
                    <a:pt x="175" y="529"/>
                  </a:lnTo>
                  <a:lnTo>
                    <a:pt x="174" y="529"/>
                  </a:lnTo>
                  <a:lnTo>
                    <a:pt x="174" y="529"/>
                  </a:lnTo>
                  <a:lnTo>
                    <a:pt x="170" y="529"/>
                  </a:lnTo>
                  <a:lnTo>
                    <a:pt x="169" y="530"/>
                  </a:lnTo>
                  <a:lnTo>
                    <a:pt x="165" y="530"/>
                  </a:lnTo>
                  <a:lnTo>
                    <a:pt x="163" y="530"/>
                  </a:lnTo>
                  <a:lnTo>
                    <a:pt x="162" y="531"/>
                  </a:lnTo>
                  <a:lnTo>
                    <a:pt x="156" y="532"/>
                  </a:lnTo>
                  <a:lnTo>
                    <a:pt x="155" y="532"/>
                  </a:lnTo>
                  <a:lnTo>
                    <a:pt x="153" y="532"/>
                  </a:lnTo>
                  <a:lnTo>
                    <a:pt x="152" y="532"/>
                  </a:lnTo>
                  <a:lnTo>
                    <a:pt x="151" y="533"/>
                  </a:lnTo>
                  <a:lnTo>
                    <a:pt x="151" y="533"/>
                  </a:lnTo>
                  <a:lnTo>
                    <a:pt x="150" y="533"/>
                  </a:lnTo>
                  <a:lnTo>
                    <a:pt x="149" y="534"/>
                  </a:lnTo>
                  <a:lnTo>
                    <a:pt x="148" y="535"/>
                  </a:lnTo>
                  <a:lnTo>
                    <a:pt x="148" y="536"/>
                  </a:lnTo>
                  <a:lnTo>
                    <a:pt x="147" y="536"/>
                  </a:lnTo>
                  <a:lnTo>
                    <a:pt x="146" y="539"/>
                  </a:lnTo>
                  <a:lnTo>
                    <a:pt x="145" y="539"/>
                  </a:lnTo>
                  <a:lnTo>
                    <a:pt x="145" y="540"/>
                  </a:lnTo>
                  <a:lnTo>
                    <a:pt x="144" y="541"/>
                  </a:lnTo>
                  <a:lnTo>
                    <a:pt x="144" y="541"/>
                  </a:lnTo>
                  <a:lnTo>
                    <a:pt x="143" y="541"/>
                  </a:lnTo>
                  <a:lnTo>
                    <a:pt x="143" y="541"/>
                  </a:lnTo>
                  <a:lnTo>
                    <a:pt x="142" y="541"/>
                  </a:lnTo>
                  <a:lnTo>
                    <a:pt x="142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41"/>
                  </a:lnTo>
                  <a:lnTo>
                    <a:pt x="141" y="539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6" y="527"/>
                  </a:lnTo>
                  <a:lnTo>
                    <a:pt x="134" y="522"/>
                  </a:lnTo>
                  <a:lnTo>
                    <a:pt x="134" y="521"/>
                  </a:lnTo>
                  <a:lnTo>
                    <a:pt x="134" y="520"/>
                  </a:lnTo>
                  <a:lnTo>
                    <a:pt x="133" y="519"/>
                  </a:lnTo>
                  <a:lnTo>
                    <a:pt x="133" y="519"/>
                  </a:lnTo>
                  <a:lnTo>
                    <a:pt x="132" y="518"/>
                  </a:lnTo>
                  <a:lnTo>
                    <a:pt x="131" y="517"/>
                  </a:lnTo>
                  <a:lnTo>
                    <a:pt x="128" y="515"/>
                  </a:lnTo>
                  <a:lnTo>
                    <a:pt x="127" y="514"/>
                  </a:lnTo>
                  <a:lnTo>
                    <a:pt x="126" y="513"/>
                  </a:lnTo>
                  <a:lnTo>
                    <a:pt x="124" y="512"/>
                  </a:lnTo>
                  <a:lnTo>
                    <a:pt x="122" y="512"/>
                  </a:lnTo>
                  <a:lnTo>
                    <a:pt x="121" y="511"/>
                  </a:lnTo>
                  <a:lnTo>
                    <a:pt x="118" y="510"/>
                  </a:lnTo>
                  <a:lnTo>
                    <a:pt x="116" y="509"/>
                  </a:lnTo>
                  <a:lnTo>
                    <a:pt x="114" y="509"/>
                  </a:lnTo>
                  <a:lnTo>
                    <a:pt x="112" y="508"/>
                  </a:lnTo>
                  <a:lnTo>
                    <a:pt x="111" y="507"/>
                  </a:lnTo>
                  <a:lnTo>
                    <a:pt x="108" y="506"/>
                  </a:lnTo>
                  <a:lnTo>
                    <a:pt x="107" y="505"/>
                  </a:lnTo>
                  <a:lnTo>
                    <a:pt x="107" y="505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6" y="504"/>
                  </a:lnTo>
                  <a:lnTo>
                    <a:pt x="105" y="503"/>
                  </a:lnTo>
                  <a:lnTo>
                    <a:pt x="105" y="503"/>
                  </a:lnTo>
                  <a:lnTo>
                    <a:pt x="105" y="502"/>
                  </a:lnTo>
                  <a:lnTo>
                    <a:pt x="105" y="502"/>
                  </a:lnTo>
                  <a:lnTo>
                    <a:pt x="106" y="500"/>
                  </a:lnTo>
                  <a:lnTo>
                    <a:pt x="106" y="497"/>
                  </a:lnTo>
                  <a:lnTo>
                    <a:pt x="107" y="494"/>
                  </a:lnTo>
                  <a:lnTo>
                    <a:pt x="107" y="492"/>
                  </a:lnTo>
                  <a:lnTo>
                    <a:pt x="107" y="491"/>
                  </a:lnTo>
                  <a:lnTo>
                    <a:pt x="107" y="489"/>
                  </a:lnTo>
                  <a:lnTo>
                    <a:pt x="108" y="488"/>
                  </a:lnTo>
                  <a:lnTo>
                    <a:pt x="107" y="486"/>
                  </a:lnTo>
                  <a:lnTo>
                    <a:pt x="107" y="485"/>
                  </a:lnTo>
                  <a:lnTo>
                    <a:pt x="107" y="485"/>
                  </a:lnTo>
                  <a:lnTo>
                    <a:pt x="107" y="484"/>
                  </a:lnTo>
                  <a:lnTo>
                    <a:pt x="107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5" y="485"/>
                  </a:lnTo>
                  <a:lnTo>
                    <a:pt x="104" y="486"/>
                  </a:lnTo>
                  <a:lnTo>
                    <a:pt x="104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3" y="487"/>
                  </a:lnTo>
                  <a:lnTo>
                    <a:pt x="102" y="487"/>
                  </a:lnTo>
                  <a:lnTo>
                    <a:pt x="102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1" y="487"/>
                  </a:lnTo>
                  <a:lnTo>
                    <a:pt x="100" y="486"/>
                  </a:lnTo>
                  <a:lnTo>
                    <a:pt x="100" y="486"/>
                  </a:lnTo>
                  <a:lnTo>
                    <a:pt x="99" y="485"/>
                  </a:lnTo>
                  <a:lnTo>
                    <a:pt x="98" y="485"/>
                  </a:lnTo>
                  <a:lnTo>
                    <a:pt x="97" y="483"/>
                  </a:lnTo>
                  <a:lnTo>
                    <a:pt x="97" y="482"/>
                  </a:lnTo>
                  <a:lnTo>
                    <a:pt x="96" y="482"/>
                  </a:lnTo>
                  <a:lnTo>
                    <a:pt x="96" y="481"/>
                  </a:lnTo>
                  <a:lnTo>
                    <a:pt x="94" y="478"/>
                  </a:lnTo>
                  <a:lnTo>
                    <a:pt x="94" y="478"/>
                  </a:lnTo>
                  <a:lnTo>
                    <a:pt x="94" y="477"/>
                  </a:lnTo>
                  <a:lnTo>
                    <a:pt x="93" y="476"/>
                  </a:lnTo>
                  <a:lnTo>
                    <a:pt x="93" y="476"/>
                  </a:lnTo>
                  <a:lnTo>
                    <a:pt x="91" y="475"/>
                  </a:lnTo>
                  <a:lnTo>
                    <a:pt x="90" y="474"/>
                  </a:lnTo>
                  <a:lnTo>
                    <a:pt x="90" y="473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71"/>
                  </a:lnTo>
                  <a:lnTo>
                    <a:pt x="88" y="468"/>
                  </a:lnTo>
                  <a:lnTo>
                    <a:pt x="87" y="464"/>
                  </a:lnTo>
                  <a:lnTo>
                    <a:pt x="86" y="462"/>
                  </a:lnTo>
                  <a:lnTo>
                    <a:pt x="85" y="461"/>
                  </a:lnTo>
                  <a:lnTo>
                    <a:pt x="85" y="460"/>
                  </a:lnTo>
                  <a:lnTo>
                    <a:pt x="84" y="459"/>
                  </a:lnTo>
                  <a:lnTo>
                    <a:pt x="83" y="458"/>
                  </a:lnTo>
                  <a:lnTo>
                    <a:pt x="83" y="457"/>
                  </a:lnTo>
                  <a:lnTo>
                    <a:pt x="83" y="456"/>
                  </a:lnTo>
                  <a:lnTo>
                    <a:pt x="82" y="455"/>
                  </a:lnTo>
                  <a:lnTo>
                    <a:pt x="81" y="454"/>
                  </a:lnTo>
                  <a:lnTo>
                    <a:pt x="81" y="453"/>
                  </a:lnTo>
                  <a:lnTo>
                    <a:pt x="79" y="452"/>
                  </a:lnTo>
                  <a:lnTo>
                    <a:pt x="78" y="451"/>
                  </a:lnTo>
                  <a:lnTo>
                    <a:pt x="78" y="450"/>
                  </a:lnTo>
                  <a:lnTo>
                    <a:pt x="77" y="448"/>
                  </a:lnTo>
                  <a:lnTo>
                    <a:pt x="76" y="447"/>
                  </a:lnTo>
                  <a:lnTo>
                    <a:pt x="76" y="446"/>
                  </a:lnTo>
                  <a:lnTo>
                    <a:pt x="75" y="445"/>
                  </a:lnTo>
                  <a:lnTo>
                    <a:pt x="74" y="444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72" y="442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4" y="441"/>
                  </a:lnTo>
                  <a:lnTo>
                    <a:pt x="63" y="441"/>
                  </a:lnTo>
                  <a:lnTo>
                    <a:pt x="62" y="441"/>
                  </a:lnTo>
                  <a:lnTo>
                    <a:pt x="61" y="441"/>
                  </a:lnTo>
                  <a:lnTo>
                    <a:pt x="59" y="441"/>
                  </a:lnTo>
                  <a:lnTo>
                    <a:pt x="58" y="442"/>
                  </a:lnTo>
                  <a:lnTo>
                    <a:pt x="56" y="443"/>
                  </a:lnTo>
                  <a:lnTo>
                    <a:pt x="55" y="444"/>
                  </a:lnTo>
                  <a:lnTo>
                    <a:pt x="54" y="445"/>
                  </a:lnTo>
                  <a:lnTo>
                    <a:pt x="52" y="446"/>
                  </a:lnTo>
                  <a:lnTo>
                    <a:pt x="51" y="448"/>
                  </a:lnTo>
                  <a:lnTo>
                    <a:pt x="50" y="448"/>
                  </a:lnTo>
                  <a:lnTo>
                    <a:pt x="50" y="448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49"/>
                  </a:lnTo>
                  <a:lnTo>
                    <a:pt x="50" y="450"/>
                  </a:lnTo>
                  <a:lnTo>
                    <a:pt x="51" y="450"/>
                  </a:lnTo>
                  <a:lnTo>
                    <a:pt x="51" y="451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53"/>
                  </a:lnTo>
                  <a:lnTo>
                    <a:pt x="53" y="453"/>
                  </a:lnTo>
                  <a:lnTo>
                    <a:pt x="58" y="458"/>
                  </a:lnTo>
                  <a:lnTo>
                    <a:pt x="58" y="458"/>
                  </a:lnTo>
                  <a:lnTo>
                    <a:pt x="59" y="459"/>
                  </a:lnTo>
                  <a:lnTo>
                    <a:pt x="59" y="460"/>
                  </a:lnTo>
                  <a:lnTo>
                    <a:pt x="59" y="461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1" y="464"/>
                  </a:lnTo>
                  <a:lnTo>
                    <a:pt x="62" y="466"/>
                  </a:lnTo>
                  <a:lnTo>
                    <a:pt x="62" y="467"/>
                  </a:lnTo>
                  <a:lnTo>
                    <a:pt x="63" y="468"/>
                  </a:lnTo>
                  <a:lnTo>
                    <a:pt x="63" y="469"/>
                  </a:lnTo>
                  <a:lnTo>
                    <a:pt x="63" y="469"/>
                  </a:lnTo>
                  <a:lnTo>
                    <a:pt x="63" y="470"/>
                  </a:lnTo>
                  <a:lnTo>
                    <a:pt x="63" y="471"/>
                  </a:lnTo>
                  <a:lnTo>
                    <a:pt x="63" y="471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2" y="473"/>
                  </a:lnTo>
                  <a:lnTo>
                    <a:pt x="61" y="475"/>
                  </a:lnTo>
                  <a:lnTo>
                    <a:pt x="60" y="476"/>
                  </a:lnTo>
                  <a:lnTo>
                    <a:pt x="59" y="478"/>
                  </a:lnTo>
                  <a:lnTo>
                    <a:pt x="58" y="481"/>
                  </a:lnTo>
                  <a:lnTo>
                    <a:pt x="58" y="483"/>
                  </a:lnTo>
                  <a:lnTo>
                    <a:pt x="57" y="484"/>
                  </a:lnTo>
                  <a:lnTo>
                    <a:pt x="56" y="485"/>
                  </a:lnTo>
                  <a:lnTo>
                    <a:pt x="56" y="486"/>
                  </a:lnTo>
                  <a:lnTo>
                    <a:pt x="54" y="487"/>
                  </a:lnTo>
                  <a:lnTo>
                    <a:pt x="53" y="488"/>
                  </a:lnTo>
                  <a:lnTo>
                    <a:pt x="52" y="489"/>
                  </a:lnTo>
                  <a:lnTo>
                    <a:pt x="51" y="490"/>
                  </a:lnTo>
                  <a:lnTo>
                    <a:pt x="50" y="490"/>
                  </a:lnTo>
                  <a:lnTo>
                    <a:pt x="49" y="491"/>
                  </a:lnTo>
                  <a:lnTo>
                    <a:pt x="48" y="491"/>
                  </a:lnTo>
                  <a:lnTo>
                    <a:pt x="47" y="491"/>
                  </a:lnTo>
                  <a:lnTo>
                    <a:pt x="46" y="491"/>
                  </a:lnTo>
                  <a:lnTo>
                    <a:pt x="45" y="490"/>
                  </a:lnTo>
                  <a:lnTo>
                    <a:pt x="43" y="490"/>
                  </a:lnTo>
                  <a:lnTo>
                    <a:pt x="42" y="489"/>
                  </a:lnTo>
                  <a:lnTo>
                    <a:pt x="40" y="488"/>
                  </a:lnTo>
                  <a:lnTo>
                    <a:pt x="37" y="485"/>
                  </a:lnTo>
                  <a:lnTo>
                    <a:pt x="35" y="484"/>
                  </a:lnTo>
                  <a:lnTo>
                    <a:pt x="34" y="483"/>
                  </a:lnTo>
                  <a:lnTo>
                    <a:pt x="34" y="483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1" y="480"/>
                  </a:lnTo>
                  <a:lnTo>
                    <a:pt x="31" y="480"/>
                  </a:lnTo>
                  <a:lnTo>
                    <a:pt x="31" y="479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7"/>
                  </a:lnTo>
                  <a:lnTo>
                    <a:pt x="31" y="476"/>
                  </a:lnTo>
                  <a:lnTo>
                    <a:pt x="32" y="475"/>
                  </a:ln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  <a:close/>
                </a:path>
              </a:pathLst>
            </a:custGeom>
            <a:solidFill>
              <a:srgbClr val="828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70">
              <a:extLst>
                <a:ext uri="{FF2B5EF4-FFF2-40B4-BE49-F238E27FC236}">
                  <a16:creationId xmlns:a16="http://schemas.microsoft.com/office/drawing/2014/main" id="{24B96DA3-7900-963F-3B4E-AD97F96C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3194"/>
              <a:ext cx="334" cy="487"/>
            </a:xfrm>
            <a:custGeom>
              <a:avLst/>
              <a:gdLst>
                <a:gd name="T0" fmla="*/ 152 w 334"/>
                <a:gd name="T1" fmla="*/ 7 h 487"/>
                <a:gd name="T2" fmla="*/ 155 w 334"/>
                <a:gd name="T3" fmla="*/ 25 h 487"/>
                <a:gd name="T4" fmla="*/ 171 w 334"/>
                <a:gd name="T5" fmla="*/ 23 h 487"/>
                <a:gd name="T6" fmla="*/ 175 w 334"/>
                <a:gd name="T7" fmla="*/ 47 h 487"/>
                <a:gd name="T8" fmla="*/ 162 w 334"/>
                <a:gd name="T9" fmla="*/ 51 h 487"/>
                <a:gd name="T10" fmla="*/ 140 w 334"/>
                <a:gd name="T11" fmla="*/ 69 h 487"/>
                <a:gd name="T12" fmla="*/ 123 w 334"/>
                <a:gd name="T13" fmla="*/ 96 h 487"/>
                <a:gd name="T14" fmla="*/ 118 w 334"/>
                <a:gd name="T15" fmla="*/ 127 h 487"/>
                <a:gd name="T16" fmla="*/ 102 w 334"/>
                <a:gd name="T17" fmla="*/ 158 h 487"/>
                <a:gd name="T18" fmla="*/ 112 w 334"/>
                <a:gd name="T19" fmla="*/ 174 h 487"/>
                <a:gd name="T20" fmla="*/ 104 w 334"/>
                <a:gd name="T21" fmla="*/ 193 h 487"/>
                <a:gd name="T22" fmla="*/ 102 w 334"/>
                <a:gd name="T23" fmla="*/ 212 h 487"/>
                <a:gd name="T24" fmla="*/ 119 w 334"/>
                <a:gd name="T25" fmla="*/ 219 h 487"/>
                <a:gd name="T26" fmla="*/ 120 w 334"/>
                <a:gd name="T27" fmla="*/ 232 h 487"/>
                <a:gd name="T28" fmla="*/ 138 w 334"/>
                <a:gd name="T29" fmla="*/ 226 h 487"/>
                <a:gd name="T30" fmla="*/ 161 w 334"/>
                <a:gd name="T31" fmla="*/ 215 h 487"/>
                <a:gd name="T32" fmla="*/ 164 w 334"/>
                <a:gd name="T33" fmla="*/ 234 h 487"/>
                <a:gd name="T34" fmla="*/ 173 w 334"/>
                <a:gd name="T35" fmla="*/ 239 h 487"/>
                <a:gd name="T36" fmla="*/ 184 w 334"/>
                <a:gd name="T37" fmla="*/ 228 h 487"/>
                <a:gd name="T38" fmla="*/ 192 w 334"/>
                <a:gd name="T39" fmla="*/ 222 h 487"/>
                <a:gd name="T40" fmla="*/ 195 w 334"/>
                <a:gd name="T41" fmla="*/ 210 h 487"/>
                <a:gd name="T42" fmla="*/ 204 w 334"/>
                <a:gd name="T43" fmla="*/ 234 h 487"/>
                <a:gd name="T44" fmla="*/ 214 w 334"/>
                <a:gd name="T45" fmla="*/ 252 h 487"/>
                <a:gd name="T46" fmla="*/ 238 w 334"/>
                <a:gd name="T47" fmla="*/ 263 h 487"/>
                <a:gd name="T48" fmla="*/ 260 w 334"/>
                <a:gd name="T49" fmla="*/ 258 h 487"/>
                <a:gd name="T50" fmla="*/ 262 w 334"/>
                <a:gd name="T51" fmla="*/ 280 h 487"/>
                <a:gd name="T52" fmla="*/ 269 w 334"/>
                <a:gd name="T53" fmla="*/ 298 h 487"/>
                <a:gd name="T54" fmla="*/ 280 w 334"/>
                <a:gd name="T55" fmla="*/ 298 h 487"/>
                <a:gd name="T56" fmla="*/ 302 w 334"/>
                <a:gd name="T57" fmla="*/ 320 h 487"/>
                <a:gd name="T58" fmla="*/ 315 w 334"/>
                <a:gd name="T59" fmla="*/ 345 h 487"/>
                <a:gd name="T60" fmla="*/ 323 w 334"/>
                <a:gd name="T61" fmla="*/ 347 h 487"/>
                <a:gd name="T62" fmla="*/ 334 w 334"/>
                <a:gd name="T63" fmla="*/ 358 h 487"/>
                <a:gd name="T64" fmla="*/ 325 w 334"/>
                <a:gd name="T65" fmla="*/ 369 h 487"/>
                <a:gd name="T66" fmla="*/ 309 w 334"/>
                <a:gd name="T67" fmla="*/ 373 h 487"/>
                <a:gd name="T68" fmla="*/ 298 w 334"/>
                <a:gd name="T69" fmla="*/ 392 h 487"/>
                <a:gd name="T70" fmla="*/ 280 w 334"/>
                <a:gd name="T71" fmla="*/ 406 h 487"/>
                <a:gd name="T72" fmla="*/ 264 w 334"/>
                <a:gd name="T73" fmla="*/ 398 h 487"/>
                <a:gd name="T74" fmla="*/ 253 w 334"/>
                <a:gd name="T75" fmla="*/ 402 h 487"/>
                <a:gd name="T76" fmla="*/ 254 w 334"/>
                <a:gd name="T77" fmla="*/ 415 h 487"/>
                <a:gd name="T78" fmla="*/ 244 w 334"/>
                <a:gd name="T79" fmla="*/ 425 h 487"/>
                <a:gd name="T80" fmla="*/ 224 w 334"/>
                <a:gd name="T81" fmla="*/ 424 h 487"/>
                <a:gd name="T82" fmla="*/ 212 w 334"/>
                <a:gd name="T83" fmla="*/ 436 h 487"/>
                <a:gd name="T84" fmla="*/ 196 w 334"/>
                <a:gd name="T85" fmla="*/ 438 h 487"/>
                <a:gd name="T86" fmla="*/ 175 w 334"/>
                <a:gd name="T87" fmla="*/ 433 h 487"/>
                <a:gd name="T88" fmla="*/ 168 w 334"/>
                <a:gd name="T89" fmla="*/ 424 h 487"/>
                <a:gd name="T90" fmla="*/ 165 w 334"/>
                <a:gd name="T91" fmla="*/ 445 h 487"/>
                <a:gd name="T92" fmla="*/ 157 w 334"/>
                <a:gd name="T93" fmla="*/ 462 h 487"/>
                <a:gd name="T94" fmla="*/ 134 w 334"/>
                <a:gd name="T95" fmla="*/ 476 h 487"/>
                <a:gd name="T96" fmla="*/ 113 w 334"/>
                <a:gd name="T97" fmla="*/ 487 h 487"/>
                <a:gd name="T98" fmla="*/ 102 w 334"/>
                <a:gd name="T99" fmla="*/ 465 h 487"/>
                <a:gd name="T100" fmla="*/ 76 w 334"/>
                <a:gd name="T101" fmla="*/ 451 h 487"/>
                <a:gd name="T102" fmla="*/ 76 w 334"/>
                <a:gd name="T103" fmla="*/ 431 h 487"/>
                <a:gd name="T104" fmla="*/ 70 w 334"/>
                <a:gd name="T105" fmla="*/ 433 h 487"/>
                <a:gd name="T106" fmla="*/ 58 w 334"/>
                <a:gd name="T107" fmla="*/ 418 h 487"/>
                <a:gd name="T108" fmla="*/ 47 w 334"/>
                <a:gd name="T109" fmla="*/ 396 h 487"/>
                <a:gd name="T110" fmla="*/ 28 w 334"/>
                <a:gd name="T111" fmla="*/ 387 h 487"/>
                <a:gd name="T112" fmla="*/ 21 w 334"/>
                <a:gd name="T113" fmla="*/ 399 h 487"/>
                <a:gd name="T114" fmla="*/ 32 w 334"/>
                <a:gd name="T115" fmla="*/ 417 h 487"/>
                <a:gd name="T116" fmla="*/ 18 w 334"/>
                <a:gd name="T117" fmla="*/ 437 h 487"/>
                <a:gd name="T118" fmla="*/ 0 w 334"/>
                <a:gd name="T119" fmla="*/ 424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487">
                  <a:moveTo>
                    <a:pt x="138" y="2"/>
                  </a:moveTo>
                  <a:lnTo>
                    <a:pt x="139" y="1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9" y="1"/>
                  </a:lnTo>
                  <a:lnTo>
                    <a:pt x="150" y="1"/>
                  </a:lnTo>
                  <a:lnTo>
                    <a:pt x="150" y="2"/>
                  </a:lnTo>
                  <a:lnTo>
                    <a:pt x="151" y="4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10"/>
                  </a:lnTo>
                  <a:lnTo>
                    <a:pt x="151" y="18"/>
                  </a:lnTo>
                  <a:lnTo>
                    <a:pt x="151" y="19"/>
                  </a:lnTo>
                  <a:lnTo>
                    <a:pt x="152" y="20"/>
                  </a:lnTo>
                  <a:lnTo>
                    <a:pt x="152" y="22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3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4" y="20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5"/>
                  </a:lnTo>
                  <a:lnTo>
                    <a:pt x="175" y="26"/>
                  </a:lnTo>
                  <a:lnTo>
                    <a:pt x="175" y="27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77" y="29"/>
                  </a:lnTo>
                  <a:lnTo>
                    <a:pt x="177" y="30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40"/>
                  </a:lnTo>
                  <a:lnTo>
                    <a:pt x="176" y="43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1"/>
                  </a:lnTo>
                  <a:lnTo>
                    <a:pt x="171" y="51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8" y="51"/>
                  </a:lnTo>
                  <a:lnTo>
                    <a:pt x="167" y="51"/>
                  </a:lnTo>
                  <a:lnTo>
                    <a:pt x="166" y="50"/>
                  </a:lnTo>
                  <a:lnTo>
                    <a:pt x="164" y="50"/>
                  </a:lnTo>
                  <a:lnTo>
                    <a:pt x="163" y="50"/>
                  </a:lnTo>
                  <a:lnTo>
                    <a:pt x="163" y="50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0" y="52"/>
                  </a:lnTo>
                  <a:lnTo>
                    <a:pt x="159" y="53"/>
                  </a:lnTo>
                  <a:lnTo>
                    <a:pt x="158" y="55"/>
                  </a:lnTo>
                  <a:lnTo>
                    <a:pt x="154" y="59"/>
                  </a:lnTo>
                  <a:lnTo>
                    <a:pt x="153" y="60"/>
                  </a:lnTo>
                  <a:lnTo>
                    <a:pt x="152" y="61"/>
                  </a:lnTo>
                  <a:lnTo>
                    <a:pt x="151" y="61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7" y="63"/>
                  </a:lnTo>
                  <a:lnTo>
                    <a:pt x="146" y="64"/>
                  </a:lnTo>
                  <a:lnTo>
                    <a:pt x="145" y="64"/>
                  </a:lnTo>
                  <a:lnTo>
                    <a:pt x="144" y="65"/>
                  </a:lnTo>
                  <a:lnTo>
                    <a:pt x="143" y="66"/>
                  </a:lnTo>
                  <a:lnTo>
                    <a:pt x="142" y="66"/>
                  </a:lnTo>
                  <a:lnTo>
                    <a:pt x="140" y="69"/>
                  </a:lnTo>
                  <a:lnTo>
                    <a:pt x="139" y="69"/>
                  </a:lnTo>
                  <a:lnTo>
                    <a:pt x="138" y="70"/>
                  </a:lnTo>
                  <a:lnTo>
                    <a:pt x="136" y="72"/>
                  </a:lnTo>
                  <a:lnTo>
                    <a:pt x="135" y="72"/>
                  </a:lnTo>
                  <a:lnTo>
                    <a:pt x="134" y="74"/>
                  </a:lnTo>
                  <a:lnTo>
                    <a:pt x="132" y="76"/>
                  </a:lnTo>
                  <a:lnTo>
                    <a:pt x="127" y="82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6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91"/>
                  </a:lnTo>
                  <a:lnTo>
                    <a:pt x="123" y="93"/>
                  </a:lnTo>
                  <a:lnTo>
                    <a:pt x="123" y="94"/>
                  </a:lnTo>
                  <a:lnTo>
                    <a:pt x="123" y="95"/>
                  </a:lnTo>
                  <a:lnTo>
                    <a:pt x="123" y="96"/>
                  </a:lnTo>
                  <a:lnTo>
                    <a:pt x="122" y="97"/>
                  </a:lnTo>
                  <a:lnTo>
                    <a:pt x="121" y="101"/>
                  </a:lnTo>
                  <a:lnTo>
                    <a:pt x="120" y="102"/>
                  </a:lnTo>
                  <a:lnTo>
                    <a:pt x="120" y="103"/>
                  </a:lnTo>
                  <a:lnTo>
                    <a:pt x="119" y="104"/>
                  </a:lnTo>
                  <a:lnTo>
                    <a:pt x="119" y="106"/>
                  </a:lnTo>
                  <a:lnTo>
                    <a:pt x="119" y="107"/>
                  </a:lnTo>
                  <a:lnTo>
                    <a:pt x="120" y="112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20"/>
                  </a:lnTo>
                  <a:lnTo>
                    <a:pt x="120" y="121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9" y="125"/>
                  </a:lnTo>
                  <a:lnTo>
                    <a:pt x="118" y="126"/>
                  </a:lnTo>
                  <a:lnTo>
                    <a:pt x="118" y="127"/>
                  </a:lnTo>
                  <a:lnTo>
                    <a:pt x="117" y="128"/>
                  </a:lnTo>
                  <a:lnTo>
                    <a:pt x="116" y="130"/>
                  </a:lnTo>
                  <a:lnTo>
                    <a:pt x="115" y="130"/>
                  </a:lnTo>
                  <a:lnTo>
                    <a:pt x="110" y="137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7" y="141"/>
                  </a:lnTo>
                  <a:lnTo>
                    <a:pt x="106" y="143"/>
                  </a:lnTo>
                  <a:lnTo>
                    <a:pt x="105" y="145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3" y="150"/>
                  </a:lnTo>
                  <a:lnTo>
                    <a:pt x="103" y="154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5" y="164"/>
                  </a:lnTo>
                  <a:lnTo>
                    <a:pt x="109" y="168"/>
                  </a:lnTo>
                  <a:lnTo>
                    <a:pt x="110" y="169"/>
                  </a:lnTo>
                  <a:lnTo>
                    <a:pt x="110" y="170"/>
                  </a:lnTo>
                  <a:lnTo>
                    <a:pt x="111" y="170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2" y="172"/>
                  </a:lnTo>
                  <a:lnTo>
                    <a:pt x="112" y="173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5"/>
                  </a:lnTo>
                  <a:lnTo>
                    <a:pt x="112" y="176"/>
                  </a:lnTo>
                  <a:lnTo>
                    <a:pt x="112" y="177"/>
                  </a:lnTo>
                  <a:lnTo>
                    <a:pt x="111" y="178"/>
                  </a:lnTo>
                  <a:lnTo>
                    <a:pt x="110" y="179"/>
                  </a:lnTo>
                  <a:lnTo>
                    <a:pt x="110" y="180"/>
                  </a:lnTo>
                  <a:lnTo>
                    <a:pt x="109" y="181"/>
                  </a:lnTo>
                  <a:lnTo>
                    <a:pt x="107" y="184"/>
                  </a:lnTo>
                  <a:lnTo>
                    <a:pt x="106" y="186"/>
                  </a:lnTo>
                  <a:lnTo>
                    <a:pt x="105" y="188"/>
                  </a:lnTo>
                  <a:lnTo>
                    <a:pt x="104" y="188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4" y="190"/>
                  </a:lnTo>
                  <a:lnTo>
                    <a:pt x="104" y="191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5"/>
                  </a:lnTo>
                  <a:lnTo>
                    <a:pt x="103" y="196"/>
                  </a:lnTo>
                  <a:lnTo>
                    <a:pt x="103" y="197"/>
                  </a:lnTo>
                  <a:lnTo>
                    <a:pt x="102" y="199"/>
                  </a:lnTo>
                  <a:lnTo>
                    <a:pt x="101" y="202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0" y="205"/>
                  </a:lnTo>
                  <a:lnTo>
                    <a:pt x="100" y="206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8"/>
                  </a:lnTo>
                  <a:lnTo>
                    <a:pt x="100" y="208"/>
                  </a:lnTo>
                  <a:lnTo>
                    <a:pt x="100" y="209"/>
                  </a:lnTo>
                  <a:lnTo>
                    <a:pt x="101" y="211"/>
                  </a:lnTo>
                  <a:lnTo>
                    <a:pt x="102" y="212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5"/>
                  </a:lnTo>
                  <a:lnTo>
                    <a:pt x="106" y="218"/>
                  </a:lnTo>
                  <a:lnTo>
                    <a:pt x="107" y="218"/>
                  </a:lnTo>
                  <a:lnTo>
                    <a:pt x="108" y="219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0" y="220"/>
                  </a:lnTo>
                  <a:lnTo>
                    <a:pt x="110" y="221"/>
                  </a:lnTo>
                  <a:lnTo>
                    <a:pt x="111" y="221"/>
                  </a:lnTo>
                  <a:lnTo>
                    <a:pt x="112" y="221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6" y="220"/>
                  </a:lnTo>
                  <a:lnTo>
                    <a:pt x="117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1"/>
                  </a:lnTo>
                  <a:lnTo>
                    <a:pt x="120" y="222"/>
                  </a:lnTo>
                  <a:lnTo>
                    <a:pt x="120" y="224"/>
                  </a:lnTo>
                  <a:lnTo>
                    <a:pt x="119" y="227"/>
                  </a:lnTo>
                  <a:lnTo>
                    <a:pt x="119" y="228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1" y="233"/>
                  </a:lnTo>
                  <a:lnTo>
                    <a:pt x="122" y="233"/>
                  </a:lnTo>
                  <a:lnTo>
                    <a:pt x="122" y="233"/>
                  </a:lnTo>
                  <a:lnTo>
                    <a:pt x="123" y="233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1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33" y="232"/>
                  </a:lnTo>
                  <a:lnTo>
                    <a:pt x="133" y="231"/>
                  </a:lnTo>
                  <a:lnTo>
                    <a:pt x="134" y="230"/>
                  </a:lnTo>
                  <a:lnTo>
                    <a:pt x="135" y="229"/>
                  </a:lnTo>
                  <a:lnTo>
                    <a:pt x="136" y="228"/>
                  </a:lnTo>
                  <a:lnTo>
                    <a:pt x="137" y="227"/>
                  </a:lnTo>
                  <a:lnTo>
                    <a:pt x="138" y="226"/>
                  </a:lnTo>
                  <a:lnTo>
                    <a:pt x="141" y="224"/>
                  </a:lnTo>
                  <a:lnTo>
                    <a:pt x="144" y="221"/>
                  </a:lnTo>
                  <a:lnTo>
                    <a:pt x="145" y="220"/>
                  </a:lnTo>
                  <a:lnTo>
                    <a:pt x="147" y="219"/>
                  </a:lnTo>
                  <a:lnTo>
                    <a:pt x="148" y="218"/>
                  </a:lnTo>
                  <a:lnTo>
                    <a:pt x="149" y="218"/>
                  </a:lnTo>
                  <a:lnTo>
                    <a:pt x="150" y="218"/>
                  </a:lnTo>
                  <a:lnTo>
                    <a:pt x="151" y="217"/>
                  </a:lnTo>
                  <a:lnTo>
                    <a:pt x="153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6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60" y="215"/>
                  </a:lnTo>
                  <a:lnTo>
                    <a:pt x="161" y="215"/>
                  </a:lnTo>
                  <a:lnTo>
                    <a:pt x="161" y="215"/>
                  </a:lnTo>
                  <a:lnTo>
                    <a:pt x="162" y="216"/>
                  </a:lnTo>
                  <a:lnTo>
                    <a:pt x="163" y="216"/>
                  </a:lnTo>
                  <a:lnTo>
                    <a:pt x="163" y="217"/>
                  </a:lnTo>
                  <a:lnTo>
                    <a:pt x="164" y="217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66" y="219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6" y="224"/>
                  </a:lnTo>
                  <a:lnTo>
                    <a:pt x="165" y="226"/>
                  </a:lnTo>
                  <a:lnTo>
                    <a:pt x="164" y="230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4"/>
                  </a:lnTo>
                  <a:lnTo>
                    <a:pt x="164" y="235"/>
                  </a:lnTo>
                  <a:lnTo>
                    <a:pt x="164" y="236"/>
                  </a:lnTo>
                  <a:lnTo>
                    <a:pt x="165" y="237"/>
                  </a:lnTo>
                  <a:lnTo>
                    <a:pt x="165" y="239"/>
                  </a:lnTo>
                  <a:lnTo>
                    <a:pt x="166" y="240"/>
                  </a:lnTo>
                  <a:lnTo>
                    <a:pt x="167" y="241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70" y="242"/>
                  </a:lnTo>
                  <a:lnTo>
                    <a:pt x="170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72" y="241"/>
                  </a:lnTo>
                  <a:lnTo>
                    <a:pt x="173" y="239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6" y="236"/>
                  </a:lnTo>
                  <a:lnTo>
                    <a:pt x="177" y="235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8" y="233"/>
                  </a:lnTo>
                  <a:lnTo>
                    <a:pt x="178" y="232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3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4" y="228"/>
                  </a:lnTo>
                  <a:lnTo>
                    <a:pt x="185" y="228"/>
                  </a:lnTo>
                  <a:lnTo>
                    <a:pt x="185" y="228"/>
                  </a:lnTo>
                  <a:lnTo>
                    <a:pt x="186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8" y="228"/>
                  </a:lnTo>
                  <a:lnTo>
                    <a:pt x="189" y="228"/>
                  </a:lnTo>
                  <a:lnTo>
                    <a:pt x="189" y="227"/>
                  </a:lnTo>
                  <a:lnTo>
                    <a:pt x="190" y="226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4"/>
                  </a:lnTo>
                  <a:lnTo>
                    <a:pt x="192" y="224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1"/>
                  </a:lnTo>
                  <a:lnTo>
                    <a:pt x="191" y="220"/>
                  </a:lnTo>
                  <a:lnTo>
                    <a:pt x="190" y="213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0" y="210"/>
                  </a:lnTo>
                  <a:lnTo>
                    <a:pt x="190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4" y="209"/>
                  </a:lnTo>
                  <a:lnTo>
                    <a:pt x="194" y="209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5" y="210"/>
                  </a:lnTo>
                  <a:lnTo>
                    <a:pt x="196" y="211"/>
                  </a:lnTo>
                  <a:lnTo>
                    <a:pt x="197" y="214"/>
                  </a:lnTo>
                  <a:lnTo>
                    <a:pt x="198" y="216"/>
                  </a:lnTo>
                  <a:lnTo>
                    <a:pt x="199" y="218"/>
                  </a:lnTo>
                  <a:lnTo>
                    <a:pt x="199" y="219"/>
                  </a:lnTo>
                  <a:lnTo>
                    <a:pt x="200" y="220"/>
                  </a:lnTo>
                  <a:lnTo>
                    <a:pt x="200" y="222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7"/>
                  </a:lnTo>
                  <a:lnTo>
                    <a:pt x="201" y="229"/>
                  </a:lnTo>
                  <a:lnTo>
                    <a:pt x="201" y="230"/>
                  </a:lnTo>
                  <a:lnTo>
                    <a:pt x="203" y="232"/>
                  </a:lnTo>
                  <a:lnTo>
                    <a:pt x="203" y="233"/>
                  </a:lnTo>
                  <a:lnTo>
                    <a:pt x="204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6" y="241"/>
                  </a:lnTo>
                  <a:lnTo>
                    <a:pt x="206" y="242"/>
                  </a:lnTo>
                  <a:lnTo>
                    <a:pt x="206" y="242"/>
                  </a:lnTo>
                  <a:lnTo>
                    <a:pt x="209" y="245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9"/>
                  </a:lnTo>
                  <a:lnTo>
                    <a:pt x="212" y="250"/>
                  </a:lnTo>
                  <a:lnTo>
                    <a:pt x="213" y="251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5" y="253"/>
                  </a:lnTo>
                  <a:lnTo>
                    <a:pt x="216" y="253"/>
                  </a:lnTo>
                  <a:lnTo>
                    <a:pt x="218" y="254"/>
                  </a:lnTo>
                  <a:lnTo>
                    <a:pt x="219" y="255"/>
                  </a:lnTo>
                  <a:lnTo>
                    <a:pt x="220" y="255"/>
                  </a:lnTo>
                  <a:lnTo>
                    <a:pt x="221" y="256"/>
                  </a:lnTo>
                  <a:lnTo>
                    <a:pt x="222" y="257"/>
                  </a:lnTo>
                  <a:lnTo>
                    <a:pt x="223" y="258"/>
                  </a:lnTo>
                  <a:lnTo>
                    <a:pt x="224" y="259"/>
                  </a:lnTo>
                  <a:lnTo>
                    <a:pt x="225" y="259"/>
                  </a:lnTo>
                  <a:lnTo>
                    <a:pt x="229" y="261"/>
                  </a:lnTo>
                  <a:lnTo>
                    <a:pt x="231" y="262"/>
                  </a:lnTo>
                  <a:lnTo>
                    <a:pt x="232" y="262"/>
                  </a:lnTo>
                  <a:lnTo>
                    <a:pt x="233" y="262"/>
                  </a:lnTo>
                  <a:lnTo>
                    <a:pt x="236" y="263"/>
                  </a:lnTo>
                  <a:lnTo>
                    <a:pt x="237" y="26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39" y="263"/>
                  </a:lnTo>
                  <a:lnTo>
                    <a:pt x="240" y="263"/>
                  </a:lnTo>
                  <a:lnTo>
                    <a:pt x="242" y="262"/>
                  </a:lnTo>
                  <a:lnTo>
                    <a:pt x="244" y="261"/>
                  </a:lnTo>
                  <a:lnTo>
                    <a:pt x="246" y="260"/>
                  </a:lnTo>
                  <a:lnTo>
                    <a:pt x="247" y="260"/>
                  </a:lnTo>
                  <a:lnTo>
                    <a:pt x="252" y="258"/>
                  </a:lnTo>
                  <a:lnTo>
                    <a:pt x="253" y="258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7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1" y="259"/>
                  </a:lnTo>
                  <a:lnTo>
                    <a:pt x="261" y="260"/>
                  </a:lnTo>
                  <a:lnTo>
                    <a:pt x="262" y="261"/>
                  </a:lnTo>
                  <a:lnTo>
                    <a:pt x="262" y="262"/>
                  </a:lnTo>
                  <a:lnTo>
                    <a:pt x="263" y="263"/>
                  </a:lnTo>
                  <a:lnTo>
                    <a:pt x="263" y="264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4" y="269"/>
                  </a:lnTo>
                  <a:lnTo>
                    <a:pt x="264" y="270"/>
                  </a:lnTo>
                  <a:lnTo>
                    <a:pt x="264" y="271"/>
                  </a:lnTo>
                  <a:lnTo>
                    <a:pt x="264" y="272"/>
                  </a:lnTo>
                  <a:lnTo>
                    <a:pt x="264" y="273"/>
                  </a:lnTo>
                  <a:lnTo>
                    <a:pt x="264" y="274"/>
                  </a:lnTo>
                  <a:lnTo>
                    <a:pt x="263" y="278"/>
                  </a:lnTo>
                  <a:lnTo>
                    <a:pt x="262" y="280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3"/>
                  </a:lnTo>
                  <a:lnTo>
                    <a:pt x="262" y="284"/>
                  </a:lnTo>
                  <a:lnTo>
                    <a:pt x="262" y="286"/>
                  </a:lnTo>
                  <a:lnTo>
                    <a:pt x="262" y="287"/>
                  </a:lnTo>
                  <a:lnTo>
                    <a:pt x="263" y="289"/>
                  </a:lnTo>
                  <a:lnTo>
                    <a:pt x="263" y="291"/>
                  </a:lnTo>
                  <a:lnTo>
                    <a:pt x="263" y="292"/>
                  </a:lnTo>
                  <a:lnTo>
                    <a:pt x="264" y="293"/>
                  </a:lnTo>
                  <a:lnTo>
                    <a:pt x="264" y="294"/>
                  </a:lnTo>
                  <a:lnTo>
                    <a:pt x="265" y="295"/>
                  </a:lnTo>
                  <a:lnTo>
                    <a:pt x="265" y="295"/>
                  </a:lnTo>
                  <a:lnTo>
                    <a:pt x="266" y="296"/>
                  </a:lnTo>
                  <a:lnTo>
                    <a:pt x="267" y="297"/>
                  </a:lnTo>
                  <a:lnTo>
                    <a:pt x="268" y="297"/>
                  </a:lnTo>
                  <a:lnTo>
                    <a:pt x="269" y="298"/>
                  </a:lnTo>
                  <a:lnTo>
                    <a:pt x="270" y="299"/>
                  </a:lnTo>
                  <a:lnTo>
                    <a:pt x="271" y="299"/>
                  </a:lnTo>
                  <a:lnTo>
                    <a:pt x="272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6" y="299"/>
                  </a:lnTo>
                  <a:lnTo>
                    <a:pt x="277" y="298"/>
                  </a:lnTo>
                  <a:lnTo>
                    <a:pt x="278" y="298"/>
                  </a:lnTo>
                  <a:lnTo>
                    <a:pt x="278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80" y="297"/>
                  </a:lnTo>
                  <a:lnTo>
                    <a:pt x="280" y="298"/>
                  </a:lnTo>
                  <a:lnTo>
                    <a:pt x="281" y="298"/>
                  </a:lnTo>
                  <a:lnTo>
                    <a:pt x="282" y="299"/>
                  </a:lnTo>
                  <a:lnTo>
                    <a:pt x="282" y="300"/>
                  </a:lnTo>
                  <a:lnTo>
                    <a:pt x="283" y="301"/>
                  </a:lnTo>
                  <a:lnTo>
                    <a:pt x="285" y="302"/>
                  </a:lnTo>
                  <a:lnTo>
                    <a:pt x="286" y="304"/>
                  </a:lnTo>
                  <a:lnTo>
                    <a:pt x="286" y="305"/>
                  </a:lnTo>
                  <a:lnTo>
                    <a:pt x="287" y="306"/>
                  </a:lnTo>
                  <a:lnTo>
                    <a:pt x="288" y="308"/>
                  </a:lnTo>
                  <a:lnTo>
                    <a:pt x="289" y="309"/>
                  </a:lnTo>
                  <a:lnTo>
                    <a:pt x="290" y="311"/>
                  </a:lnTo>
                  <a:lnTo>
                    <a:pt x="291" y="312"/>
                  </a:lnTo>
                  <a:lnTo>
                    <a:pt x="291" y="313"/>
                  </a:lnTo>
                  <a:lnTo>
                    <a:pt x="292" y="313"/>
                  </a:lnTo>
                  <a:lnTo>
                    <a:pt x="293" y="314"/>
                  </a:lnTo>
                  <a:lnTo>
                    <a:pt x="300" y="320"/>
                  </a:lnTo>
                  <a:lnTo>
                    <a:pt x="302" y="320"/>
                  </a:lnTo>
                  <a:lnTo>
                    <a:pt x="303" y="322"/>
                  </a:lnTo>
                  <a:lnTo>
                    <a:pt x="306" y="325"/>
                  </a:lnTo>
                  <a:lnTo>
                    <a:pt x="308" y="327"/>
                  </a:lnTo>
                  <a:lnTo>
                    <a:pt x="309" y="328"/>
                  </a:lnTo>
                  <a:lnTo>
                    <a:pt x="311" y="330"/>
                  </a:lnTo>
                  <a:lnTo>
                    <a:pt x="312" y="332"/>
                  </a:lnTo>
                  <a:lnTo>
                    <a:pt x="314" y="335"/>
                  </a:lnTo>
                  <a:lnTo>
                    <a:pt x="315" y="338"/>
                  </a:lnTo>
                  <a:lnTo>
                    <a:pt x="316" y="339"/>
                  </a:lnTo>
                  <a:lnTo>
                    <a:pt x="316" y="339"/>
                  </a:lnTo>
                  <a:lnTo>
                    <a:pt x="316" y="340"/>
                  </a:lnTo>
                  <a:lnTo>
                    <a:pt x="316" y="341"/>
                  </a:lnTo>
                  <a:lnTo>
                    <a:pt x="316" y="341"/>
                  </a:lnTo>
                  <a:lnTo>
                    <a:pt x="316" y="342"/>
                  </a:lnTo>
                  <a:lnTo>
                    <a:pt x="316" y="343"/>
                  </a:lnTo>
                  <a:lnTo>
                    <a:pt x="315" y="344"/>
                  </a:lnTo>
                  <a:lnTo>
                    <a:pt x="315" y="345"/>
                  </a:lnTo>
                  <a:lnTo>
                    <a:pt x="314" y="346"/>
                  </a:lnTo>
                  <a:lnTo>
                    <a:pt x="314" y="347"/>
                  </a:lnTo>
                  <a:lnTo>
                    <a:pt x="314" y="347"/>
                  </a:lnTo>
                  <a:lnTo>
                    <a:pt x="314" y="348"/>
                  </a:lnTo>
                  <a:lnTo>
                    <a:pt x="315" y="349"/>
                  </a:lnTo>
                  <a:lnTo>
                    <a:pt x="315" y="350"/>
                  </a:lnTo>
                  <a:lnTo>
                    <a:pt x="316" y="350"/>
                  </a:lnTo>
                  <a:lnTo>
                    <a:pt x="316" y="351"/>
                  </a:lnTo>
                  <a:lnTo>
                    <a:pt x="316" y="351"/>
                  </a:lnTo>
                  <a:lnTo>
                    <a:pt x="317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8" y="351"/>
                  </a:lnTo>
                  <a:lnTo>
                    <a:pt x="319" y="351"/>
                  </a:lnTo>
                  <a:lnTo>
                    <a:pt x="321" y="349"/>
                  </a:lnTo>
                  <a:lnTo>
                    <a:pt x="322" y="348"/>
                  </a:lnTo>
                  <a:lnTo>
                    <a:pt x="323" y="347"/>
                  </a:lnTo>
                  <a:lnTo>
                    <a:pt x="324" y="347"/>
                  </a:lnTo>
                  <a:lnTo>
                    <a:pt x="325" y="347"/>
                  </a:lnTo>
                  <a:lnTo>
                    <a:pt x="326" y="346"/>
                  </a:lnTo>
                  <a:lnTo>
                    <a:pt x="326" y="346"/>
                  </a:lnTo>
                  <a:lnTo>
                    <a:pt x="327" y="346"/>
                  </a:lnTo>
                  <a:lnTo>
                    <a:pt x="327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8" y="347"/>
                  </a:lnTo>
                  <a:lnTo>
                    <a:pt x="329" y="348"/>
                  </a:lnTo>
                  <a:lnTo>
                    <a:pt x="330" y="349"/>
                  </a:lnTo>
                  <a:lnTo>
                    <a:pt x="331" y="350"/>
                  </a:lnTo>
                  <a:lnTo>
                    <a:pt x="331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4" y="357"/>
                  </a:lnTo>
                  <a:lnTo>
                    <a:pt x="334" y="358"/>
                  </a:lnTo>
                  <a:lnTo>
                    <a:pt x="334" y="358"/>
                  </a:lnTo>
                  <a:lnTo>
                    <a:pt x="334" y="359"/>
                  </a:lnTo>
                  <a:lnTo>
                    <a:pt x="334" y="359"/>
                  </a:lnTo>
                  <a:lnTo>
                    <a:pt x="333" y="360"/>
                  </a:lnTo>
                  <a:lnTo>
                    <a:pt x="333" y="361"/>
                  </a:lnTo>
                  <a:lnTo>
                    <a:pt x="332" y="362"/>
                  </a:lnTo>
                  <a:lnTo>
                    <a:pt x="331" y="364"/>
                  </a:lnTo>
                  <a:lnTo>
                    <a:pt x="330" y="365"/>
                  </a:lnTo>
                  <a:lnTo>
                    <a:pt x="330" y="366"/>
                  </a:lnTo>
                  <a:lnTo>
                    <a:pt x="329" y="367"/>
                  </a:lnTo>
                  <a:lnTo>
                    <a:pt x="329" y="367"/>
                  </a:lnTo>
                  <a:lnTo>
                    <a:pt x="328" y="368"/>
                  </a:lnTo>
                  <a:lnTo>
                    <a:pt x="327" y="368"/>
                  </a:lnTo>
                  <a:lnTo>
                    <a:pt x="327" y="368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5" y="369"/>
                  </a:lnTo>
                  <a:lnTo>
                    <a:pt x="324" y="369"/>
                  </a:lnTo>
                  <a:lnTo>
                    <a:pt x="324" y="369"/>
                  </a:lnTo>
                  <a:lnTo>
                    <a:pt x="323" y="369"/>
                  </a:lnTo>
                  <a:lnTo>
                    <a:pt x="322" y="369"/>
                  </a:lnTo>
                  <a:lnTo>
                    <a:pt x="320" y="368"/>
                  </a:lnTo>
                  <a:lnTo>
                    <a:pt x="317" y="368"/>
                  </a:lnTo>
                  <a:lnTo>
                    <a:pt x="316" y="367"/>
                  </a:lnTo>
                  <a:lnTo>
                    <a:pt x="315" y="367"/>
                  </a:lnTo>
                  <a:lnTo>
                    <a:pt x="314" y="367"/>
                  </a:lnTo>
                  <a:lnTo>
                    <a:pt x="313" y="367"/>
                  </a:lnTo>
                  <a:lnTo>
                    <a:pt x="313" y="367"/>
                  </a:lnTo>
                  <a:lnTo>
                    <a:pt x="313" y="368"/>
                  </a:lnTo>
                  <a:lnTo>
                    <a:pt x="312" y="369"/>
                  </a:lnTo>
                  <a:lnTo>
                    <a:pt x="311" y="370"/>
                  </a:lnTo>
                  <a:lnTo>
                    <a:pt x="310" y="372"/>
                  </a:lnTo>
                  <a:lnTo>
                    <a:pt x="310" y="372"/>
                  </a:lnTo>
                  <a:lnTo>
                    <a:pt x="309" y="373"/>
                  </a:lnTo>
                  <a:lnTo>
                    <a:pt x="309" y="374"/>
                  </a:lnTo>
                  <a:lnTo>
                    <a:pt x="308" y="374"/>
                  </a:lnTo>
                  <a:lnTo>
                    <a:pt x="307" y="375"/>
                  </a:lnTo>
                  <a:lnTo>
                    <a:pt x="305" y="376"/>
                  </a:lnTo>
                  <a:lnTo>
                    <a:pt x="304" y="377"/>
                  </a:lnTo>
                  <a:lnTo>
                    <a:pt x="303" y="378"/>
                  </a:lnTo>
                  <a:lnTo>
                    <a:pt x="302" y="380"/>
                  </a:lnTo>
                  <a:lnTo>
                    <a:pt x="300" y="382"/>
                  </a:lnTo>
                  <a:lnTo>
                    <a:pt x="299" y="382"/>
                  </a:lnTo>
                  <a:lnTo>
                    <a:pt x="299" y="383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8" y="385"/>
                  </a:lnTo>
                  <a:lnTo>
                    <a:pt x="298" y="388"/>
                  </a:lnTo>
                  <a:lnTo>
                    <a:pt x="298" y="389"/>
                  </a:lnTo>
                  <a:lnTo>
                    <a:pt x="298" y="390"/>
                  </a:lnTo>
                  <a:lnTo>
                    <a:pt x="298" y="392"/>
                  </a:lnTo>
                  <a:lnTo>
                    <a:pt x="297" y="393"/>
                  </a:lnTo>
                  <a:lnTo>
                    <a:pt x="296" y="396"/>
                  </a:lnTo>
                  <a:lnTo>
                    <a:pt x="295" y="399"/>
                  </a:lnTo>
                  <a:lnTo>
                    <a:pt x="294" y="402"/>
                  </a:lnTo>
                  <a:lnTo>
                    <a:pt x="293" y="402"/>
                  </a:lnTo>
                  <a:lnTo>
                    <a:pt x="293" y="403"/>
                  </a:lnTo>
                  <a:lnTo>
                    <a:pt x="292" y="403"/>
                  </a:lnTo>
                  <a:lnTo>
                    <a:pt x="292" y="404"/>
                  </a:lnTo>
                  <a:lnTo>
                    <a:pt x="291" y="404"/>
                  </a:lnTo>
                  <a:lnTo>
                    <a:pt x="291" y="404"/>
                  </a:lnTo>
                  <a:lnTo>
                    <a:pt x="290" y="405"/>
                  </a:lnTo>
                  <a:lnTo>
                    <a:pt x="287" y="406"/>
                  </a:lnTo>
                  <a:lnTo>
                    <a:pt x="285" y="406"/>
                  </a:lnTo>
                  <a:lnTo>
                    <a:pt x="284" y="406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0" y="406"/>
                  </a:lnTo>
                  <a:lnTo>
                    <a:pt x="279" y="405"/>
                  </a:lnTo>
                  <a:lnTo>
                    <a:pt x="278" y="405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5" y="403"/>
                  </a:lnTo>
                  <a:lnTo>
                    <a:pt x="275" y="403"/>
                  </a:lnTo>
                  <a:lnTo>
                    <a:pt x="273" y="401"/>
                  </a:lnTo>
                  <a:lnTo>
                    <a:pt x="272" y="400"/>
                  </a:lnTo>
                  <a:lnTo>
                    <a:pt x="271" y="399"/>
                  </a:lnTo>
                  <a:lnTo>
                    <a:pt x="270" y="398"/>
                  </a:lnTo>
                  <a:lnTo>
                    <a:pt x="269" y="398"/>
                  </a:lnTo>
                  <a:lnTo>
                    <a:pt x="268" y="397"/>
                  </a:lnTo>
                  <a:lnTo>
                    <a:pt x="267" y="397"/>
                  </a:lnTo>
                  <a:lnTo>
                    <a:pt x="266" y="397"/>
                  </a:lnTo>
                  <a:lnTo>
                    <a:pt x="265" y="397"/>
                  </a:lnTo>
                  <a:lnTo>
                    <a:pt x="265" y="397"/>
                  </a:lnTo>
                  <a:lnTo>
                    <a:pt x="264" y="398"/>
                  </a:lnTo>
                  <a:lnTo>
                    <a:pt x="263" y="398"/>
                  </a:lnTo>
                  <a:lnTo>
                    <a:pt x="263" y="398"/>
                  </a:lnTo>
                  <a:lnTo>
                    <a:pt x="262" y="399"/>
                  </a:lnTo>
                  <a:lnTo>
                    <a:pt x="261" y="402"/>
                  </a:lnTo>
                  <a:lnTo>
                    <a:pt x="260" y="402"/>
                  </a:lnTo>
                  <a:lnTo>
                    <a:pt x="260" y="402"/>
                  </a:lnTo>
                  <a:lnTo>
                    <a:pt x="260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9" y="403"/>
                  </a:lnTo>
                  <a:lnTo>
                    <a:pt x="258" y="403"/>
                  </a:lnTo>
                  <a:lnTo>
                    <a:pt x="257" y="403"/>
                  </a:lnTo>
                  <a:lnTo>
                    <a:pt x="256" y="403"/>
                  </a:lnTo>
                  <a:lnTo>
                    <a:pt x="255" y="403"/>
                  </a:lnTo>
                  <a:lnTo>
                    <a:pt x="254" y="402"/>
                  </a:lnTo>
                  <a:lnTo>
                    <a:pt x="254" y="402"/>
                  </a:lnTo>
                  <a:lnTo>
                    <a:pt x="253" y="402"/>
                  </a:lnTo>
                  <a:lnTo>
                    <a:pt x="252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3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4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0" y="406"/>
                  </a:lnTo>
                  <a:lnTo>
                    <a:pt x="250" y="407"/>
                  </a:lnTo>
                  <a:lnTo>
                    <a:pt x="252" y="411"/>
                  </a:lnTo>
                  <a:lnTo>
                    <a:pt x="253" y="413"/>
                  </a:lnTo>
                  <a:lnTo>
                    <a:pt x="253" y="414"/>
                  </a:lnTo>
                  <a:lnTo>
                    <a:pt x="254" y="415"/>
                  </a:lnTo>
                  <a:lnTo>
                    <a:pt x="254" y="416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3" y="419"/>
                  </a:lnTo>
                  <a:lnTo>
                    <a:pt x="253" y="420"/>
                  </a:lnTo>
                  <a:lnTo>
                    <a:pt x="252" y="421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0" y="423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48" y="424"/>
                  </a:lnTo>
                  <a:lnTo>
                    <a:pt x="247" y="425"/>
                  </a:lnTo>
                  <a:lnTo>
                    <a:pt x="246" y="425"/>
                  </a:lnTo>
                  <a:lnTo>
                    <a:pt x="245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2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9" y="424"/>
                  </a:lnTo>
                  <a:lnTo>
                    <a:pt x="237" y="424"/>
                  </a:lnTo>
                  <a:lnTo>
                    <a:pt x="237" y="423"/>
                  </a:lnTo>
                  <a:lnTo>
                    <a:pt x="236" y="423"/>
                  </a:lnTo>
                  <a:lnTo>
                    <a:pt x="235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1" y="423"/>
                  </a:lnTo>
                  <a:lnTo>
                    <a:pt x="229" y="423"/>
                  </a:lnTo>
                  <a:lnTo>
                    <a:pt x="227" y="423"/>
                  </a:lnTo>
                  <a:lnTo>
                    <a:pt x="225" y="423"/>
                  </a:lnTo>
                  <a:lnTo>
                    <a:pt x="224" y="424"/>
                  </a:lnTo>
                  <a:lnTo>
                    <a:pt x="222" y="424"/>
                  </a:lnTo>
                  <a:lnTo>
                    <a:pt x="220" y="425"/>
                  </a:lnTo>
                  <a:lnTo>
                    <a:pt x="217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6" y="426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8"/>
                  </a:lnTo>
                  <a:lnTo>
                    <a:pt x="215" y="429"/>
                  </a:lnTo>
                  <a:lnTo>
                    <a:pt x="214" y="431"/>
                  </a:lnTo>
                  <a:lnTo>
                    <a:pt x="214" y="433"/>
                  </a:lnTo>
                  <a:lnTo>
                    <a:pt x="214" y="434"/>
                  </a:lnTo>
                  <a:lnTo>
                    <a:pt x="213" y="434"/>
                  </a:lnTo>
                  <a:lnTo>
                    <a:pt x="213" y="435"/>
                  </a:lnTo>
                  <a:lnTo>
                    <a:pt x="212" y="436"/>
                  </a:lnTo>
                  <a:lnTo>
                    <a:pt x="211" y="438"/>
                  </a:lnTo>
                  <a:lnTo>
                    <a:pt x="211" y="439"/>
                  </a:lnTo>
                  <a:lnTo>
                    <a:pt x="210" y="440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8" y="442"/>
                  </a:lnTo>
                  <a:lnTo>
                    <a:pt x="207" y="443"/>
                  </a:lnTo>
                  <a:lnTo>
                    <a:pt x="206" y="443"/>
                  </a:lnTo>
                  <a:lnTo>
                    <a:pt x="205" y="443"/>
                  </a:lnTo>
                  <a:lnTo>
                    <a:pt x="205" y="443"/>
                  </a:lnTo>
                  <a:lnTo>
                    <a:pt x="204" y="443"/>
                  </a:lnTo>
                  <a:lnTo>
                    <a:pt x="203" y="443"/>
                  </a:lnTo>
                  <a:lnTo>
                    <a:pt x="202" y="442"/>
                  </a:lnTo>
                  <a:lnTo>
                    <a:pt x="199" y="440"/>
                  </a:lnTo>
                  <a:lnTo>
                    <a:pt x="198" y="439"/>
                  </a:lnTo>
                  <a:lnTo>
                    <a:pt x="197" y="438"/>
                  </a:lnTo>
                  <a:lnTo>
                    <a:pt x="196" y="438"/>
                  </a:lnTo>
                  <a:lnTo>
                    <a:pt x="196" y="437"/>
                  </a:lnTo>
                  <a:lnTo>
                    <a:pt x="195" y="437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2" y="437"/>
                  </a:lnTo>
                  <a:lnTo>
                    <a:pt x="190" y="437"/>
                  </a:lnTo>
                  <a:lnTo>
                    <a:pt x="188" y="436"/>
                  </a:lnTo>
                  <a:lnTo>
                    <a:pt x="186" y="436"/>
                  </a:lnTo>
                  <a:lnTo>
                    <a:pt x="184" y="435"/>
                  </a:lnTo>
                  <a:lnTo>
                    <a:pt x="182" y="435"/>
                  </a:lnTo>
                  <a:lnTo>
                    <a:pt x="181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4"/>
                  </a:lnTo>
                  <a:lnTo>
                    <a:pt x="176" y="434"/>
                  </a:lnTo>
                  <a:lnTo>
                    <a:pt x="176" y="433"/>
                  </a:lnTo>
                  <a:lnTo>
                    <a:pt x="175" y="433"/>
                  </a:lnTo>
                  <a:lnTo>
                    <a:pt x="175" y="432"/>
                  </a:lnTo>
                  <a:lnTo>
                    <a:pt x="175" y="432"/>
                  </a:lnTo>
                  <a:lnTo>
                    <a:pt x="174" y="431"/>
                  </a:lnTo>
                  <a:lnTo>
                    <a:pt x="174" y="430"/>
                  </a:lnTo>
                  <a:lnTo>
                    <a:pt x="174" y="427"/>
                  </a:lnTo>
                  <a:lnTo>
                    <a:pt x="174" y="426"/>
                  </a:lnTo>
                  <a:lnTo>
                    <a:pt x="173" y="426"/>
                  </a:lnTo>
                  <a:lnTo>
                    <a:pt x="173" y="425"/>
                  </a:lnTo>
                  <a:lnTo>
                    <a:pt x="173" y="424"/>
                  </a:lnTo>
                  <a:lnTo>
                    <a:pt x="172" y="424"/>
                  </a:lnTo>
                  <a:lnTo>
                    <a:pt x="172" y="423"/>
                  </a:lnTo>
                  <a:lnTo>
                    <a:pt x="171" y="423"/>
                  </a:lnTo>
                  <a:lnTo>
                    <a:pt x="171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69" y="423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8" y="424"/>
                  </a:lnTo>
                  <a:lnTo>
                    <a:pt x="167" y="425"/>
                  </a:lnTo>
                  <a:lnTo>
                    <a:pt x="167" y="425"/>
                  </a:lnTo>
                  <a:lnTo>
                    <a:pt x="166" y="426"/>
                  </a:lnTo>
                  <a:lnTo>
                    <a:pt x="164" y="430"/>
                  </a:lnTo>
                  <a:lnTo>
                    <a:pt x="163" y="432"/>
                  </a:lnTo>
                  <a:lnTo>
                    <a:pt x="163" y="433"/>
                  </a:lnTo>
                  <a:lnTo>
                    <a:pt x="162" y="434"/>
                  </a:lnTo>
                  <a:lnTo>
                    <a:pt x="162" y="435"/>
                  </a:lnTo>
                  <a:lnTo>
                    <a:pt x="162" y="436"/>
                  </a:lnTo>
                  <a:lnTo>
                    <a:pt x="162" y="437"/>
                  </a:lnTo>
                  <a:lnTo>
                    <a:pt x="162" y="439"/>
                  </a:lnTo>
                  <a:lnTo>
                    <a:pt x="163" y="440"/>
                  </a:lnTo>
                  <a:lnTo>
                    <a:pt x="163" y="442"/>
                  </a:lnTo>
                  <a:lnTo>
                    <a:pt x="164" y="443"/>
                  </a:lnTo>
                  <a:lnTo>
                    <a:pt x="165" y="445"/>
                  </a:lnTo>
                  <a:lnTo>
                    <a:pt x="166" y="447"/>
                  </a:lnTo>
                  <a:lnTo>
                    <a:pt x="166" y="448"/>
                  </a:lnTo>
                  <a:lnTo>
                    <a:pt x="166" y="449"/>
                  </a:lnTo>
                  <a:lnTo>
                    <a:pt x="166" y="450"/>
                  </a:lnTo>
                  <a:lnTo>
                    <a:pt x="166" y="451"/>
                  </a:lnTo>
                  <a:lnTo>
                    <a:pt x="166" y="452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65" y="454"/>
                  </a:lnTo>
                  <a:lnTo>
                    <a:pt x="164" y="455"/>
                  </a:lnTo>
                  <a:lnTo>
                    <a:pt x="162" y="457"/>
                  </a:lnTo>
                  <a:lnTo>
                    <a:pt x="160" y="459"/>
                  </a:lnTo>
                  <a:lnTo>
                    <a:pt x="159" y="460"/>
                  </a:lnTo>
                  <a:lnTo>
                    <a:pt x="158" y="460"/>
                  </a:lnTo>
                  <a:lnTo>
                    <a:pt x="158" y="461"/>
                  </a:lnTo>
                  <a:lnTo>
                    <a:pt x="157" y="462"/>
                  </a:lnTo>
                  <a:lnTo>
                    <a:pt x="155" y="465"/>
                  </a:lnTo>
                  <a:lnTo>
                    <a:pt x="153" y="467"/>
                  </a:lnTo>
                  <a:lnTo>
                    <a:pt x="151" y="470"/>
                  </a:lnTo>
                  <a:lnTo>
                    <a:pt x="150" y="471"/>
                  </a:lnTo>
                  <a:lnTo>
                    <a:pt x="149" y="472"/>
                  </a:lnTo>
                  <a:lnTo>
                    <a:pt x="149" y="473"/>
                  </a:lnTo>
                  <a:lnTo>
                    <a:pt x="148" y="473"/>
                  </a:lnTo>
                  <a:lnTo>
                    <a:pt x="147" y="474"/>
                  </a:lnTo>
                  <a:lnTo>
                    <a:pt x="146" y="474"/>
                  </a:lnTo>
                  <a:lnTo>
                    <a:pt x="146" y="475"/>
                  </a:lnTo>
                  <a:lnTo>
                    <a:pt x="145" y="475"/>
                  </a:lnTo>
                  <a:lnTo>
                    <a:pt x="144" y="475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39" y="475"/>
                  </a:lnTo>
                  <a:lnTo>
                    <a:pt x="138" y="476"/>
                  </a:lnTo>
                  <a:lnTo>
                    <a:pt x="134" y="476"/>
                  </a:lnTo>
                  <a:lnTo>
                    <a:pt x="132" y="476"/>
                  </a:lnTo>
                  <a:lnTo>
                    <a:pt x="131" y="477"/>
                  </a:lnTo>
                  <a:lnTo>
                    <a:pt x="125" y="478"/>
                  </a:lnTo>
                  <a:lnTo>
                    <a:pt x="124" y="478"/>
                  </a:lnTo>
                  <a:lnTo>
                    <a:pt x="122" y="478"/>
                  </a:lnTo>
                  <a:lnTo>
                    <a:pt x="121" y="478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8" y="480"/>
                  </a:lnTo>
                  <a:lnTo>
                    <a:pt x="117" y="481"/>
                  </a:lnTo>
                  <a:lnTo>
                    <a:pt x="117" y="482"/>
                  </a:lnTo>
                  <a:lnTo>
                    <a:pt x="116" y="482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87"/>
                  </a:lnTo>
                  <a:lnTo>
                    <a:pt x="112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7"/>
                  </a:lnTo>
                  <a:lnTo>
                    <a:pt x="110" y="485"/>
                  </a:lnTo>
                  <a:lnTo>
                    <a:pt x="108" y="480"/>
                  </a:lnTo>
                  <a:lnTo>
                    <a:pt x="106" y="477"/>
                  </a:lnTo>
                  <a:lnTo>
                    <a:pt x="106" y="476"/>
                  </a:lnTo>
                  <a:lnTo>
                    <a:pt x="105" y="473"/>
                  </a:lnTo>
                  <a:lnTo>
                    <a:pt x="103" y="468"/>
                  </a:lnTo>
                  <a:lnTo>
                    <a:pt x="103" y="467"/>
                  </a:lnTo>
                  <a:lnTo>
                    <a:pt x="103" y="466"/>
                  </a:lnTo>
                  <a:lnTo>
                    <a:pt x="102" y="465"/>
                  </a:lnTo>
                  <a:lnTo>
                    <a:pt x="102" y="465"/>
                  </a:lnTo>
                  <a:lnTo>
                    <a:pt x="101" y="464"/>
                  </a:lnTo>
                  <a:lnTo>
                    <a:pt x="100" y="463"/>
                  </a:lnTo>
                  <a:lnTo>
                    <a:pt x="97" y="461"/>
                  </a:lnTo>
                  <a:lnTo>
                    <a:pt x="96" y="460"/>
                  </a:lnTo>
                  <a:lnTo>
                    <a:pt x="95" y="459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0" y="457"/>
                  </a:lnTo>
                  <a:lnTo>
                    <a:pt x="87" y="456"/>
                  </a:lnTo>
                  <a:lnTo>
                    <a:pt x="85" y="455"/>
                  </a:lnTo>
                  <a:lnTo>
                    <a:pt x="83" y="455"/>
                  </a:lnTo>
                  <a:lnTo>
                    <a:pt x="81" y="454"/>
                  </a:lnTo>
                  <a:lnTo>
                    <a:pt x="80" y="453"/>
                  </a:lnTo>
                  <a:lnTo>
                    <a:pt x="77" y="452"/>
                  </a:lnTo>
                  <a:lnTo>
                    <a:pt x="76" y="451"/>
                  </a:lnTo>
                  <a:lnTo>
                    <a:pt x="76" y="451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5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5" y="446"/>
                  </a:lnTo>
                  <a:lnTo>
                    <a:pt x="75" y="443"/>
                  </a:lnTo>
                  <a:lnTo>
                    <a:pt x="76" y="440"/>
                  </a:lnTo>
                  <a:lnTo>
                    <a:pt x="76" y="438"/>
                  </a:lnTo>
                  <a:lnTo>
                    <a:pt x="76" y="437"/>
                  </a:lnTo>
                  <a:lnTo>
                    <a:pt x="76" y="435"/>
                  </a:lnTo>
                  <a:lnTo>
                    <a:pt x="77" y="434"/>
                  </a:lnTo>
                  <a:lnTo>
                    <a:pt x="76" y="432"/>
                  </a:lnTo>
                  <a:lnTo>
                    <a:pt x="76" y="431"/>
                  </a:lnTo>
                  <a:lnTo>
                    <a:pt x="76" y="431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4" y="430"/>
                  </a:lnTo>
                  <a:lnTo>
                    <a:pt x="74" y="431"/>
                  </a:lnTo>
                  <a:lnTo>
                    <a:pt x="73" y="432"/>
                  </a:lnTo>
                  <a:lnTo>
                    <a:pt x="73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2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69" y="432"/>
                  </a:lnTo>
                  <a:lnTo>
                    <a:pt x="69" y="432"/>
                  </a:lnTo>
                  <a:lnTo>
                    <a:pt x="68" y="431"/>
                  </a:lnTo>
                  <a:lnTo>
                    <a:pt x="67" y="431"/>
                  </a:lnTo>
                  <a:lnTo>
                    <a:pt x="66" y="429"/>
                  </a:lnTo>
                  <a:lnTo>
                    <a:pt x="66" y="428"/>
                  </a:lnTo>
                  <a:lnTo>
                    <a:pt x="65" y="428"/>
                  </a:lnTo>
                  <a:lnTo>
                    <a:pt x="65" y="427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3" y="423"/>
                  </a:lnTo>
                  <a:lnTo>
                    <a:pt x="62" y="422"/>
                  </a:lnTo>
                  <a:lnTo>
                    <a:pt x="62" y="422"/>
                  </a:lnTo>
                  <a:lnTo>
                    <a:pt x="60" y="421"/>
                  </a:lnTo>
                  <a:lnTo>
                    <a:pt x="59" y="420"/>
                  </a:lnTo>
                  <a:lnTo>
                    <a:pt x="59" y="419"/>
                  </a:lnTo>
                  <a:lnTo>
                    <a:pt x="58" y="418"/>
                  </a:lnTo>
                  <a:lnTo>
                    <a:pt x="58" y="417"/>
                  </a:lnTo>
                  <a:lnTo>
                    <a:pt x="57" y="417"/>
                  </a:lnTo>
                  <a:lnTo>
                    <a:pt x="57" y="414"/>
                  </a:lnTo>
                  <a:lnTo>
                    <a:pt x="56" y="410"/>
                  </a:lnTo>
                  <a:lnTo>
                    <a:pt x="55" y="408"/>
                  </a:lnTo>
                  <a:lnTo>
                    <a:pt x="54" y="407"/>
                  </a:lnTo>
                  <a:lnTo>
                    <a:pt x="54" y="406"/>
                  </a:lnTo>
                  <a:lnTo>
                    <a:pt x="53" y="405"/>
                  </a:lnTo>
                  <a:lnTo>
                    <a:pt x="52" y="404"/>
                  </a:lnTo>
                  <a:lnTo>
                    <a:pt x="52" y="403"/>
                  </a:lnTo>
                  <a:lnTo>
                    <a:pt x="52" y="402"/>
                  </a:lnTo>
                  <a:lnTo>
                    <a:pt x="51" y="401"/>
                  </a:lnTo>
                  <a:lnTo>
                    <a:pt x="50" y="400"/>
                  </a:lnTo>
                  <a:lnTo>
                    <a:pt x="50" y="399"/>
                  </a:lnTo>
                  <a:lnTo>
                    <a:pt x="48" y="398"/>
                  </a:lnTo>
                  <a:lnTo>
                    <a:pt x="47" y="397"/>
                  </a:lnTo>
                  <a:lnTo>
                    <a:pt x="47" y="396"/>
                  </a:lnTo>
                  <a:lnTo>
                    <a:pt x="46" y="394"/>
                  </a:lnTo>
                  <a:lnTo>
                    <a:pt x="45" y="393"/>
                  </a:lnTo>
                  <a:lnTo>
                    <a:pt x="45" y="392"/>
                  </a:lnTo>
                  <a:lnTo>
                    <a:pt x="44" y="391"/>
                  </a:lnTo>
                  <a:lnTo>
                    <a:pt x="43" y="390"/>
                  </a:lnTo>
                  <a:lnTo>
                    <a:pt x="42" y="389"/>
                  </a:lnTo>
                  <a:lnTo>
                    <a:pt x="42" y="389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38" y="388"/>
                  </a:lnTo>
                  <a:lnTo>
                    <a:pt x="36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2" y="387"/>
                  </a:lnTo>
                  <a:lnTo>
                    <a:pt x="31" y="387"/>
                  </a:lnTo>
                  <a:lnTo>
                    <a:pt x="30" y="387"/>
                  </a:lnTo>
                  <a:lnTo>
                    <a:pt x="28" y="387"/>
                  </a:lnTo>
                  <a:lnTo>
                    <a:pt x="27" y="388"/>
                  </a:lnTo>
                  <a:lnTo>
                    <a:pt x="25" y="389"/>
                  </a:lnTo>
                  <a:lnTo>
                    <a:pt x="24" y="390"/>
                  </a:lnTo>
                  <a:lnTo>
                    <a:pt x="23" y="391"/>
                  </a:lnTo>
                  <a:lnTo>
                    <a:pt x="21" y="392"/>
                  </a:lnTo>
                  <a:lnTo>
                    <a:pt x="20" y="394"/>
                  </a:lnTo>
                  <a:lnTo>
                    <a:pt x="19" y="394"/>
                  </a:lnTo>
                  <a:lnTo>
                    <a:pt x="19" y="394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5"/>
                  </a:lnTo>
                  <a:lnTo>
                    <a:pt x="19" y="396"/>
                  </a:lnTo>
                  <a:lnTo>
                    <a:pt x="20" y="396"/>
                  </a:lnTo>
                  <a:lnTo>
                    <a:pt x="20" y="397"/>
                  </a:lnTo>
                  <a:lnTo>
                    <a:pt x="21" y="398"/>
                  </a:lnTo>
                  <a:lnTo>
                    <a:pt x="21" y="398"/>
                  </a:lnTo>
                  <a:lnTo>
                    <a:pt x="21" y="399"/>
                  </a:lnTo>
                  <a:lnTo>
                    <a:pt x="22" y="399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28" y="405"/>
                  </a:lnTo>
                  <a:lnTo>
                    <a:pt x="28" y="406"/>
                  </a:lnTo>
                  <a:lnTo>
                    <a:pt x="28" y="407"/>
                  </a:lnTo>
                  <a:lnTo>
                    <a:pt x="29" y="408"/>
                  </a:lnTo>
                  <a:lnTo>
                    <a:pt x="29" y="409"/>
                  </a:lnTo>
                  <a:lnTo>
                    <a:pt x="30" y="410"/>
                  </a:lnTo>
                  <a:lnTo>
                    <a:pt x="31" y="412"/>
                  </a:lnTo>
                  <a:lnTo>
                    <a:pt x="31" y="413"/>
                  </a:lnTo>
                  <a:lnTo>
                    <a:pt x="32" y="414"/>
                  </a:lnTo>
                  <a:lnTo>
                    <a:pt x="32" y="415"/>
                  </a:lnTo>
                  <a:lnTo>
                    <a:pt x="32" y="415"/>
                  </a:lnTo>
                  <a:lnTo>
                    <a:pt x="32" y="416"/>
                  </a:lnTo>
                  <a:lnTo>
                    <a:pt x="32" y="417"/>
                  </a:lnTo>
                  <a:lnTo>
                    <a:pt x="32" y="417"/>
                  </a:lnTo>
                  <a:lnTo>
                    <a:pt x="32" y="418"/>
                  </a:lnTo>
                  <a:lnTo>
                    <a:pt x="32" y="418"/>
                  </a:lnTo>
                  <a:lnTo>
                    <a:pt x="31" y="419"/>
                  </a:lnTo>
                  <a:lnTo>
                    <a:pt x="30" y="421"/>
                  </a:lnTo>
                  <a:lnTo>
                    <a:pt x="29" y="422"/>
                  </a:lnTo>
                  <a:lnTo>
                    <a:pt x="28" y="424"/>
                  </a:lnTo>
                  <a:lnTo>
                    <a:pt x="27" y="427"/>
                  </a:lnTo>
                  <a:lnTo>
                    <a:pt x="27" y="429"/>
                  </a:lnTo>
                  <a:lnTo>
                    <a:pt x="26" y="430"/>
                  </a:lnTo>
                  <a:lnTo>
                    <a:pt x="25" y="431"/>
                  </a:lnTo>
                  <a:lnTo>
                    <a:pt x="25" y="432"/>
                  </a:lnTo>
                  <a:lnTo>
                    <a:pt x="23" y="433"/>
                  </a:lnTo>
                  <a:lnTo>
                    <a:pt x="22" y="434"/>
                  </a:lnTo>
                  <a:lnTo>
                    <a:pt x="21" y="435"/>
                  </a:lnTo>
                  <a:lnTo>
                    <a:pt x="20" y="436"/>
                  </a:lnTo>
                  <a:lnTo>
                    <a:pt x="19" y="436"/>
                  </a:lnTo>
                  <a:lnTo>
                    <a:pt x="18" y="437"/>
                  </a:lnTo>
                  <a:lnTo>
                    <a:pt x="17" y="437"/>
                  </a:lnTo>
                  <a:lnTo>
                    <a:pt x="16" y="437"/>
                  </a:lnTo>
                  <a:lnTo>
                    <a:pt x="15" y="437"/>
                  </a:lnTo>
                  <a:lnTo>
                    <a:pt x="14" y="436"/>
                  </a:lnTo>
                  <a:lnTo>
                    <a:pt x="12" y="436"/>
                  </a:lnTo>
                  <a:lnTo>
                    <a:pt x="11" y="435"/>
                  </a:lnTo>
                  <a:lnTo>
                    <a:pt x="9" y="434"/>
                  </a:lnTo>
                  <a:lnTo>
                    <a:pt x="6" y="431"/>
                  </a:lnTo>
                  <a:lnTo>
                    <a:pt x="4" y="430"/>
                  </a:lnTo>
                  <a:lnTo>
                    <a:pt x="3" y="429"/>
                  </a:lnTo>
                  <a:lnTo>
                    <a:pt x="3" y="429"/>
                  </a:lnTo>
                  <a:lnTo>
                    <a:pt x="1" y="427"/>
                  </a:lnTo>
                  <a:lnTo>
                    <a:pt x="1" y="427"/>
                  </a:lnTo>
                  <a:lnTo>
                    <a:pt x="0" y="426"/>
                  </a:lnTo>
                  <a:lnTo>
                    <a:pt x="0" y="426"/>
                  </a:lnTo>
                  <a:lnTo>
                    <a:pt x="0" y="425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1" y="421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71">
              <a:extLst>
                <a:ext uri="{FF2B5EF4-FFF2-40B4-BE49-F238E27FC236}">
                  <a16:creationId xmlns:a16="http://schemas.microsoft.com/office/drawing/2014/main" id="{2E797132-3309-ACD0-5B10-7FD8DB72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140"/>
              <a:ext cx="169" cy="475"/>
            </a:xfrm>
            <a:custGeom>
              <a:avLst/>
              <a:gdLst>
                <a:gd name="T0" fmla="*/ 36 w 169"/>
                <a:gd name="T1" fmla="*/ 470 h 475"/>
                <a:gd name="T2" fmla="*/ 35 w 169"/>
                <a:gd name="T3" fmla="*/ 464 h 475"/>
                <a:gd name="T4" fmla="*/ 28 w 169"/>
                <a:gd name="T5" fmla="*/ 449 h 475"/>
                <a:gd name="T6" fmla="*/ 27 w 169"/>
                <a:gd name="T7" fmla="*/ 436 h 475"/>
                <a:gd name="T8" fmla="*/ 34 w 169"/>
                <a:gd name="T9" fmla="*/ 426 h 475"/>
                <a:gd name="T10" fmla="*/ 34 w 169"/>
                <a:gd name="T11" fmla="*/ 424 h 475"/>
                <a:gd name="T12" fmla="*/ 15 w 169"/>
                <a:gd name="T13" fmla="*/ 419 h 475"/>
                <a:gd name="T14" fmla="*/ 13 w 169"/>
                <a:gd name="T15" fmla="*/ 416 h 475"/>
                <a:gd name="T16" fmla="*/ 13 w 169"/>
                <a:gd name="T17" fmla="*/ 405 h 475"/>
                <a:gd name="T18" fmla="*/ 18 w 169"/>
                <a:gd name="T19" fmla="*/ 403 h 475"/>
                <a:gd name="T20" fmla="*/ 26 w 169"/>
                <a:gd name="T21" fmla="*/ 403 h 475"/>
                <a:gd name="T22" fmla="*/ 29 w 169"/>
                <a:gd name="T23" fmla="*/ 395 h 475"/>
                <a:gd name="T24" fmla="*/ 31 w 169"/>
                <a:gd name="T25" fmla="*/ 386 h 475"/>
                <a:gd name="T26" fmla="*/ 30 w 169"/>
                <a:gd name="T27" fmla="*/ 374 h 475"/>
                <a:gd name="T28" fmla="*/ 32 w 169"/>
                <a:gd name="T29" fmla="*/ 366 h 475"/>
                <a:gd name="T30" fmla="*/ 40 w 169"/>
                <a:gd name="T31" fmla="*/ 355 h 475"/>
                <a:gd name="T32" fmla="*/ 40 w 169"/>
                <a:gd name="T33" fmla="*/ 341 h 475"/>
                <a:gd name="T34" fmla="*/ 36 w 169"/>
                <a:gd name="T35" fmla="*/ 335 h 475"/>
                <a:gd name="T36" fmla="*/ 28 w 169"/>
                <a:gd name="T37" fmla="*/ 333 h 475"/>
                <a:gd name="T38" fmla="*/ 28 w 169"/>
                <a:gd name="T39" fmla="*/ 328 h 475"/>
                <a:gd name="T40" fmla="*/ 26 w 169"/>
                <a:gd name="T41" fmla="*/ 320 h 475"/>
                <a:gd name="T42" fmla="*/ 20 w 169"/>
                <a:gd name="T43" fmla="*/ 308 h 475"/>
                <a:gd name="T44" fmla="*/ 12 w 169"/>
                <a:gd name="T45" fmla="*/ 294 h 475"/>
                <a:gd name="T46" fmla="*/ 7 w 169"/>
                <a:gd name="T47" fmla="*/ 284 h 475"/>
                <a:gd name="T48" fmla="*/ 9 w 169"/>
                <a:gd name="T49" fmla="*/ 275 h 475"/>
                <a:gd name="T50" fmla="*/ 13 w 169"/>
                <a:gd name="T51" fmla="*/ 266 h 475"/>
                <a:gd name="T52" fmla="*/ 11 w 169"/>
                <a:gd name="T53" fmla="*/ 250 h 475"/>
                <a:gd name="T54" fmla="*/ 5 w 169"/>
                <a:gd name="T55" fmla="*/ 230 h 475"/>
                <a:gd name="T56" fmla="*/ 1 w 169"/>
                <a:gd name="T57" fmla="*/ 212 h 475"/>
                <a:gd name="T58" fmla="*/ 3 w 169"/>
                <a:gd name="T59" fmla="*/ 209 h 475"/>
                <a:gd name="T60" fmla="*/ 11 w 169"/>
                <a:gd name="T61" fmla="*/ 206 h 475"/>
                <a:gd name="T62" fmla="*/ 22 w 169"/>
                <a:gd name="T63" fmla="*/ 196 h 475"/>
                <a:gd name="T64" fmla="*/ 27 w 169"/>
                <a:gd name="T65" fmla="*/ 189 h 475"/>
                <a:gd name="T66" fmla="*/ 25 w 169"/>
                <a:gd name="T67" fmla="*/ 177 h 475"/>
                <a:gd name="T68" fmla="*/ 27 w 169"/>
                <a:gd name="T69" fmla="*/ 167 h 475"/>
                <a:gd name="T70" fmla="*/ 28 w 169"/>
                <a:gd name="T71" fmla="*/ 157 h 475"/>
                <a:gd name="T72" fmla="*/ 38 w 169"/>
                <a:gd name="T73" fmla="*/ 132 h 475"/>
                <a:gd name="T74" fmla="*/ 41 w 169"/>
                <a:gd name="T75" fmla="*/ 118 h 475"/>
                <a:gd name="T76" fmla="*/ 43 w 169"/>
                <a:gd name="T77" fmla="*/ 115 h 475"/>
                <a:gd name="T78" fmla="*/ 53 w 169"/>
                <a:gd name="T79" fmla="*/ 106 h 475"/>
                <a:gd name="T80" fmla="*/ 64 w 169"/>
                <a:gd name="T81" fmla="*/ 103 h 475"/>
                <a:gd name="T82" fmla="*/ 72 w 169"/>
                <a:gd name="T83" fmla="*/ 98 h 475"/>
                <a:gd name="T84" fmla="*/ 80 w 169"/>
                <a:gd name="T85" fmla="*/ 103 h 475"/>
                <a:gd name="T86" fmla="*/ 85 w 169"/>
                <a:gd name="T87" fmla="*/ 103 h 475"/>
                <a:gd name="T88" fmla="*/ 85 w 169"/>
                <a:gd name="T89" fmla="*/ 94 h 475"/>
                <a:gd name="T90" fmla="*/ 85 w 169"/>
                <a:gd name="T91" fmla="*/ 80 h 475"/>
                <a:gd name="T92" fmla="*/ 80 w 169"/>
                <a:gd name="T93" fmla="*/ 69 h 475"/>
                <a:gd name="T94" fmla="*/ 66 w 169"/>
                <a:gd name="T95" fmla="*/ 60 h 475"/>
                <a:gd name="T96" fmla="*/ 59 w 169"/>
                <a:gd name="T97" fmla="*/ 49 h 475"/>
                <a:gd name="T98" fmla="*/ 52 w 169"/>
                <a:gd name="T99" fmla="*/ 30 h 475"/>
                <a:gd name="T100" fmla="*/ 42 w 169"/>
                <a:gd name="T101" fmla="*/ 21 h 475"/>
                <a:gd name="T102" fmla="*/ 39 w 169"/>
                <a:gd name="T103" fmla="*/ 15 h 475"/>
                <a:gd name="T104" fmla="*/ 45 w 169"/>
                <a:gd name="T105" fmla="*/ 5 h 475"/>
                <a:gd name="T106" fmla="*/ 51 w 169"/>
                <a:gd name="T107" fmla="*/ 0 h 475"/>
                <a:gd name="T108" fmla="*/ 68 w 169"/>
                <a:gd name="T109" fmla="*/ 10 h 475"/>
                <a:gd name="T110" fmla="*/ 79 w 169"/>
                <a:gd name="T111" fmla="*/ 11 h 475"/>
                <a:gd name="T112" fmla="*/ 98 w 169"/>
                <a:gd name="T113" fmla="*/ 18 h 475"/>
                <a:gd name="T114" fmla="*/ 111 w 169"/>
                <a:gd name="T115" fmla="*/ 21 h 475"/>
                <a:gd name="T116" fmla="*/ 124 w 169"/>
                <a:gd name="T117" fmla="*/ 28 h 475"/>
                <a:gd name="T118" fmla="*/ 136 w 169"/>
                <a:gd name="T119" fmla="*/ 28 h 475"/>
                <a:gd name="T120" fmla="*/ 141 w 169"/>
                <a:gd name="T121" fmla="*/ 38 h 475"/>
                <a:gd name="T122" fmla="*/ 151 w 169"/>
                <a:gd name="T123" fmla="*/ 49 h 475"/>
                <a:gd name="T124" fmla="*/ 162 w 169"/>
                <a:gd name="T125" fmla="*/ 5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475">
                  <a:moveTo>
                    <a:pt x="32" y="475"/>
                  </a:moveTo>
                  <a:lnTo>
                    <a:pt x="32" y="475"/>
                  </a:lnTo>
                  <a:lnTo>
                    <a:pt x="32" y="474"/>
                  </a:lnTo>
                  <a:lnTo>
                    <a:pt x="32" y="474"/>
                  </a:lnTo>
                  <a:lnTo>
                    <a:pt x="33" y="473"/>
                  </a:lnTo>
                  <a:lnTo>
                    <a:pt x="35" y="471"/>
                  </a:lnTo>
                  <a:lnTo>
                    <a:pt x="36" y="471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9"/>
                  </a:lnTo>
                  <a:lnTo>
                    <a:pt x="37" y="469"/>
                  </a:lnTo>
                  <a:lnTo>
                    <a:pt x="37" y="468"/>
                  </a:lnTo>
                  <a:lnTo>
                    <a:pt x="36" y="467"/>
                  </a:lnTo>
                  <a:lnTo>
                    <a:pt x="36" y="466"/>
                  </a:lnTo>
                  <a:lnTo>
                    <a:pt x="35" y="465"/>
                  </a:lnTo>
                  <a:lnTo>
                    <a:pt x="35" y="464"/>
                  </a:lnTo>
                  <a:lnTo>
                    <a:pt x="34" y="463"/>
                  </a:lnTo>
                  <a:lnTo>
                    <a:pt x="32" y="460"/>
                  </a:lnTo>
                  <a:lnTo>
                    <a:pt x="31" y="459"/>
                  </a:lnTo>
                  <a:lnTo>
                    <a:pt x="31" y="458"/>
                  </a:lnTo>
                  <a:lnTo>
                    <a:pt x="30" y="457"/>
                  </a:lnTo>
                  <a:lnTo>
                    <a:pt x="30" y="456"/>
                  </a:lnTo>
                  <a:lnTo>
                    <a:pt x="29" y="453"/>
                  </a:lnTo>
                  <a:lnTo>
                    <a:pt x="28" y="449"/>
                  </a:lnTo>
                  <a:lnTo>
                    <a:pt x="27" y="446"/>
                  </a:lnTo>
                  <a:lnTo>
                    <a:pt x="27" y="445"/>
                  </a:lnTo>
                  <a:lnTo>
                    <a:pt x="27" y="443"/>
                  </a:lnTo>
                  <a:lnTo>
                    <a:pt x="27" y="442"/>
                  </a:lnTo>
                  <a:lnTo>
                    <a:pt x="27" y="440"/>
                  </a:lnTo>
                  <a:lnTo>
                    <a:pt x="27" y="439"/>
                  </a:lnTo>
                  <a:lnTo>
                    <a:pt x="27" y="437"/>
                  </a:lnTo>
                  <a:lnTo>
                    <a:pt x="27" y="436"/>
                  </a:lnTo>
                  <a:lnTo>
                    <a:pt x="28" y="435"/>
                  </a:lnTo>
                  <a:lnTo>
                    <a:pt x="30" y="432"/>
                  </a:lnTo>
                  <a:lnTo>
                    <a:pt x="30" y="431"/>
                  </a:lnTo>
                  <a:lnTo>
                    <a:pt x="32" y="429"/>
                  </a:lnTo>
                  <a:lnTo>
                    <a:pt x="32" y="428"/>
                  </a:lnTo>
                  <a:lnTo>
                    <a:pt x="33" y="428"/>
                  </a:lnTo>
                  <a:lnTo>
                    <a:pt x="34" y="427"/>
                  </a:lnTo>
                  <a:lnTo>
                    <a:pt x="34" y="426"/>
                  </a:lnTo>
                  <a:lnTo>
                    <a:pt x="35" y="426"/>
                  </a:lnTo>
                  <a:lnTo>
                    <a:pt x="35" y="425"/>
                  </a:lnTo>
                  <a:lnTo>
                    <a:pt x="36" y="425"/>
                  </a:lnTo>
                  <a:lnTo>
                    <a:pt x="36" y="425"/>
                  </a:lnTo>
                  <a:lnTo>
                    <a:pt x="36" y="424"/>
                  </a:lnTo>
                  <a:lnTo>
                    <a:pt x="35" y="424"/>
                  </a:lnTo>
                  <a:lnTo>
                    <a:pt x="35" y="424"/>
                  </a:lnTo>
                  <a:lnTo>
                    <a:pt x="34" y="424"/>
                  </a:lnTo>
                  <a:lnTo>
                    <a:pt x="32" y="423"/>
                  </a:lnTo>
                  <a:lnTo>
                    <a:pt x="30" y="423"/>
                  </a:lnTo>
                  <a:lnTo>
                    <a:pt x="29" y="423"/>
                  </a:lnTo>
                  <a:lnTo>
                    <a:pt x="27" y="423"/>
                  </a:lnTo>
                  <a:lnTo>
                    <a:pt x="25" y="422"/>
                  </a:lnTo>
                  <a:lnTo>
                    <a:pt x="21" y="421"/>
                  </a:lnTo>
                  <a:lnTo>
                    <a:pt x="18" y="420"/>
                  </a:lnTo>
                  <a:lnTo>
                    <a:pt x="15" y="419"/>
                  </a:lnTo>
                  <a:lnTo>
                    <a:pt x="15" y="419"/>
                  </a:lnTo>
                  <a:lnTo>
                    <a:pt x="14" y="419"/>
                  </a:lnTo>
                  <a:lnTo>
                    <a:pt x="14" y="418"/>
                  </a:lnTo>
                  <a:lnTo>
                    <a:pt x="13" y="418"/>
                  </a:lnTo>
                  <a:lnTo>
                    <a:pt x="13" y="418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3" y="416"/>
                  </a:lnTo>
                  <a:lnTo>
                    <a:pt x="13" y="415"/>
                  </a:lnTo>
                  <a:lnTo>
                    <a:pt x="13" y="413"/>
                  </a:lnTo>
                  <a:lnTo>
                    <a:pt x="13" y="412"/>
                  </a:lnTo>
                  <a:lnTo>
                    <a:pt x="13" y="411"/>
                  </a:lnTo>
                  <a:lnTo>
                    <a:pt x="12" y="408"/>
                  </a:lnTo>
                  <a:lnTo>
                    <a:pt x="12" y="407"/>
                  </a:lnTo>
                  <a:lnTo>
                    <a:pt x="12" y="406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4" y="403"/>
                  </a:lnTo>
                  <a:lnTo>
                    <a:pt x="14" y="402"/>
                  </a:lnTo>
                  <a:lnTo>
                    <a:pt x="15" y="402"/>
                  </a:lnTo>
                  <a:lnTo>
                    <a:pt x="15" y="402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3" y="404"/>
                  </a:lnTo>
                  <a:lnTo>
                    <a:pt x="24" y="404"/>
                  </a:lnTo>
                  <a:lnTo>
                    <a:pt x="25" y="404"/>
                  </a:lnTo>
                  <a:lnTo>
                    <a:pt x="25" y="404"/>
                  </a:lnTo>
                  <a:lnTo>
                    <a:pt x="25" y="403"/>
                  </a:lnTo>
                  <a:lnTo>
                    <a:pt x="26" y="403"/>
                  </a:lnTo>
                  <a:lnTo>
                    <a:pt x="26" y="403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8" y="397"/>
                  </a:lnTo>
                  <a:lnTo>
                    <a:pt x="29" y="396"/>
                  </a:lnTo>
                  <a:lnTo>
                    <a:pt x="29" y="395"/>
                  </a:lnTo>
                  <a:lnTo>
                    <a:pt x="29" y="394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0" y="389"/>
                  </a:lnTo>
                  <a:lnTo>
                    <a:pt x="31" y="386"/>
                  </a:lnTo>
                  <a:lnTo>
                    <a:pt x="32" y="384"/>
                  </a:lnTo>
                  <a:lnTo>
                    <a:pt x="32" y="382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80"/>
                  </a:lnTo>
                  <a:lnTo>
                    <a:pt x="31" y="377"/>
                  </a:lnTo>
                  <a:lnTo>
                    <a:pt x="30" y="375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3"/>
                  </a:lnTo>
                  <a:lnTo>
                    <a:pt x="30" y="371"/>
                  </a:lnTo>
                  <a:lnTo>
                    <a:pt x="30" y="370"/>
                  </a:lnTo>
                  <a:lnTo>
                    <a:pt x="30" y="369"/>
                  </a:lnTo>
                  <a:lnTo>
                    <a:pt x="31" y="368"/>
                  </a:lnTo>
                  <a:lnTo>
                    <a:pt x="31" y="367"/>
                  </a:lnTo>
                  <a:lnTo>
                    <a:pt x="32" y="366"/>
                  </a:lnTo>
                  <a:lnTo>
                    <a:pt x="33" y="365"/>
                  </a:lnTo>
                  <a:lnTo>
                    <a:pt x="33" y="364"/>
                  </a:lnTo>
                  <a:lnTo>
                    <a:pt x="36" y="361"/>
                  </a:lnTo>
                  <a:lnTo>
                    <a:pt x="38" y="358"/>
                  </a:lnTo>
                  <a:lnTo>
                    <a:pt x="39" y="357"/>
                  </a:lnTo>
                  <a:lnTo>
                    <a:pt x="39" y="356"/>
                  </a:lnTo>
                  <a:lnTo>
                    <a:pt x="39" y="356"/>
                  </a:lnTo>
                  <a:lnTo>
                    <a:pt x="40" y="355"/>
                  </a:lnTo>
                  <a:lnTo>
                    <a:pt x="40" y="353"/>
                  </a:lnTo>
                  <a:lnTo>
                    <a:pt x="41" y="352"/>
                  </a:lnTo>
                  <a:lnTo>
                    <a:pt x="41" y="350"/>
                  </a:lnTo>
                  <a:lnTo>
                    <a:pt x="41" y="348"/>
                  </a:lnTo>
                  <a:lnTo>
                    <a:pt x="41" y="347"/>
                  </a:lnTo>
                  <a:lnTo>
                    <a:pt x="41" y="346"/>
                  </a:lnTo>
                  <a:lnTo>
                    <a:pt x="40" y="342"/>
                  </a:lnTo>
                  <a:lnTo>
                    <a:pt x="40" y="341"/>
                  </a:lnTo>
                  <a:lnTo>
                    <a:pt x="40" y="340"/>
                  </a:lnTo>
                  <a:lnTo>
                    <a:pt x="40" y="339"/>
                  </a:lnTo>
                  <a:lnTo>
                    <a:pt x="39" y="338"/>
                  </a:lnTo>
                  <a:lnTo>
                    <a:pt x="39" y="338"/>
                  </a:lnTo>
                  <a:lnTo>
                    <a:pt x="38" y="337"/>
                  </a:lnTo>
                  <a:lnTo>
                    <a:pt x="38" y="336"/>
                  </a:lnTo>
                  <a:lnTo>
                    <a:pt x="37" y="336"/>
                  </a:lnTo>
                  <a:lnTo>
                    <a:pt x="36" y="335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4" y="334"/>
                  </a:lnTo>
                  <a:lnTo>
                    <a:pt x="31" y="334"/>
                  </a:lnTo>
                  <a:lnTo>
                    <a:pt x="30" y="333"/>
                  </a:lnTo>
                  <a:lnTo>
                    <a:pt x="29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27" y="333"/>
                  </a:lnTo>
                  <a:lnTo>
                    <a:pt x="27" y="333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7" y="331"/>
                  </a:lnTo>
                  <a:lnTo>
                    <a:pt x="27" y="330"/>
                  </a:lnTo>
                  <a:lnTo>
                    <a:pt x="28" y="328"/>
                  </a:lnTo>
                  <a:lnTo>
                    <a:pt x="28" y="327"/>
                  </a:lnTo>
                  <a:lnTo>
                    <a:pt x="28" y="326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8" y="324"/>
                  </a:lnTo>
                  <a:lnTo>
                    <a:pt x="27" y="321"/>
                  </a:lnTo>
                  <a:lnTo>
                    <a:pt x="26" y="321"/>
                  </a:lnTo>
                  <a:lnTo>
                    <a:pt x="26" y="320"/>
                  </a:lnTo>
                  <a:lnTo>
                    <a:pt x="26" y="317"/>
                  </a:lnTo>
                  <a:lnTo>
                    <a:pt x="26" y="316"/>
                  </a:lnTo>
                  <a:lnTo>
                    <a:pt x="25" y="315"/>
                  </a:lnTo>
                  <a:lnTo>
                    <a:pt x="25" y="314"/>
                  </a:lnTo>
                  <a:lnTo>
                    <a:pt x="24" y="314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7" y="305"/>
                  </a:lnTo>
                  <a:lnTo>
                    <a:pt x="16" y="304"/>
                  </a:lnTo>
                  <a:lnTo>
                    <a:pt x="15" y="302"/>
                  </a:lnTo>
                  <a:lnTo>
                    <a:pt x="15" y="300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12" y="294"/>
                  </a:lnTo>
                  <a:lnTo>
                    <a:pt x="12" y="293"/>
                  </a:lnTo>
                  <a:lnTo>
                    <a:pt x="12" y="292"/>
                  </a:lnTo>
                  <a:lnTo>
                    <a:pt x="11" y="291"/>
                  </a:lnTo>
                  <a:lnTo>
                    <a:pt x="9" y="288"/>
                  </a:lnTo>
                  <a:lnTo>
                    <a:pt x="8" y="287"/>
                  </a:lnTo>
                  <a:lnTo>
                    <a:pt x="8" y="286"/>
                  </a:lnTo>
                  <a:lnTo>
                    <a:pt x="8" y="285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6"/>
                  </a:lnTo>
                  <a:lnTo>
                    <a:pt x="9" y="275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2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8"/>
                  </a:lnTo>
                  <a:lnTo>
                    <a:pt x="13" y="267"/>
                  </a:lnTo>
                  <a:lnTo>
                    <a:pt x="13" y="266"/>
                  </a:lnTo>
                  <a:lnTo>
                    <a:pt x="13" y="266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2" y="260"/>
                  </a:lnTo>
                  <a:lnTo>
                    <a:pt x="12" y="258"/>
                  </a:lnTo>
                  <a:lnTo>
                    <a:pt x="12" y="257"/>
                  </a:lnTo>
                  <a:lnTo>
                    <a:pt x="12" y="254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7"/>
                  </a:lnTo>
                  <a:lnTo>
                    <a:pt x="10" y="246"/>
                  </a:lnTo>
                  <a:lnTo>
                    <a:pt x="9" y="241"/>
                  </a:lnTo>
                  <a:lnTo>
                    <a:pt x="7" y="236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5" y="230"/>
                  </a:lnTo>
                  <a:lnTo>
                    <a:pt x="4" y="225"/>
                  </a:lnTo>
                  <a:lnTo>
                    <a:pt x="4" y="223"/>
                  </a:lnTo>
                  <a:lnTo>
                    <a:pt x="3" y="220"/>
                  </a:lnTo>
                  <a:lnTo>
                    <a:pt x="1" y="216"/>
                  </a:lnTo>
                  <a:lnTo>
                    <a:pt x="1" y="215"/>
                  </a:lnTo>
                  <a:lnTo>
                    <a:pt x="1" y="214"/>
                  </a:lnTo>
                  <a:lnTo>
                    <a:pt x="0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1" y="210"/>
                  </a:lnTo>
                  <a:lnTo>
                    <a:pt x="1" y="210"/>
                  </a:lnTo>
                  <a:lnTo>
                    <a:pt x="2" y="210"/>
                  </a:lnTo>
                  <a:lnTo>
                    <a:pt x="2" y="210"/>
                  </a:lnTo>
                  <a:lnTo>
                    <a:pt x="3" y="209"/>
                  </a:lnTo>
                  <a:lnTo>
                    <a:pt x="4" y="209"/>
                  </a:lnTo>
                  <a:lnTo>
                    <a:pt x="5" y="209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0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3" y="205"/>
                  </a:lnTo>
                  <a:lnTo>
                    <a:pt x="14" y="204"/>
                  </a:lnTo>
                  <a:lnTo>
                    <a:pt x="15" y="203"/>
                  </a:lnTo>
                  <a:lnTo>
                    <a:pt x="15" y="202"/>
                  </a:lnTo>
                  <a:lnTo>
                    <a:pt x="18" y="199"/>
                  </a:lnTo>
                  <a:lnTo>
                    <a:pt x="19" y="198"/>
                  </a:lnTo>
                  <a:lnTo>
                    <a:pt x="22" y="196"/>
                  </a:lnTo>
                  <a:lnTo>
                    <a:pt x="23" y="194"/>
                  </a:lnTo>
                  <a:lnTo>
                    <a:pt x="24" y="194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2"/>
                  </a:lnTo>
                  <a:lnTo>
                    <a:pt x="26" y="191"/>
                  </a:lnTo>
                  <a:lnTo>
                    <a:pt x="26" y="190"/>
                  </a:lnTo>
                  <a:lnTo>
                    <a:pt x="27" y="189"/>
                  </a:lnTo>
                  <a:lnTo>
                    <a:pt x="27" y="188"/>
                  </a:lnTo>
                  <a:lnTo>
                    <a:pt x="27" y="187"/>
                  </a:lnTo>
                  <a:lnTo>
                    <a:pt x="27" y="185"/>
                  </a:lnTo>
                  <a:lnTo>
                    <a:pt x="26" y="182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0"/>
                  </a:lnTo>
                  <a:lnTo>
                    <a:pt x="27" y="169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6"/>
                  </a:lnTo>
                  <a:lnTo>
                    <a:pt x="27" y="162"/>
                  </a:lnTo>
                  <a:lnTo>
                    <a:pt x="27" y="161"/>
                  </a:lnTo>
                  <a:lnTo>
                    <a:pt x="27" y="160"/>
                  </a:lnTo>
                  <a:lnTo>
                    <a:pt x="27" y="159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9" y="155"/>
                  </a:lnTo>
                  <a:lnTo>
                    <a:pt x="29" y="154"/>
                  </a:lnTo>
                  <a:lnTo>
                    <a:pt x="30" y="150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4" y="143"/>
                  </a:lnTo>
                  <a:lnTo>
                    <a:pt x="36" y="135"/>
                  </a:lnTo>
                  <a:lnTo>
                    <a:pt x="38" y="132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40" y="125"/>
                  </a:lnTo>
                  <a:lnTo>
                    <a:pt x="40" y="123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4" y="114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9" y="108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5" y="105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3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1"/>
                  </a:lnTo>
                  <a:lnTo>
                    <a:pt x="69" y="100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6" y="99"/>
                  </a:lnTo>
                  <a:lnTo>
                    <a:pt x="79" y="102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1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3"/>
                  </a:lnTo>
                  <a:lnTo>
                    <a:pt x="85" y="103"/>
                  </a:lnTo>
                  <a:lnTo>
                    <a:pt x="85" y="102"/>
                  </a:lnTo>
                  <a:lnTo>
                    <a:pt x="86" y="102"/>
                  </a:lnTo>
                  <a:lnTo>
                    <a:pt x="86" y="101"/>
                  </a:lnTo>
                  <a:lnTo>
                    <a:pt x="86" y="100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6" y="97"/>
                  </a:lnTo>
                  <a:lnTo>
                    <a:pt x="85" y="94"/>
                  </a:lnTo>
                  <a:lnTo>
                    <a:pt x="85" y="92"/>
                  </a:lnTo>
                  <a:lnTo>
                    <a:pt x="84" y="91"/>
                  </a:lnTo>
                  <a:lnTo>
                    <a:pt x="84" y="89"/>
                  </a:lnTo>
                  <a:lnTo>
                    <a:pt x="84" y="88"/>
                  </a:lnTo>
                  <a:lnTo>
                    <a:pt x="84" y="87"/>
                  </a:lnTo>
                  <a:lnTo>
                    <a:pt x="85" y="83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5" y="78"/>
                  </a:lnTo>
                  <a:lnTo>
                    <a:pt x="84" y="77"/>
                  </a:lnTo>
                  <a:lnTo>
                    <a:pt x="84" y="75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1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79" y="68"/>
                  </a:lnTo>
                  <a:lnTo>
                    <a:pt x="78" y="67"/>
                  </a:lnTo>
                  <a:lnTo>
                    <a:pt x="77" y="66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68" y="62"/>
                  </a:lnTo>
                  <a:lnTo>
                    <a:pt x="67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3" y="58"/>
                  </a:lnTo>
                  <a:lnTo>
                    <a:pt x="63" y="57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1" y="54"/>
                  </a:lnTo>
                  <a:lnTo>
                    <a:pt x="59" y="49"/>
                  </a:lnTo>
                  <a:lnTo>
                    <a:pt x="57" y="44"/>
                  </a:lnTo>
                  <a:lnTo>
                    <a:pt x="56" y="42"/>
                  </a:lnTo>
                  <a:lnTo>
                    <a:pt x="55" y="40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3" y="32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8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1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4" y="6"/>
                  </a:lnTo>
                  <a:lnTo>
                    <a:pt x="45" y="5"/>
                  </a:lnTo>
                  <a:lnTo>
                    <a:pt x="46" y="4"/>
                  </a:lnTo>
                  <a:lnTo>
                    <a:pt x="47" y="3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9" y="5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0" y="12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6" y="14"/>
                  </a:lnTo>
                  <a:lnTo>
                    <a:pt x="92" y="16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8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3" y="22"/>
                  </a:lnTo>
                  <a:lnTo>
                    <a:pt x="113" y="23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5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8" y="31"/>
                  </a:lnTo>
                  <a:lnTo>
                    <a:pt x="140" y="35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3" y="40"/>
                  </a:lnTo>
                  <a:lnTo>
                    <a:pt x="144" y="41"/>
                  </a:lnTo>
                  <a:lnTo>
                    <a:pt x="145" y="43"/>
                  </a:lnTo>
                  <a:lnTo>
                    <a:pt x="146" y="44"/>
                  </a:lnTo>
                  <a:lnTo>
                    <a:pt x="147" y="45"/>
                  </a:lnTo>
                  <a:lnTo>
                    <a:pt x="148" y="46"/>
                  </a:lnTo>
                  <a:lnTo>
                    <a:pt x="149" y="47"/>
                  </a:lnTo>
                  <a:lnTo>
                    <a:pt x="151" y="49"/>
                  </a:lnTo>
                  <a:lnTo>
                    <a:pt x="153" y="50"/>
                  </a:lnTo>
                  <a:lnTo>
                    <a:pt x="154" y="51"/>
                  </a:lnTo>
                  <a:lnTo>
                    <a:pt x="155" y="52"/>
                  </a:lnTo>
                  <a:lnTo>
                    <a:pt x="156" y="52"/>
                  </a:lnTo>
                  <a:lnTo>
                    <a:pt x="158" y="53"/>
                  </a:lnTo>
                  <a:lnTo>
                    <a:pt x="160" y="54"/>
                  </a:lnTo>
                  <a:lnTo>
                    <a:pt x="161" y="54"/>
                  </a:lnTo>
                  <a:lnTo>
                    <a:pt x="162" y="55"/>
                  </a:lnTo>
                  <a:lnTo>
                    <a:pt x="163" y="55"/>
                  </a:lnTo>
                  <a:lnTo>
                    <a:pt x="164" y="55"/>
                  </a:lnTo>
                  <a:lnTo>
                    <a:pt x="165" y="55"/>
                  </a:lnTo>
                  <a:lnTo>
                    <a:pt x="166" y="56"/>
                  </a:lnTo>
                  <a:lnTo>
                    <a:pt x="167" y="56"/>
                  </a:lnTo>
                  <a:lnTo>
                    <a:pt x="169" y="56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72">
              <a:extLst>
                <a:ext uri="{FF2B5EF4-FFF2-40B4-BE49-F238E27FC236}">
                  <a16:creationId xmlns:a16="http://schemas.microsoft.com/office/drawing/2014/main" id="{EB8A4CE1-4F2F-E9A5-499E-6AF8624F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551"/>
              <a:ext cx="387" cy="320"/>
            </a:xfrm>
            <a:custGeom>
              <a:avLst/>
              <a:gdLst>
                <a:gd name="T0" fmla="*/ 257 w 387"/>
                <a:gd name="T1" fmla="*/ 7 h 320"/>
                <a:gd name="T2" fmla="*/ 275 w 387"/>
                <a:gd name="T3" fmla="*/ 11 h 320"/>
                <a:gd name="T4" fmla="*/ 308 w 387"/>
                <a:gd name="T5" fmla="*/ 10 h 320"/>
                <a:gd name="T6" fmla="*/ 331 w 387"/>
                <a:gd name="T7" fmla="*/ 19 h 320"/>
                <a:gd name="T8" fmla="*/ 349 w 387"/>
                <a:gd name="T9" fmla="*/ 20 h 320"/>
                <a:gd name="T10" fmla="*/ 366 w 387"/>
                <a:gd name="T11" fmla="*/ 38 h 320"/>
                <a:gd name="T12" fmla="*/ 377 w 387"/>
                <a:gd name="T13" fmla="*/ 55 h 320"/>
                <a:gd name="T14" fmla="*/ 387 w 387"/>
                <a:gd name="T15" fmla="*/ 65 h 320"/>
                <a:gd name="T16" fmla="*/ 379 w 387"/>
                <a:gd name="T17" fmla="*/ 89 h 320"/>
                <a:gd name="T18" fmla="*/ 340 w 387"/>
                <a:gd name="T19" fmla="*/ 108 h 320"/>
                <a:gd name="T20" fmla="*/ 319 w 387"/>
                <a:gd name="T21" fmla="*/ 121 h 320"/>
                <a:gd name="T22" fmla="*/ 312 w 387"/>
                <a:gd name="T23" fmla="*/ 144 h 320"/>
                <a:gd name="T24" fmla="*/ 306 w 387"/>
                <a:gd name="T25" fmla="*/ 171 h 320"/>
                <a:gd name="T26" fmla="*/ 303 w 387"/>
                <a:gd name="T27" fmla="*/ 192 h 320"/>
                <a:gd name="T28" fmla="*/ 296 w 387"/>
                <a:gd name="T29" fmla="*/ 221 h 320"/>
                <a:gd name="T30" fmla="*/ 276 w 387"/>
                <a:gd name="T31" fmla="*/ 237 h 320"/>
                <a:gd name="T32" fmla="*/ 250 w 387"/>
                <a:gd name="T33" fmla="*/ 240 h 320"/>
                <a:gd name="T34" fmla="*/ 242 w 387"/>
                <a:gd name="T35" fmla="*/ 258 h 320"/>
                <a:gd name="T36" fmla="*/ 234 w 387"/>
                <a:gd name="T37" fmla="*/ 282 h 320"/>
                <a:gd name="T38" fmla="*/ 210 w 387"/>
                <a:gd name="T39" fmla="*/ 286 h 320"/>
                <a:gd name="T40" fmla="*/ 192 w 387"/>
                <a:gd name="T41" fmla="*/ 305 h 320"/>
                <a:gd name="T42" fmla="*/ 165 w 387"/>
                <a:gd name="T43" fmla="*/ 320 h 320"/>
                <a:gd name="T44" fmla="*/ 149 w 387"/>
                <a:gd name="T45" fmla="*/ 296 h 320"/>
                <a:gd name="T46" fmla="*/ 133 w 387"/>
                <a:gd name="T47" fmla="*/ 285 h 320"/>
                <a:gd name="T48" fmla="*/ 125 w 387"/>
                <a:gd name="T49" fmla="*/ 274 h 320"/>
                <a:gd name="T50" fmla="*/ 101 w 387"/>
                <a:gd name="T51" fmla="*/ 274 h 320"/>
                <a:gd name="T52" fmla="*/ 83 w 387"/>
                <a:gd name="T53" fmla="*/ 265 h 320"/>
                <a:gd name="T54" fmla="*/ 74 w 387"/>
                <a:gd name="T55" fmla="*/ 255 h 320"/>
                <a:gd name="T56" fmla="*/ 52 w 387"/>
                <a:gd name="T57" fmla="*/ 247 h 320"/>
                <a:gd name="T58" fmla="*/ 39 w 387"/>
                <a:gd name="T59" fmla="*/ 239 h 320"/>
                <a:gd name="T60" fmla="*/ 34 w 387"/>
                <a:gd name="T61" fmla="*/ 226 h 320"/>
                <a:gd name="T62" fmla="*/ 24 w 387"/>
                <a:gd name="T63" fmla="*/ 216 h 320"/>
                <a:gd name="T64" fmla="*/ 2 w 387"/>
                <a:gd name="T65" fmla="*/ 221 h 320"/>
                <a:gd name="T66" fmla="*/ 4 w 387"/>
                <a:gd name="T67" fmla="*/ 209 h 320"/>
                <a:gd name="T68" fmla="*/ 18 w 387"/>
                <a:gd name="T69" fmla="*/ 192 h 320"/>
                <a:gd name="T70" fmla="*/ 24 w 387"/>
                <a:gd name="T71" fmla="*/ 178 h 320"/>
                <a:gd name="T72" fmla="*/ 12 w 387"/>
                <a:gd name="T73" fmla="*/ 175 h 320"/>
                <a:gd name="T74" fmla="*/ 7 w 387"/>
                <a:gd name="T75" fmla="*/ 159 h 320"/>
                <a:gd name="T76" fmla="*/ 6 w 387"/>
                <a:gd name="T77" fmla="*/ 138 h 320"/>
                <a:gd name="T78" fmla="*/ 17 w 387"/>
                <a:gd name="T79" fmla="*/ 125 h 320"/>
                <a:gd name="T80" fmla="*/ 39 w 387"/>
                <a:gd name="T81" fmla="*/ 119 h 320"/>
                <a:gd name="T82" fmla="*/ 54 w 387"/>
                <a:gd name="T83" fmla="*/ 110 h 320"/>
                <a:gd name="T84" fmla="*/ 67 w 387"/>
                <a:gd name="T85" fmla="*/ 94 h 320"/>
                <a:gd name="T86" fmla="*/ 64 w 387"/>
                <a:gd name="T87" fmla="*/ 76 h 320"/>
                <a:gd name="T88" fmla="*/ 73 w 387"/>
                <a:gd name="T89" fmla="*/ 66 h 320"/>
                <a:gd name="T90" fmla="*/ 78 w 387"/>
                <a:gd name="T91" fmla="*/ 77 h 320"/>
                <a:gd name="T92" fmla="*/ 97 w 387"/>
                <a:gd name="T93" fmla="*/ 81 h 320"/>
                <a:gd name="T94" fmla="*/ 111 w 387"/>
                <a:gd name="T95" fmla="*/ 83 h 320"/>
                <a:gd name="T96" fmla="*/ 117 w 387"/>
                <a:gd name="T97" fmla="*/ 69 h 320"/>
                <a:gd name="T98" fmla="*/ 137 w 387"/>
                <a:gd name="T99" fmla="*/ 66 h 320"/>
                <a:gd name="T100" fmla="*/ 150 w 387"/>
                <a:gd name="T101" fmla="*/ 67 h 320"/>
                <a:gd name="T102" fmla="*/ 154 w 387"/>
                <a:gd name="T103" fmla="*/ 56 h 320"/>
                <a:gd name="T104" fmla="*/ 153 w 387"/>
                <a:gd name="T105" fmla="*/ 46 h 320"/>
                <a:gd name="T106" fmla="*/ 162 w 387"/>
                <a:gd name="T107" fmla="*/ 45 h 320"/>
                <a:gd name="T108" fmla="*/ 174 w 387"/>
                <a:gd name="T109" fmla="*/ 44 h 320"/>
                <a:gd name="T110" fmla="*/ 192 w 387"/>
                <a:gd name="T111" fmla="*/ 47 h 320"/>
                <a:gd name="T112" fmla="*/ 199 w 387"/>
                <a:gd name="T113" fmla="*/ 28 h 320"/>
                <a:gd name="T114" fmla="*/ 211 w 387"/>
                <a:gd name="T115" fmla="*/ 15 h 320"/>
                <a:gd name="T116" fmla="*/ 225 w 387"/>
                <a:gd name="T117" fmla="*/ 12 h 320"/>
                <a:gd name="T118" fmla="*/ 234 w 387"/>
                <a:gd name="T119" fmla="*/ 4 h 320"/>
                <a:gd name="T120" fmla="*/ 240 w 387"/>
                <a:gd name="T1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" h="320">
                  <a:moveTo>
                    <a:pt x="241" y="0"/>
                  </a:moveTo>
                  <a:lnTo>
                    <a:pt x="243" y="0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1"/>
                  </a:lnTo>
                  <a:lnTo>
                    <a:pt x="249" y="1"/>
                  </a:lnTo>
                  <a:lnTo>
                    <a:pt x="250" y="2"/>
                  </a:lnTo>
                  <a:lnTo>
                    <a:pt x="251" y="2"/>
                  </a:lnTo>
                  <a:lnTo>
                    <a:pt x="253" y="3"/>
                  </a:lnTo>
                  <a:lnTo>
                    <a:pt x="254" y="4"/>
                  </a:lnTo>
                  <a:lnTo>
                    <a:pt x="255" y="5"/>
                  </a:lnTo>
                  <a:lnTo>
                    <a:pt x="256" y="6"/>
                  </a:lnTo>
                  <a:lnTo>
                    <a:pt x="256" y="7"/>
                  </a:lnTo>
                  <a:lnTo>
                    <a:pt x="257" y="7"/>
                  </a:lnTo>
                  <a:lnTo>
                    <a:pt x="258" y="10"/>
                  </a:lnTo>
                  <a:lnTo>
                    <a:pt x="259" y="11"/>
                  </a:lnTo>
                  <a:lnTo>
                    <a:pt x="259" y="12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1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5" y="13"/>
                  </a:lnTo>
                  <a:lnTo>
                    <a:pt x="267" y="13"/>
                  </a:lnTo>
                  <a:lnTo>
                    <a:pt x="268" y="13"/>
                  </a:lnTo>
                  <a:lnTo>
                    <a:pt x="275" y="11"/>
                  </a:lnTo>
                  <a:lnTo>
                    <a:pt x="279" y="10"/>
                  </a:lnTo>
                  <a:lnTo>
                    <a:pt x="282" y="9"/>
                  </a:lnTo>
                  <a:lnTo>
                    <a:pt x="286" y="8"/>
                  </a:lnTo>
                  <a:lnTo>
                    <a:pt x="288" y="8"/>
                  </a:lnTo>
                  <a:lnTo>
                    <a:pt x="291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7" y="8"/>
                  </a:lnTo>
                  <a:lnTo>
                    <a:pt x="298" y="8"/>
                  </a:lnTo>
                  <a:lnTo>
                    <a:pt x="302" y="9"/>
                  </a:lnTo>
                  <a:lnTo>
                    <a:pt x="303" y="9"/>
                  </a:lnTo>
                  <a:lnTo>
                    <a:pt x="304" y="9"/>
                  </a:lnTo>
                  <a:lnTo>
                    <a:pt x="307" y="9"/>
                  </a:lnTo>
                  <a:lnTo>
                    <a:pt x="308" y="10"/>
                  </a:lnTo>
                  <a:lnTo>
                    <a:pt x="309" y="10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2" y="11"/>
                  </a:lnTo>
                  <a:lnTo>
                    <a:pt x="313" y="12"/>
                  </a:lnTo>
                  <a:lnTo>
                    <a:pt x="317" y="15"/>
                  </a:lnTo>
                  <a:lnTo>
                    <a:pt x="319" y="16"/>
                  </a:lnTo>
                  <a:lnTo>
                    <a:pt x="320" y="16"/>
                  </a:lnTo>
                  <a:lnTo>
                    <a:pt x="320" y="17"/>
                  </a:lnTo>
                  <a:lnTo>
                    <a:pt x="322" y="17"/>
                  </a:lnTo>
                  <a:lnTo>
                    <a:pt x="323" y="18"/>
                  </a:lnTo>
                  <a:lnTo>
                    <a:pt x="324" y="18"/>
                  </a:lnTo>
                  <a:lnTo>
                    <a:pt x="330" y="19"/>
                  </a:lnTo>
                  <a:lnTo>
                    <a:pt x="331" y="19"/>
                  </a:lnTo>
                  <a:lnTo>
                    <a:pt x="334" y="20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7" y="20"/>
                  </a:lnTo>
                  <a:lnTo>
                    <a:pt x="338" y="20"/>
                  </a:lnTo>
                  <a:lnTo>
                    <a:pt x="339" y="19"/>
                  </a:lnTo>
                  <a:lnTo>
                    <a:pt x="342" y="19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6" y="18"/>
                  </a:lnTo>
                  <a:lnTo>
                    <a:pt x="347" y="19"/>
                  </a:lnTo>
                  <a:lnTo>
                    <a:pt x="348" y="19"/>
                  </a:lnTo>
                  <a:lnTo>
                    <a:pt x="349" y="20"/>
                  </a:lnTo>
                  <a:lnTo>
                    <a:pt x="350" y="20"/>
                  </a:lnTo>
                  <a:lnTo>
                    <a:pt x="351" y="21"/>
                  </a:lnTo>
                  <a:lnTo>
                    <a:pt x="352" y="21"/>
                  </a:lnTo>
                  <a:lnTo>
                    <a:pt x="352" y="22"/>
                  </a:lnTo>
                  <a:lnTo>
                    <a:pt x="353" y="23"/>
                  </a:lnTo>
                  <a:lnTo>
                    <a:pt x="355" y="27"/>
                  </a:lnTo>
                  <a:lnTo>
                    <a:pt x="356" y="29"/>
                  </a:lnTo>
                  <a:lnTo>
                    <a:pt x="357" y="30"/>
                  </a:lnTo>
                  <a:lnTo>
                    <a:pt x="358" y="31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60" y="34"/>
                  </a:lnTo>
                  <a:lnTo>
                    <a:pt x="361" y="35"/>
                  </a:lnTo>
                  <a:lnTo>
                    <a:pt x="366" y="38"/>
                  </a:lnTo>
                  <a:lnTo>
                    <a:pt x="367" y="39"/>
                  </a:lnTo>
                  <a:lnTo>
                    <a:pt x="368" y="40"/>
                  </a:lnTo>
                  <a:lnTo>
                    <a:pt x="369" y="40"/>
                  </a:lnTo>
                  <a:lnTo>
                    <a:pt x="370" y="41"/>
                  </a:lnTo>
                  <a:lnTo>
                    <a:pt x="372" y="44"/>
                  </a:lnTo>
                  <a:lnTo>
                    <a:pt x="372" y="45"/>
                  </a:lnTo>
                  <a:lnTo>
                    <a:pt x="373" y="46"/>
                  </a:lnTo>
                  <a:lnTo>
                    <a:pt x="373" y="46"/>
                  </a:lnTo>
                  <a:lnTo>
                    <a:pt x="373" y="47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3"/>
                  </a:lnTo>
                  <a:lnTo>
                    <a:pt x="377" y="54"/>
                  </a:lnTo>
                  <a:lnTo>
                    <a:pt x="377" y="55"/>
                  </a:lnTo>
                  <a:lnTo>
                    <a:pt x="378" y="55"/>
                  </a:lnTo>
                  <a:lnTo>
                    <a:pt x="378" y="56"/>
                  </a:lnTo>
                  <a:lnTo>
                    <a:pt x="379" y="57"/>
                  </a:lnTo>
                  <a:lnTo>
                    <a:pt x="380" y="57"/>
                  </a:lnTo>
                  <a:lnTo>
                    <a:pt x="381" y="58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4" y="60"/>
                  </a:lnTo>
                  <a:lnTo>
                    <a:pt x="384" y="60"/>
                  </a:lnTo>
                  <a:lnTo>
                    <a:pt x="385" y="60"/>
                  </a:lnTo>
                  <a:lnTo>
                    <a:pt x="385" y="60"/>
                  </a:lnTo>
                  <a:lnTo>
                    <a:pt x="385" y="61"/>
                  </a:lnTo>
                  <a:lnTo>
                    <a:pt x="386" y="63"/>
                  </a:lnTo>
                  <a:lnTo>
                    <a:pt x="387" y="65"/>
                  </a:lnTo>
                  <a:lnTo>
                    <a:pt x="387" y="67"/>
                  </a:lnTo>
                  <a:lnTo>
                    <a:pt x="387" y="68"/>
                  </a:lnTo>
                  <a:lnTo>
                    <a:pt x="387" y="70"/>
                  </a:lnTo>
                  <a:lnTo>
                    <a:pt x="387" y="71"/>
                  </a:lnTo>
                  <a:lnTo>
                    <a:pt x="387" y="73"/>
                  </a:lnTo>
                  <a:lnTo>
                    <a:pt x="387" y="75"/>
                  </a:lnTo>
                  <a:lnTo>
                    <a:pt x="386" y="76"/>
                  </a:lnTo>
                  <a:lnTo>
                    <a:pt x="386" y="78"/>
                  </a:lnTo>
                  <a:lnTo>
                    <a:pt x="385" y="80"/>
                  </a:lnTo>
                  <a:lnTo>
                    <a:pt x="384" y="81"/>
                  </a:lnTo>
                  <a:lnTo>
                    <a:pt x="383" y="82"/>
                  </a:lnTo>
                  <a:lnTo>
                    <a:pt x="383" y="84"/>
                  </a:lnTo>
                  <a:lnTo>
                    <a:pt x="380" y="87"/>
                  </a:lnTo>
                  <a:lnTo>
                    <a:pt x="379" y="89"/>
                  </a:lnTo>
                  <a:lnTo>
                    <a:pt x="378" y="90"/>
                  </a:lnTo>
                  <a:lnTo>
                    <a:pt x="376" y="91"/>
                  </a:lnTo>
                  <a:lnTo>
                    <a:pt x="375" y="92"/>
                  </a:lnTo>
                  <a:lnTo>
                    <a:pt x="374" y="93"/>
                  </a:lnTo>
                  <a:lnTo>
                    <a:pt x="372" y="94"/>
                  </a:lnTo>
                  <a:lnTo>
                    <a:pt x="370" y="95"/>
                  </a:lnTo>
                  <a:lnTo>
                    <a:pt x="364" y="98"/>
                  </a:lnTo>
                  <a:lnTo>
                    <a:pt x="358" y="101"/>
                  </a:lnTo>
                  <a:lnTo>
                    <a:pt x="355" y="102"/>
                  </a:lnTo>
                  <a:lnTo>
                    <a:pt x="353" y="103"/>
                  </a:lnTo>
                  <a:lnTo>
                    <a:pt x="351" y="104"/>
                  </a:lnTo>
                  <a:lnTo>
                    <a:pt x="345" y="106"/>
                  </a:lnTo>
                  <a:lnTo>
                    <a:pt x="342" y="107"/>
                  </a:lnTo>
                  <a:lnTo>
                    <a:pt x="340" y="108"/>
                  </a:lnTo>
                  <a:lnTo>
                    <a:pt x="339" y="108"/>
                  </a:lnTo>
                  <a:lnTo>
                    <a:pt x="332" y="109"/>
                  </a:lnTo>
                  <a:lnTo>
                    <a:pt x="330" y="110"/>
                  </a:lnTo>
                  <a:lnTo>
                    <a:pt x="328" y="111"/>
                  </a:lnTo>
                  <a:lnTo>
                    <a:pt x="327" y="111"/>
                  </a:lnTo>
                  <a:lnTo>
                    <a:pt x="326" y="112"/>
                  </a:lnTo>
                  <a:lnTo>
                    <a:pt x="325" y="112"/>
                  </a:lnTo>
                  <a:lnTo>
                    <a:pt x="324" y="113"/>
                  </a:lnTo>
                  <a:lnTo>
                    <a:pt x="323" y="114"/>
                  </a:lnTo>
                  <a:lnTo>
                    <a:pt x="323" y="114"/>
                  </a:lnTo>
                  <a:lnTo>
                    <a:pt x="322" y="115"/>
                  </a:lnTo>
                  <a:lnTo>
                    <a:pt x="321" y="117"/>
                  </a:lnTo>
                  <a:lnTo>
                    <a:pt x="320" y="120"/>
                  </a:lnTo>
                  <a:lnTo>
                    <a:pt x="319" y="121"/>
                  </a:lnTo>
                  <a:lnTo>
                    <a:pt x="318" y="123"/>
                  </a:lnTo>
                  <a:lnTo>
                    <a:pt x="315" y="126"/>
                  </a:lnTo>
                  <a:lnTo>
                    <a:pt x="314" y="128"/>
                  </a:lnTo>
                  <a:lnTo>
                    <a:pt x="313" y="130"/>
                  </a:lnTo>
                  <a:lnTo>
                    <a:pt x="312" y="131"/>
                  </a:lnTo>
                  <a:lnTo>
                    <a:pt x="312" y="133"/>
                  </a:lnTo>
                  <a:lnTo>
                    <a:pt x="311" y="134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8"/>
                  </a:lnTo>
                  <a:lnTo>
                    <a:pt x="311" y="139"/>
                  </a:lnTo>
                  <a:lnTo>
                    <a:pt x="312" y="142"/>
                  </a:lnTo>
                  <a:lnTo>
                    <a:pt x="312" y="143"/>
                  </a:lnTo>
                  <a:lnTo>
                    <a:pt x="312" y="144"/>
                  </a:lnTo>
                  <a:lnTo>
                    <a:pt x="312" y="145"/>
                  </a:lnTo>
                  <a:lnTo>
                    <a:pt x="311" y="146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0" y="152"/>
                  </a:lnTo>
                  <a:lnTo>
                    <a:pt x="310" y="154"/>
                  </a:lnTo>
                  <a:lnTo>
                    <a:pt x="308" y="158"/>
                  </a:lnTo>
                  <a:lnTo>
                    <a:pt x="308" y="160"/>
                  </a:lnTo>
                  <a:lnTo>
                    <a:pt x="308" y="161"/>
                  </a:lnTo>
                  <a:lnTo>
                    <a:pt x="307" y="162"/>
                  </a:lnTo>
                  <a:lnTo>
                    <a:pt x="307" y="164"/>
                  </a:lnTo>
                  <a:lnTo>
                    <a:pt x="307" y="166"/>
                  </a:lnTo>
                  <a:lnTo>
                    <a:pt x="306" y="170"/>
                  </a:lnTo>
                  <a:lnTo>
                    <a:pt x="306" y="171"/>
                  </a:lnTo>
                  <a:lnTo>
                    <a:pt x="306" y="172"/>
                  </a:lnTo>
                  <a:lnTo>
                    <a:pt x="306" y="173"/>
                  </a:lnTo>
                  <a:lnTo>
                    <a:pt x="306" y="174"/>
                  </a:lnTo>
                  <a:lnTo>
                    <a:pt x="304" y="177"/>
                  </a:lnTo>
                  <a:lnTo>
                    <a:pt x="304" y="178"/>
                  </a:lnTo>
                  <a:lnTo>
                    <a:pt x="303" y="182"/>
                  </a:lnTo>
                  <a:lnTo>
                    <a:pt x="302" y="183"/>
                  </a:lnTo>
                  <a:lnTo>
                    <a:pt x="302" y="184"/>
                  </a:lnTo>
                  <a:lnTo>
                    <a:pt x="302" y="185"/>
                  </a:lnTo>
                  <a:lnTo>
                    <a:pt x="302" y="186"/>
                  </a:lnTo>
                  <a:lnTo>
                    <a:pt x="302" y="187"/>
                  </a:lnTo>
                  <a:lnTo>
                    <a:pt x="303" y="190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2"/>
                  </a:lnTo>
                  <a:lnTo>
                    <a:pt x="303" y="196"/>
                  </a:lnTo>
                  <a:lnTo>
                    <a:pt x="303" y="201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301" y="208"/>
                  </a:lnTo>
                  <a:lnTo>
                    <a:pt x="301" y="209"/>
                  </a:lnTo>
                  <a:lnTo>
                    <a:pt x="301" y="211"/>
                  </a:lnTo>
                  <a:lnTo>
                    <a:pt x="299" y="213"/>
                  </a:lnTo>
                  <a:lnTo>
                    <a:pt x="298" y="217"/>
                  </a:lnTo>
                  <a:lnTo>
                    <a:pt x="297" y="220"/>
                  </a:lnTo>
                  <a:lnTo>
                    <a:pt x="296" y="221"/>
                  </a:lnTo>
                  <a:lnTo>
                    <a:pt x="296" y="222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2" y="228"/>
                  </a:lnTo>
                  <a:lnTo>
                    <a:pt x="291" y="230"/>
                  </a:lnTo>
                  <a:lnTo>
                    <a:pt x="289" y="231"/>
                  </a:lnTo>
                  <a:lnTo>
                    <a:pt x="287" y="232"/>
                  </a:lnTo>
                  <a:lnTo>
                    <a:pt x="286" y="233"/>
                  </a:lnTo>
                  <a:lnTo>
                    <a:pt x="285" y="234"/>
                  </a:lnTo>
                  <a:lnTo>
                    <a:pt x="282" y="235"/>
                  </a:lnTo>
                  <a:lnTo>
                    <a:pt x="281" y="235"/>
                  </a:lnTo>
                  <a:lnTo>
                    <a:pt x="278" y="236"/>
                  </a:lnTo>
                  <a:lnTo>
                    <a:pt x="277" y="237"/>
                  </a:lnTo>
                  <a:lnTo>
                    <a:pt x="276" y="237"/>
                  </a:lnTo>
                  <a:lnTo>
                    <a:pt x="275" y="237"/>
                  </a:lnTo>
                  <a:lnTo>
                    <a:pt x="274" y="237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7"/>
                  </a:lnTo>
                  <a:lnTo>
                    <a:pt x="265" y="237"/>
                  </a:lnTo>
                  <a:lnTo>
                    <a:pt x="259" y="237"/>
                  </a:lnTo>
                  <a:lnTo>
                    <a:pt x="257" y="238"/>
                  </a:lnTo>
                  <a:lnTo>
                    <a:pt x="256" y="238"/>
                  </a:lnTo>
                  <a:lnTo>
                    <a:pt x="254" y="238"/>
                  </a:lnTo>
                  <a:lnTo>
                    <a:pt x="253" y="239"/>
                  </a:lnTo>
                  <a:lnTo>
                    <a:pt x="252" y="239"/>
                  </a:lnTo>
                  <a:lnTo>
                    <a:pt x="251" y="239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9" y="240"/>
                  </a:lnTo>
                  <a:lnTo>
                    <a:pt x="248" y="241"/>
                  </a:lnTo>
                  <a:lnTo>
                    <a:pt x="248" y="242"/>
                  </a:lnTo>
                  <a:lnTo>
                    <a:pt x="247" y="242"/>
                  </a:lnTo>
                  <a:lnTo>
                    <a:pt x="246" y="243"/>
                  </a:lnTo>
                  <a:lnTo>
                    <a:pt x="246" y="244"/>
                  </a:lnTo>
                  <a:lnTo>
                    <a:pt x="245" y="245"/>
                  </a:lnTo>
                  <a:lnTo>
                    <a:pt x="245" y="246"/>
                  </a:lnTo>
                  <a:lnTo>
                    <a:pt x="244" y="247"/>
                  </a:lnTo>
                  <a:lnTo>
                    <a:pt x="244" y="249"/>
                  </a:lnTo>
                  <a:lnTo>
                    <a:pt x="243" y="252"/>
                  </a:lnTo>
                  <a:lnTo>
                    <a:pt x="242" y="256"/>
                  </a:lnTo>
                  <a:lnTo>
                    <a:pt x="242" y="258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0" y="266"/>
                  </a:lnTo>
                  <a:lnTo>
                    <a:pt x="240" y="267"/>
                  </a:lnTo>
                  <a:lnTo>
                    <a:pt x="240" y="269"/>
                  </a:lnTo>
                  <a:lnTo>
                    <a:pt x="239" y="271"/>
                  </a:lnTo>
                  <a:lnTo>
                    <a:pt x="239" y="273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7" y="278"/>
                  </a:lnTo>
                  <a:lnTo>
                    <a:pt x="236" y="279"/>
                  </a:lnTo>
                  <a:lnTo>
                    <a:pt x="236" y="280"/>
                  </a:lnTo>
                  <a:lnTo>
                    <a:pt x="235" y="281"/>
                  </a:lnTo>
                  <a:lnTo>
                    <a:pt x="234" y="282"/>
                  </a:lnTo>
                  <a:lnTo>
                    <a:pt x="234" y="282"/>
                  </a:lnTo>
                  <a:lnTo>
                    <a:pt x="233" y="282"/>
                  </a:lnTo>
                  <a:lnTo>
                    <a:pt x="233" y="283"/>
                  </a:lnTo>
                  <a:lnTo>
                    <a:pt x="232" y="283"/>
                  </a:lnTo>
                  <a:lnTo>
                    <a:pt x="231" y="284"/>
                  </a:lnTo>
                  <a:lnTo>
                    <a:pt x="230" y="284"/>
                  </a:lnTo>
                  <a:lnTo>
                    <a:pt x="229" y="284"/>
                  </a:lnTo>
                  <a:lnTo>
                    <a:pt x="228" y="284"/>
                  </a:lnTo>
                  <a:lnTo>
                    <a:pt x="219" y="284"/>
                  </a:lnTo>
                  <a:lnTo>
                    <a:pt x="217" y="285"/>
                  </a:lnTo>
                  <a:lnTo>
                    <a:pt x="216" y="285"/>
                  </a:lnTo>
                  <a:lnTo>
                    <a:pt x="213" y="285"/>
                  </a:lnTo>
                  <a:lnTo>
                    <a:pt x="211" y="286"/>
                  </a:lnTo>
                  <a:lnTo>
                    <a:pt x="210" y="286"/>
                  </a:lnTo>
                  <a:lnTo>
                    <a:pt x="209" y="286"/>
                  </a:lnTo>
                  <a:lnTo>
                    <a:pt x="208" y="287"/>
                  </a:lnTo>
                  <a:lnTo>
                    <a:pt x="208" y="287"/>
                  </a:lnTo>
                  <a:lnTo>
                    <a:pt x="207" y="287"/>
                  </a:lnTo>
                  <a:lnTo>
                    <a:pt x="206" y="288"/>
                  </a:lnTo>
                  <a:lnTo>
                    <a:pt x="205" y="289"/>
                  </a:lnTo>
                  <a:lnTo>
                    <a:pt x="202" y="292"/>
                  </a:lnTo>
                  <a:lnTo>
                    <a:pt x="200" y="294"/>
                  </a:lnTo>
                  <a:lnTo>
                    <a:pt x="199" y="295"/>
                  </a:lnTo>
                  <a:lnTo>
                    <a:pt x="197" y="297"/>
                  </a:lnTo>
                  <a:lnTo>
                    <a:pt x="196" y="298"/>
                  </a:lnTo>
                  <a:lnTo>
                    <a:pt x="195" y="301"/>
                  </a:lnTo>
                  <a:lnTo>
                    <a:pt x="193" y="304"/>
                  </a:lnTo>
                  <a:lnTo>
                    <a:pt x="192" y="305"/>
                  </a:lnTo>
                  <a:lnTo>
                    <a:pt x="191" y="306"/>
                  </a:lnTo>
                  <a:lnTo>
                    <a:pt x="190" y="308"/>
                  </a:lnTo>
                  <a:lnTo>
                    <a:pt x="187" y="311"/>
                  </a:lnTo>
                  <a:lnTo>
                    <a:pt x="185" y="312"/>
                  </a:lnTo>
                  <a:lnTo>
                    <a:pt x="184" y="313"/>
                  </a:lnTo>
                  <a:lnTo>
                    <a:pt x="183" y="314"/>
                  </a:lnTo>
                  <a:lnTo>
                    <a:pt x="181" y="315"/>
                  </a:lnTo>
                  <a:lnTo>
                    <a:pt x="179" y="316"/>
                  </a:lnTo>
                  <a:lnTo>
                    <a:pt x="177" y="317"/>
                  </a:lnTo>
                  <a:lnTo>
                    <a:pt x="173" y="318"/>
                  </a:lnTo>
                  <a:lnTo>
                    <a:pt x="170" y="319"/>
                  </a:lnTo>
                  <a:lnTo>
                    <a:pt x="168" y="319"/>
                  </a:lnTo>
                  <a:lnTo>
                    <a:pt x="165" y="320"/>
                  </a:lnTo>
                  <a:lnTo>
                    <a:pt x="165" y="320"/>
                  </a:lnTo>
                  <a:lnTo>
                    <a:pt x="165" y="319"/>
                  </a:lnTo>
                  <a:lnTo>
                    <a:pt x="164" y="318"/>
                  </a:lnTo>
                  <a:lnTo>
                    <a:pt x="164" y="316"/>
                  </a:lnTo>
                  <a:lnTo>
                    <a:pt x="162" y="313"/>
                  </a:lnTo>
                  <a:lnTo>
                    <a:pt x="162" y="312"/>
                  </a:lnTo>
                  <a:lnTo>
                    <a:pt x="161" y="311"/>
                  </a:lnTo>
                  <a:lnTo>
                    <a:pt x="161" y="310"/>
                  </a:lnTo>
                  <a:lnTo>
                    <a:pt x="158" y="307"/>
                  </a:lnTo>
                  <a:lnTo>
                    <a:pt x="155" y="302"/>
                  </a:lnTo>
                  <a:lnTo>
                    <a:pt x="154" y="300"/>
                  </a:lnTo>
                  <a:lnTo>
                    <a:pt x="153" y="299"/>
                  </a:lnTo>
                  <a:lnTo>
                    <a:pt x="151" y="298"/>
                  </a:lnTo>
                  <a:lnTo>
                    <a:pt x="150" y="297"/>
                  </a:lnTo>
                  <a:lnTo>
                    <a:pt x="149" y="296"/>
                  </a:lnTo>
                  <a:lnTo>
                    <a:pt x="148" y="295"/>
                  </a:lnTo>
                  <a:lnTo>
                    <a:pt x="147" y="294"/>
                  </a:lnTo>
                  <a:lnTo>
                    <a:pt x="140" y="291"/>
                  </a:lnTo>
                  <a:lnTo>
                    <a:pt x="139" y="291"/>
                  </a:lnTo>
                  <a:lnTo>
                    <a:pt x="137" y="290"/>
                  </a:lnTo>
                  <a:lnTo>
                    <a:pt x="136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4" y="288"/>
                  </a:lnTo>
                  <a:lnTo>
                    <a:pt x="134" y="288"/>
                  </a:lnTo>
                  <a:lnTo>
                    <a:pt x="134" y="287"/>
                  </a:lnTo>
                  <a:lnTo>
                    <a:pt x="133" y="287"/>
                  </a:lnTo>
                  <a:lnTo>
                    <a:pt x="133" y="286"/>
                  </a:lnTo>
                  <a:lnTo>
                    <a:pt x="133" y="285"/>
                  </a:lnTo>
                  <a:lnTo>
                    <a:pt x="133" y="283"/>
                  </a:lnTo>
                  <a:lnTo>
                    <a:pt x="133" y="282"/>
                  </a:lnTo>
                  <a:lnTo>
                    <a:pt x="132" y="281"/>
                  </a:lnTo>
                  <a:lnTo>
                    <a:pt x="132" y="280"/>
                  </a:lnTo>
                  <a:lnTo>
                    <a:pt x="132" y="280"/>
                  </a:lnTo>
                  <a:lnTo>
                    <a:pt x="132" y="279"/>
                  </a:lnTo>
                  <a:lnTo>
                    <a:pt x="131" y="279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6" y="275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3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3" y="273"/>
                  </a:lnTo>
                  <a:lnTo>
                    <a:pt x="110" y="273"/>
                  </a:lnTo>
                  <a:lnTo>
                    <a:pt x="109" y="273"/>
                  </a:lnTo>
                  <a:lnTo>
                    <a:pt x="107" y="273"/>
                  </a:lnTo>
                  <a:lnTo>
                    <a:pt x="103" y="274"/>
                  </a:lnTo>
                  <a:lnTo>
                    <a:pt x="102" y="274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99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7" y="274"/>
                  </a:lnTo>
                  <a:lnTo>
                    <a:pt x="95" y="273"/>
                  </a:lnTo>
                  <a:lnTo>
                    <a:pt x="94" y="272"/>
                  </a:lnTo>
                  <a:lnTo>
                    <a:pt x="93" y="271"/>
                  </a:lnTo>
                  <a:lnTo>
                    <a:pt x="87" y="267"/>
                  </a:lnTo>
                  <a:lnTo>
                    <a:pt x="86" y="267"/>
                  </a:lnTo>
                  <a:lnTo>
                    <a:pt x="86" y="266"/>
                  </a:lnTo>
                  <a:lnTo>
                    <a:pt x="85" y="266"/>
                  </a:lnTo>
                  <a:lnTo>
                    <a:pt x="84" y="266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8" y="265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1"/>
                  </a:lnTo>
                  <a:lnTo>
                    <a:pt x="75" y="258"/>
                  </a:lnTo>
                  <a:lnTo>
                    <a:pt x="74" y="257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2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8" y="250"/>
                  </a:lnTo>
                  <a:lnTo>
                    <a:pt x="67" y="250"/>
                  </a:lnTo>
                  <a:lnTo>
                    <a:pt x="62" y="249"/>
                  </a:lnTo>
                  <a:lnTo>
                    <a:pt x="59" y="248"/>
                  </a:lnTo>
                  <a:lnTo>
                    <a:pt x="54" y="248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1" y="247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48" y="244"/>
                  </a:lnTo>
                  <a:lnTo>
                    <a:pt x="47" y="243"/>
                  </a:lnTo>
                  <a:lnTo>
                    <a:pt x="46" y="243"/>
                  </a:lnTo>
                  <a:lnTo>
                    <a:pt x="45" y="242"/>
                  </a:lnTo>
                  <a:lnTo>
                    <a:pt x="45" y="242"/>
                  </a:lnTo>
                  <a:lnTo>
                    <a:pt x="43" y="241"/>
                  </a:lnTo>
                  <a:lnTo>
                    <a:pt x="41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39" y="239"/>
                  </a:lnTo>
                  <a:lnTo>
                    <a:pt x="36" y="239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4" y="237"/>
                  </a:lnTo>
                  <a:lnTo>
                    <a:pt x="34" y="237"/>
                  </a:lnTo>
                  <a:lnTo>
                    <a:pt x="34" y="236"/>
                  </a:lnTo>
                  <a:lnTo>
                    <a:pt x="34" y="235"/>
                  </a:lnTo>
                  <a:lnTo>
                    <a:pt x="34" y="234"/>
                  </a:lnTo>
                  <a:lnTo>
                    <a:pt x="34" y="230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4"/>
                  </a:lnTo>
                  <a:lnTo>
                    <a:pt x="33" y="223"/>
                  </a:lnTo>
                  <a:lnTo>
                    <a:pt x="33" y="222"/>
                  </a:lnTo>
                  <a:lnTo>
                    <a:pt x="32" y="220"/>
                  </a:lnTo>
                  <a:lnTo>
                    <a:pt x="30" y="219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7"/>
                  </a:lnTo>
                  <a:lnTo>
                    <a:pt x="28" y="216"/>
                  </a:lnTo>
                  <a:lnTo>
                    <a:pt x="28" y="216"/>
                  </a:lnTo>
                  <a:lnTo>
                    <a:pt x="27" y="216"/>
                  </a:lnTo>
                  <a:lnTo>
                    <a:pt x="26" y="216"/>
                  </a:lnTo>
                  <a:lnTo>
                    <a:pt x="25" y="216"/>
                  </a:lnTo>
                  <a:lnTo>
                    <a:pt x="24" y="216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0" y="217"/>
                  </a:lnTo>
                  <a:lnTo>
                    <a:pt x="13" y="220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8" y="221"/>
                  </a:lnTo>
                  <a:lnTo>
                    <a:pt x="7" y="221"/>
                  </a:lnTo>
                  <a:lnTo>
                    <a:pt x="6" y="222"/>
                  </a:lnTo>
                  <a:lnTo>
                    <a:pt x="5" y="222"/>
                  </a:lnTo>
                  <a:lnTo>
                    <a:pt x="4" y="221"/>
                  </a:lnTo>
                  <a:lnTo>
                    <a:pt x="3" y="221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20"/>
                  </a:lnTo>
                  <a:lnTo>
                    <a:pt x="1" y="219"/>
                  </a:lnTo>
                  <a:lnTo>
                    <a:pt x="0" y="217"/>
                  </a:lnTo>
                  <a:lnTo>
                    <a:pt x="0" y="216"/>
                  </a:lnTo>
                  <a:lnTo>
                    <a:pt x="0" y="215"/>
                  </a:lnTo>
                  <a:lnTo>
                    <a:pt x="0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1"/>
                  </a:lnTo>
                  <a:lnTo>
                    <a:pt x="2" y="211"/>
                  </a:lnTo>
                  <a:lnTo>
                    <a:pt x="2" y="211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5" y="208"/>
                  </a:lnTo>
                  <a:lnTo>
                    <a:pt x="6" y="207"/>
                  </a:lnTo>
                  <a:lnTo>
                    <a:pt x="6" y="206"/>
                  </a:lnTo>
                  <a:lnTo>
                    <a:pt x="7" y="205"/>
                  </a:lnTo>
                  <a:lnTo>
                    <a:pt x="9" y="201"/>
                  </a:lnTo>
                  <a:lnTo>
                    <a:pt x="10" y="200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2" y="197"/>
                  </a:lnTo>
                  <a:lnTo>
                    <a:pt x="13" y="196"/>
                  </a:lnTo>
                  <a:lnTo>
                    <a:pt x="14" y="196"/>
                  </a:lnTo>
                  <a:lnTo>
                    <a:pt x="16" y="194"/>
                  </a:lnTo>
                  <a:lnTo>
                    <a:pt x="18" y="192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1" y="189"/>
                  </a:lnTo>
                  <a:lnTo>
                    <a:pt x="21" y="188"/>
                  </a:lnTo>
                  <a:lnTo>
                    <a:pt x="22" y="187"/>
                  </a:lnTo>
                  <a:lnTo>
                    <a:pt x="22" y="186"/>
                  </a:lnTo>
                  <a:lnTo>
                    <a:pt x="23" y="184"/>
                  </a:lnTo>
                  <a:lnTo>
                    <a:pt x="23" y="183"/>
                  </a:lnTo>
                  <a:lnTo>
                    <a:pt x="24" y="182"/>
                  </a:lnTo>
                  <a:lnTo>
                    <a:pt x="24" y="181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3" y="177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0" y="175"/>
                  </a:lnTo>
                  <a:lnTo>
                    <a:pt x="19" y="175"/>
                  </a:lnTo>
                  <a:lnTo>
                    <a:pt x="18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1" y="175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0" y="165"/>
                  </a:lnTo>
                  <a:lnTo>
                    <a:pt x="8" y="161"/>
                  </a:lnTo>
                  <a:lnTo>
                    <a:pt x="7" y="159"/>
                  </a:lnTo>
                  <a:lnTo>
                    <a:pt x="7" y="158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2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2"/>
                  </a:lnTo>
                  <a:lnTo>
                    <a:pt x="6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7" y="136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9" y="123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32" y="120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9" y="119"/>
                  </a:lnTo>
                  <a:lnTo>
                    <a:pt x="40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5" y="118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9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4" y="110"/>
                  </a:lnTo>
                  <a:lnTo>
                    <a:pt x="56" y="108"/>
                  </a:lnTo>
                  <a:lnTo>
                    <a:pt x="58" y="105"/>
                  </a:lnTo>
                  <a:lnTo>
                    <a:pt x="59" y="104"/>
                  </a:lnTo>
                  <a:lnTo>
                    <a:pt x="59" y="103"/>
                  </a:lnTo>
                  <a:lnTo>
                    <a:pt x="60" y="103"/>
                  </a:lnTo>
                  <a:lnTo>
                    <a:pt x="61" y="102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6" y="97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5"/>
                  </a:lnTo>
                  <a:lnTo>
                    <a:pt x="67" y="94"/>
                  </a:lnTo>
                  <a:lnTo>
                    <a:pt x="67" y="93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6" y="88"/>
                  </a:lnTo>
                  <a:lnTo>
                    <a:pt x="65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82"/>
                  </a:lnTo>
                  <a:lnTo>
                    <a:pt x="63" y="80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5" y="73"/>
                  </a:lnTo>
                  <a:lnTo>
                    <a:pt x="67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7"/>
                  </a:lnTo>
                  <a:lnTo>
                    <a:pt x="82" y="77"/>
                  </a:lnTo>
                  <a:lnTo>
                    <a:pt x="83" y="78"/>
                  </a:lnTo>
                  <a:lnTo>
                    <a:pt x="85" y="78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9" y="82"/>
                  </a:lnTo>
                  <a:lnTo>
                    <a:pt x="100" y="83"/>
                  </a:lnTo>
                  <a:lnTo>
                    <a:pt x="103" y="85"/>
                  </a:lnTo>
                  <a:lnTo>
                    <a:pt x="104" y="86"/>
                  </a:lnTo>
                  <a:lnTo>
                    <a:pt x="105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7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3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3" y="79"/>
                  </a:lnTo>
                  <a:lnTo>
                    <a:pt x="114" y="78"/>
                  </a:lnTo>
                  <a:lnTo>
                    <a:pt x="114" y="77"/>
                  </a:lnTo>
                  <a:lnTo>
                    <a:pt x="115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8" y="69"/>
                  </a:lnTo>
                  <a:lnTo>
                    <a:pt x="121" y="68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8" y="66"/>
                  </a:lnTo>
                  <a:lnTo>
                    <a:pt x="138" y="67"/>
                  </a:lnTo>
                  <a:lnTo>
                    <a:pt x="140" y="67"/>
                  </a:lnTo>
                  <a:lnTo>
                    <a:pt x="141" y="68"/>
                  </a:lnTo>
                  <a:lnTo>
                    <a:pt x="142" y="68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5" y="68"/>
                  </a:lnTo>
                  <a:lnTo>
                    <a:pt x="146" y="68"/>
                  </a:lnTo>
                  <a:lnTo>
                    <a:pt x="147" y="68"/>
                  </a:lnTo>
                  <a:lnTo>
                    <a:pt x="148" y="68"/>
                  </a:lnTo>
                  <a:lnTo>
                    <a:pt x="149" y="67"/>
                  </a:lnTo>
                  <a:lnTo>
                    <a:pt x="150" y="67"/>
                  </a:lnTo>
                  <a:lnTo>
                    <a:pt x="150" y="67"/>
                  </a:lnTo>
                  <a:lnTo>
                    <a:pt x="151" y="66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4"/>
                  </a:lnTo>
                  <a:lnTo>
                    <a:pt x="154" y="63"/>
                  </a:lnTo>
                  <a:lnTo>
                    <a:pt x="154" y="62"/>
                  </a:lnTo>
                  <a:lnTo>
                    <a:pt x="154" y="61"/>
                  </a:lnTo>
                  <a:lnTo>
                    <a:pt x="155" y="60"/>
                  </a:lnTo>
                  <a:lnTo>
                    <a:pt x="155" y="60"/>
                  </a:lnTo>
                  <a:lnTo>
                    <a:pt x="155" y="59"/>
                  </a:lnTo>
                  <a:lnTo>
                    <a:pt x="155" y="58"/>
                  </a:lnTo>
                  <a:lnTo>
                    <a:pt x="154" y="57"/>
                  </a:lnTo>
                  <a:lnTo>
                    <a:pt x="154" y="56"/>
                  </a:lnTo>
                  <a:lnTo>
                    <a:pt x="153" y="54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3" y="46"/>
                  </a:lnTo>
                  <a:lnTo>
                    <a:pt x="154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6" y="46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9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62" y="45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5" y="41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68" y="40"/>
                  </a:lnTo>
                  <a:lnTo>
                    <a:pt x="169" y="40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2" y="42"/>
                  </a:lnTo>
                  <a:lnTo>
                    <a:pt x="173" y="43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7" y="47"/>
                  </a:lnTo>
                  <a:lnTo>
                    <a:pt x="178" y="47"/>
                  </a:lnTo>
                  <a:lnTo>
                    <a:pt x="179" y="48"/>
                  </a:lnTo>
                  <a:lnTo>
                    <a:pt x="180" y="48"/>
                  </a:lnTo>
                  <a:lnTo>
                    <a:pt x="181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5" y="49"/>
                  </a:lnTo>
                  <a:lnTo>
                    <a:pt x="186" y="49"/>
                  </a:lnTo>
                  <a:lnTo>
                    <a:pt x="188" y="49"/>
                  </a:lnTo>
                  <a:lnTo>
                    <a:pt x="191" y="48"/>
                  </a:lnTo>
                  <a:lnTo>
                    <a:pt x="192" y="47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3" y="46"/>
                  </a:lnTo>
                  <a:lnTo>
                    <a:pt x="194" y="46"/>
                  </a:lnTo>
                  <a:lnTo>
                    <a:pt x="194" y="45"/>
                  </a:lnTo>
                  <a:lnTo>
                    <a:pt x="195" y="45"/>
                  </a:lnTo>
                  <a:lnTo>
                    <a:pt x="196" y="42"/>
                  </a:lnTo>
                  <a:lnTo>
                    <a:pt x="197" y="39"/>
                  </a:lnTo>
                  <a:lnTo>
                    <a:pt x="198" y="36"/>
                  </a:lnTo>
                  <a:lnTo>
                    <a:pt x="199" y="35"/>
                  </a:lnTo>
                  <a:lnTo>
                    <a:pt x="199" y="33"/>
                  </a:lnTo>
                  <a:lnTo>
                    <a:pt x="199" y="32"/>
                  </a:lnTo>
                  <a:lnTo>
                    <a:pt x="199" y="31"/>
                  </a:lnTo>
                  <a:lnTo>
                    <a:pt x="199" y="28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6"/>
                  </a:lnTo>
                  <a:lnTo>
                    <a:pt x="200" y="25"/>
                  </a:lnTo>
                  <a:lnTo>
                    <a:pt x="201" y="25"/>
                  </a:lnTo>
                  <a:lnTo>
                    <a:pt x="203" y="23"/>
                  </a:lnTo>
                  <a:lnTo>
                    <a:pt x="204" y="21"/>
                  </a:lnTo>
                  <a:lnTo>
                    <a:pt x="205" y="20"/>
                  </a:lnTo>
                  <a:lnTo>
                    <a:pt x="206" y="19"/>
                  </a:lnTo>
                  <a:lnTo>
                    <a:pt x="208" y="18"/>
                  </a:lnTo>
                  <a:lnTo>
                    <a:pt x="209" y="17"/>
                  </a:lnTo>
                  <a:lnTo>
                    <a:pt x="210" y="17"/>
                  </a:lnTo>
                  <a:lnTo>
                    <a:pt x="210" y="16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2" y="13"/>
                  </a:lnTo>
                  <a:lnTo>
                    <a:pt x="213" y="12"/>
                  </a:lnTo>
                  <a:lnTo>
                    <a:pt x="214" y="11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5" y="10"/>
                  </a:lnTo>
                  <a:lnTo>
                    <a:pt x="216" y="10"/>
                  </a:lnTo>
                  <a:lnTo>
                    <a:pt x="217" y="10"/>
                  </a:lnTo>
                  <a:lnTo>
                    <a:pt x="218" y="11"/>
                  </a:lnTo>
                  <a:lnTo>
                    <a:pt x="221" y="11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6" y="12"/>
                  </a:lnTo>
                  <a:lnTo>
                    <a:pt x="227" y="12"/>
                  </a:lnTo>
                  <a:lnTo>
                    <a:pt x="227" y="12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9" y="11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31" y="9"/>
                  </a:lnTo>
                  <a:lnTo>
                    <a:pt x="231" y="8"/>
                  </a:lnTo>
                  <a:lnTo>
                    <a:pt x="232" y="7"/>
                  </a:lnTo>
                  <a:lnTo>
                    <a:pt x="233" y="5"/>
                  </a:lnTo>
                  <a:lnTo>
                    <a:pt x="234" y="4"/>
                  </a:lnTo>
                  <a:lnTo>
                    <a:pt x="234" y="3"/>
                  </a:lnTo>
                  <a:lnTo>
                    <a:pt x="235" y="2"/>
                  </a:lnTo>
                  <a:lnTo>
                    <a:pt x="235" y="2"/>
                  </a:lnTo>
                  <a:lnTo>
                    <a:pt x="235" y="1"/>
                  </a:lnTo>
                  <a:lnTo>
                    <a:pt x="235" y="1"/>
                  </a:lnTo>
                  <a:lnTo>
                    <a:pt x="235" y="0"/>
                  </a:lnTo>
                  <a:lnTo>
                    <a:pt x="236" y="1"/>
                  </a:lnTo>
                  <a:lnTo>
                    <a:pt x="236" y="1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828282"/>
            </a:solidFill>
            <a:ln w="20638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73">
              <a:extLst>
                <a:ext uri="{FF2B5EF4-FFF2-40B4-BE49-F238E27FC236}">
                  <a16:creationId xmlns:a16="http://schemas.microsoft.com/office/drawing/2014/main" id="{7FF0DAB2-E3B1-CE70-4E43-379F89D7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516" cy="419"/>
            </a:xfrm>
            <a:custGeom>
              <a:avLst/>
              <a:gdLst>
                <a:gd name="T0" fmla="*/ 169 w 516"/>
                <a:gd name="T1" fmla="*/ 9 h 419"/>
                <a:gd name="T2" fmla="*/ 172 w 516"/>
                <a:gd name="T3" fmla="*/ 35 h 419"/>
                <a:gd name="T4" fmla="*/ 169 w 516"/>
                <a:gd name="T5" fmla="*/ 53 h 419"/>
                <a:gd name="T6" fmla="*/ 134 w 516"/>
                <a:gd name="T7" fmla="*/ 70 h 419"/>
                <a:gd name="T8" fmla="*/ 139 w 516"/>
                <a:gd name="T9" fmla="*/ 88 h 419"/>
                <a:gd name="T10" fmla="*/ 161 w 516"/>
                <a:gd name="T11" fmla="*/ 97 h 419"/>
                <a:gd name="T12" fmla="*/ 182 w 516"/>
                <a:gd name="T13" fmla="*/ 131 h 419"/>
                <a:gd name="T14" fmla="*/ 204 w 516"/>
                <a:gd name="T15" fmla="*/ 152 h 419"/>
                <a:gd name="T16" fmla="*/ 235 w 516"/>
                <a:gd name="T17" fmla="*/ 147 h 419"/>
                <a:gd name="T18" fmla="*/ 263 w 516"/>
                <a:gd name="T19" fmla="*/ 138 h 419"/>
                <a:gd name="T20" fmla="*/ 254 w 516"/>
                <a:gd name="T21" fmla="*/ 127 h 419"/>
                <a:gd name="T22" fmla="*/ 262 w 516"/>
                <a:gd name="T23" fmla="*/ 116 h 419"/>
                <a:gd name="T24" fmla="*/ 284 w 516"/>
                <a:gd name="T25" fmla="*/ 143 h 419"/>
                <a:gd name="T26" fmla="*/ 305 w 516"/>
                <a:gd name="T27" fmla="*/ 144 h 419"/>
                <a:gd name="T28" fmla="*/ 326 w 516"/>
                <a:gd name="T29" fmla="*/ 157 h 419"/>
                <a:gd name="T30" fmla="*/ 343 w 516"/>
                <a:gd name="T31" fmla="*/ 176 h 419"/>
                <a:gd name="T32" fmla="*/ 354 w 516"/>
                <a:gd name="T33" fmla="*/ 167 h 419"/>
                <a:gd name="T34" fmla="*/ 388 w 516"/>
                <a:gd name="T35" fmla="*/ 175 h 419"/>
                <a:gd name="T36" fmla="*/ 413 w 516"/>
                <a:gd name="T37" fmla="*/ 181 h 419"/>
                <a:gd name="T38" fmla="*/ 423 w 516"/>
                <a:gd name="T39" fmla="*/ 178 h 419"/>
                <a:gd name="T40" fmla="*/ 430 w 516"/>
                <a:gd name="T41" fmla="*/ 200 h 419"/>
                <a:gd name="T42" fmla="*/ 429 w 516"/>
                <a:gd name="T43" fmla="*/ 225 h 419"/>
                <a:gd name="T44" fmla="*/ 449 w 516"/>
                <a:gd name="T45" fmla="*/ 269 h 419"/>
                <a:gd name="T46" fmla="*/ 479 w 516"/>
                <a:gd name="T47" fmla="*/ 282 h 419"/>
                <a:gd name="T48" fmla="*/ 499 w 516"/>
                <a:gd name="T49" fmla="*/ 288 h 419"/>
                <a:gd name="T50" fmla="*/ 516 w 516"/>
                <a:gd name="T51" fmla="*/ 341 h 419"/>
                <a:gd name="T52" fmla="*/ 499 w 516"/>
                <a:gd name="T53" fmla="*/ 362 h 419"/>
                <a:gd name="T54" fmla="*/ 463 w 516"/>
                <a:gd name="T55" fmla="*/ 366 h 419"/>
                <a:gd name="T56" fmla="*/ 431 w 516"/>
                <a:gd name="T57" fmla="*/ 366 h 419"/>
                <a:gd name="T58" fmla="*/ 422 w 516"/>
                <a:gd name="T59" fmla="*/ 385 h 419"/>
                <a:gd name="T60" fmla="*/ 395 w 516"/>
                <a:gd name="T61" fmla="*/ 418 h 419"/>
                <a:gd name="T62" fmla="*/ 376 w 516"/>
                <a:gd name="T63" fmla="*/ 413 h 419"/>
                <a:gd name="T64" fmla="*/ 354 w 516"/>
                <a:gd name="T65" fmla="*/ 386 h 419"/>
                <a:gd name="T66" fmla="*/ 329 w 516"/>
                <a:gd name="T67" fmla="*/ 378 h 419"/>
                <a:gd name="T68" fmla="*/ 293 w 516"/>
                <a:gd name="T69" fmla="*/ 367 h 419"/>
                <a:gd name="T70" fmla="*/ 255 w 516"/>
                <a:gd name="T71" fmla="*/ 366 h 419"/>
                <a:gd name="T72" fmla="*/ 234 w 516"/>
                <a:gd name="T73" fmla="*/ 359 h 419"/>
                <a:gd name="T74" fmla="*/ 218 w 516"/>
                <a:gd name="T75" fmla="*/ 353 h 419"/>
                <a:gd name="T76" fmla="*/ 215 w 516"/>
                <a:gd name="T77" fmla="*/ 340 h 419"/>
                <a:gd name="T78" fmla="*/ 183 w 516"/>
                <a:gd name="T79" fmla="*/ 303 h 419"/>
                <a:gd name="T80" fmla="*/ 169 w 516"/>
                <a:gd name="T81" fmla="*/ 300 h 419"/>
                <a:gd name="T82" fmla="*/ 164 w 516"/>
                <a:gd name="T83" fmla="*/ 274 h 419"/>
                <a:gd name="T84" fmla="*/ 153 w 516"/>
                <a:gd name="T85" fmla="*/ 260 h 419"/>
                <a:gd name="T86" fmla="*/ 120 w 516"/>
                <a:gd name="T87" fmla="*/ 257 h 419"/>
                <a:gd name="T88" fmla="*/ 104 w 516"/>
                <a:gd name="T89" fmla="*/ 237 h 419"/>
                <a:gd name="T90" fmla="*/ 94 w 516"/>
                <a:gd name="T91" fmla="*/ 211 h 419"/>
                <a:gd name="T92" fmla="*/ 89 w 516"/>
                <a:gd name="T93" fmla="*/ 229 h 419"/>
                <a:gd name="T94" fmla="*/ 77 w 516"/>
                <a:gd name="T95" fmla="*/ 236 h 419"/>
                <a:gd name="T96" fmla="*/ 64 w 516"/>
                <a:gd name="T97" fmla="*/ 238 h 419"/>
                <a:gd name="T98" fmla="*/ 60 w 516"/>
                <a:gd name="T99" fmla="*/ 217 h 419"/>
                <a:gd name="T100" fmla="*/ 33 w 516"/>
                <a:gd name="T101" fmla="*/ 234 h 419"/>
                <a:gd name="T102" fmla="*/ 20 w 516"/>
                <a:gd name="T103" fmla="*/ 223 h 419"/>
                <a:gd name="T104" fmla="*/ 5 w 516"/>
                <a:gd name="T105" fmla="*/ 217 h 419"/>
                <a:gd name="T106" fmla="*/ 4 w 516"/>
                <a:gd name="T107" fmla="*/ 193 h 419"/>
                <a:gd name="T108" fmla="*/ 11 w 516"/>
                <a:gd name="T109" fmla="*/ 172 h 419"/>
                <a:gd name="T110" fmla="*/ 6 w 516"/>
                <a:gd name="T111" fmla="*/ 145 h 419"/>
                <a:gd name="T112" fmla="*/ 20 w 516"/>
                <a:gd name="T113" fmla="*/ 105 h 419"/>
                <a:gd name="T114" fmla="*/ 40 w 516"/>
                <a:gd name="T115" fmla="*/ 71 h 419"/>
                <a:gd name="T116" fmla="*/ 66 w 516"/>
                <a:gd name="T117" fmla="*/ 52 h 419"/>
                <a:gd name="T118" fmla="*/ 77 w 516"/>
                <a:gd name="T119" fmla="*/ 34 h 419"/>
                <a:gd name="T120" fmla="*/ 113 w 516"/>
                <a:gd name="T121" fmla="*/ 24 h 419"/>
                <a:gd name="T122" fmla="*/ 142 w 516"/>
                <a:gd name="T123" fmla="*/ 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6" h="419">
                  <a:moveTo>
                    <a:pt x="156" y="0"/>
                  </a:moveTo>
                  <a:lnTo>
                    <a:pt x="157" y="0"/>
                  </a:lnTo>
                  <a:lnTo>
                    <a:pt x="158" y="0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60" y="1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2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4" y="5"/>
                  </a:lnTo>
                  <a:lnTo>
                    <a:pt x="164" y="6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7" y="8"/>
                  </a:lnTo>
                  <a:lnTo>
                    <a:pt x="167" y="8"/>
                  </a:lnTo>
                  <a:lnTo>
                    <a:pt x="168" y="8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10"/>
                  </a:lnTo>
                  <a:lnTo>
                    <a:pt x="169" y="10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69" y="13"/>
                  </a:lnTo>
                  <a:lnTo>
                    <a:pt x="169" y="14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6" y="23"/>
                  </a:lnTo>
                  <a:lnTo>
                    <a:pt x="166" y="24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7" y="28"/>
                  </a:lnTo>
                  <a:lnTo>
                    <a:pt x="167" y="29"/>
                  </a:lnTo>
                  <a:lnTo>
                    <a:pt x="168" y="30"/>
                  </a:lnTo>
                  <a:lnTo>
                    <a:pt x="168" y="31"/>
                  </a:lnTo>
                  <a:lnTo>
                    <a:pt x="169" y="32"/>
                  </a:lnTo>
                  <a:lnTo>
                    <a:pt x="172" y="35"/>
                  </a:lnTo>
                  <a:lnTo>
                    <a:pt x="173" y="37"/>
                  </a:lnTo>
                  <a:lnTo>
                    <a:pt x="173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5" y="42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1"/>
                  </a:lnTo>
                  <a:lnTo>
                    <a:pt x="172" y="52"/>
                  </a:lnTo>
                  <a:lnTo>
                    <a:pt x="171" y="52"/>
                  </a:lnTo>
                  <a:lnTo>
                    <a:pt x="170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66" y="54"/>
                  </a:lnTo>
                  <a:lnTo>
                    <a:pt x="165" y="54"/>
                  </a:lnTo>
                  <a:lnTo>
                    <a:pt x="164" y="55"/>
                  </a:lnTo>
                  <a:lnTo>
                    <a:pt x="164" y="55"/>
                  </a:lnTo>
                  <a:lnTo>
                    <a:pt x="163" y="56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57" y="63"/>
                  </a:lnTo>
                  <a:lnTo>
                    <a:pt x="156" y="63"/>
                  </a:lnTo>
                  <a:lnTo>
                    <a:pt x="155" y="63"/>
                  </a:lnTo>
                  <a:lnTo>
                    <a:pt x="153" y="64"/>
                  </a:lnTo>
                  <a:lnTo>
                    <a:pt x="148" y="66"/>
                  </a:lnTo>
                  <a:lnTo>
                    <a:pt x="142" y="68"/>
                  </a:lnTo>
                  <a:lnTo>
                    <a:pt x="139" y="69"/>
                  </a:lnTo>
                  <a:lnTo>
                    <a:pt x="134" y="70"/>
                  </a:lnTo>
                  <a:lnTo>
                    <a:pt x="133" y="71"/>
                  </a:lnTo>
                  <a:lnTo>
                    <a:pt x="132" y="71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0" y="73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8"/>
                  </a:lnTo>
                  <a:lnTo>
                    <a:pt x="130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2" y="82"/>
                  </a:lnTo>
                  <a:lnTo>
                    <a:pt x="132" y="82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9" y="88"/>
                  </a:lnTo>
                  <a:lnTo>
                    <a:pt x="140" y="89"/>
                  </a:lnTo>
                  <a:lnTo>
                    <a:pt x="141" y="91"/>
                  </a:lnTo>
                  <a:lnTo>
                    <a:pt x="143" y="93"/>
                  </a:lnTo>
                  <a:lnTo>
                    <a:pt x="144" y="94"/>
                  </a:lnTo>
                  <a:lnTo>
                    <a:pt x="145" y="95"/>
                  </a:lnTo>
                  <a:lnTo>
                    <a:pt x="146" y="96"/>
                  </a:lnTo>
                  <a:lnTo>
                    <a:pt x="147" y="97"/>
                  </a:lnTo>
                  <a:lnTo>
                    <a:pt x="149" y="97"/>
                  </a:lnTo>
                  <a:lnTo>
                    <a:pt x="150" y="98"/>
                  </a:lnTo>
                  <a:lnTo>
                    <a:pt x="151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3" y="97"/>
                  </a:lnTo>
                  <a:lnTo>
                    <a:pt x="155" y="97"/>
                  </a:lnTo>
                  <a:lnTo>
                    <a:pt x="156" y="97"/>
                  </a:lnTo>
                  <a:lnTo>
                    <a:pt x="157" y="97"/>
                  </a:lnTo>
                  <a:lnTo>
                    <a:pt x="158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60" y="97"/>
                  </a:lnTo>
                  <a:lnTo>
                    <a:pt x="161" y="97"/>
                  </a:lnTo>
                  <a:lnTo>
                    <a:pt x="161" y="98"/>
                  </a:lnTo>
                  <a:lnTo>
                    <a:pt x="163" y="98"/>
                  </a:lnTo>
                  <a:lnTo>
                    <a:pt x="163" y="99"/>
                  </a:lnTo>
                  <a:lnTo>
                    <a:pt x="164" y="99"/>
                  </a:lnTo>
                  <a:lnTo>
                    <a:pt x="165" y="100"/>
                  </a:lnTo>
                  <a:lnTo>
                    <a:pt x="166" y="101"/>
                  </a:lnTo>
                  <a:lnTo>
                    <a:pt x="167" y="102"/>
                  </a:lnTo>
                  <a:lnTo>
                    <a:pt x="168" y="103"/>
                  </a:lnTo>
                  <a:lnTo>
                    <a:pt x="170" y="106"/>
                  </a:lnTo>
                  <a:lnTo>
                    <a:pt x="171" y="108"/>
                  </a:lnTo>
                  <a:lnTo>
                    <a:pt x="174" y="112"/>
                  </a:lnTo>
                  <a:lnTo>
                    <a:pt x="175" y="113"/>
                  </a:lnTo>
                  <a:lnTo>
                    <a:pt x="176" y="115"/>
                  </a:lnTo>
                  <a:lnTo>
                    <a:pt x="177" y="116"/>
                  </a:lnTo>
                  <a:lnTo>
                    <a:pt x="177" y="117"/>
                  </a:lnTo>
                  <a:lnTo>
                    <a:pt x="178" y="119"/>
                  </a:lnTo>
                  <a:lnTo>
                    <a:pt x="178" y="120"/>
                  </a:lnTo>
                  <a:lnTo>
                    <a:pt x="180" y="124"/>
                  </a:lnTo>
                  <a:lnTo>
                    <a:pt x="181" y="126"/>
                  </a:lnTo>
                  <a:lnTo>
                    <a:pt x="181" y="127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5" y="137"/>
                  </a:lnTo>
                  <a:lnTo>
                    <a:pt x="186" y="137"/>
                  </a:lnTo>
                  <a:lnTo>
                    <a:pt x="187" y="138"/>
                  </a:lnTo>
                  <a:lnTo>
                    <a:pt x="188" y="138"/>
                  </a:lnTo>
                  <a:lnTo>
                    <a:pt x="190" y="140"/>
                  </a:lnTo>
                  <a:lnTo>
                    <a:pt x="192" y="141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7" y="143"/>
                  </a:lnTo>
                  <a:lnTo>
                    <a:pt x="198" y="144"/>
                  </a:lnTo>
                  <a:lnTo>
                    <a:pt x="198" y="145"/>
                  </a:lnTo>
                  <a:lnTo>
                    <a:pt x="199" y="146"/>
                  </a:lnTo>
                  <a:lnTo>
                    <a:pt x="200" y="147"/>
                  </a:lnTo>
                  <a:lnTo>
                    <a:pt x="201" y="148"/>
                  </a:lnTo>
                  <a:lnTo>
                    <a:pt x="201" y="149"/>
                  </a:lnTo>
                  <a:lnTo>
                    <a:pt x="202" y="150"/>
                  </a:lnTo>
                  <a:lnTo>
                    <a:pt x="202" y="151"/>
                  </a:lnTo>
                  <a:lnTo>
                    <a:pt x="204" y="152"/>
                  </a:lnTo>
                  <a:lnTo>
                    <a:pt x="205" y="153"/>
                  </a:lnTo>
                  <a:lnTo>
                    <a:pt x="207" y="154"/>
                  </a:lnTo>
                  <a:lnTo>
                    <a:pt x="208" y="155"/>
                  </a:lnTo>
                  <a:lnTo>
                    <a:pt x="209" y="156"/>
                  </a:lnTo>
                  <a:lnTo>
                    <a:pt x="211" y="156"/>
                  </a:lnTo>
                  <a:lnTo>
                    <a:pt x="212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4" y="157"/>
                  </a:lnTo>
                  <a:lnTo>
                    <a:pt x="215" y="157"/>
                  </a:lnTo>
                  <a:lnTo>
                    <a:pt x="216" y="157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3" y="156"/>
                  </a:lnTo>
                  <a:lnTo>
                    <a:pt x="224" y="155"/>
                  </a:lnTo>
                  <a:lnTo>
                    <a:pt x="225" y="155"/>
                  </a:lnTo>
                  <a:lnTo>
                    <a:pt x="227" y="154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0" y="152"/>
                  </a:lnTo>
                  <a:lnTo>
                    <a:pt x="235" y="147"/>
                  </a:lnTo>
                  <a:lnTo>
                    <a:pt x="236" y="146"/>
                  </a:lnTo>
                  <a:lnTo>
                    <a:pt x="237" y="145"/>
                  </a:lnTo>
                  <a:lnTo>
                    <a:pt x="238" y="145"/>
                  </a:lnTo>
                  <a:lnTo>
                    <a:pt x="239" y="144"/>
                  </a:lnTo>
                  <a:lnTo>
                    <a:pt x="241" y="143"/>
                  </a:lnTo>
                  <a:lnTo>
                    <a:pt x="242" y="142"/>
                  </a:lnTo>
                  <a:lnTo>
                    <a:pt x="245" y="141"/>
                  </a:lnTo>
                  <a:lnTo>
                    <a:pt x="247" y="140"/>
                  </a:lnTo>
                  <a:lnTo>
                    <a:pt x="248" y="140"/>
                  </a:lnTo>
                  <a:lnTo>
                    <a:pt x="249" y="139"/>
                  </a:lnTo>
                  <a:lnTo>
                    <a:pt x="251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7" y="139"/>
                  </a:lnTo>
                  <a:lnTo>
                    <a:pt x="259" y="139"/>
                  </a:lnTo>
                  <a:lnTo>
                    <a:pt x="260" y="139"/>
                  </a:lnTo>
                  <a:lnTo>
                    <a:pt x="261" y="139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3" y="139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7"/>
                  </a:lnTo>
                  <a:lnTo>
                    <a:pt x="264" y="136"/>
                  </a:lnTo>
                  <a:lnTo>
                    <a:pt x="264" y="135"/>
                  </a:lnTo>
                  <a:lnTo>
                    <a:pt x="263" y="134"/>
                  </a:lnTo>
                  <a:lnTo>
                    <a:pt x="263" y="133"/>
                  </a:lnTo>
                  <a:lnTo>
                    <a:pt x="263" y="132"/>
                  </a:lnTo>
                  <a:lnTo>
                    <a:pt x="263" y="132"/>
                  </a:lnTo>
                  <a:lnTo>
                    <a:pt x="262" y="131"/>
                  </a:lnTo>
                  <a:lnTo>
                    <a:pt x="262" y="130"/>
                  </a:lnTo>
                  <a:lnTo>
                    <a:pt x="261" y="130"/>
                  </a:lnTo>
                  <a:lnTo>
                    <a:pt x="261" y="129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8" y="128"/>
                  </a:lnTo>
                  <a:lnTo>
                    <a:pt x="256" y="128"/>
                  </a:lnTo>
                  <a:lnTo>
                    <a:pt x="256" y="128"/>
                  </a:lnTo>
                  <a:lnTo>
                    <a:pt x="255" y="128"/>
                  </a:lnTo>
                  <a:lnTo>
                    <a:pt x="255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6"/>
                  </a:lnTo>
                  <a:lnTo>
                    <a:pt x="253" y="126"/>
                  </a:lnTo>
                  <a:lnTo>
                    <a:pt x="253" y="125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3" y="123"/>
                  </a:lnTo>
                  <a:lnTo>
                    <a:pt x="253" y="122"/>
                  </a:lnTo>
                  <a:lnTo>
                    <a:pt x="253" y="121"/>
                  </a:lnTo>
                  <a:lnTo>
                    <a:pt x="254" y="121"/>
                  </a:lnTo>
                  <a:lnTo>
                    <a:pt x="254" y="120"/>
                  </a:lnTo>
                  <a:lnTo>
                    <a:pt x="255" y="119"/>
                  </a:lnTo>
                  <a:lnTo>
                    <a:pt x="255" y="118"/>
                  </a:lnTo>
                  <a:lnTo>
                    <a:pt x="256" y="118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8" y="117"/>
                  </a:lnTo>
                  <a:lnTo>
                    <a:pt x="259" y="116"/>
                  </a:lnTo>
                  <a:lnTo>
                    <a:pt x="260" y="116"/>
                  </a:lnTo>
                  <a:lnTo>
                    <a:pt x="261" y="116"/>
                  </a:lnTo>
                  <a:lnTo>
                    <a:pt x="261" y="116"/>
                  </a:lnTo>
                  <a:lnTo>
                    <a:pt x="262" y="116"/>
                  </a:lnTo>
                  <a:lnTo>
                    <a:pt x="263" y="117"/>
                  </a:lnTo>
                  <a:lnTo>
                    <a:pt x="265" y="117"/>
                  </a:lnTo>
                  <a:lnTo>
                    <a:pt x="266" y="118"/>
                  </a:lnTo>
                  <a:lnTo>
                    <a:pt x="267" y="118"/>
                  </a:lnTo>
                  <a:lnTo>
                    <a:pt x="268" y="119"/>
                  </a:lnTo>
                  <a:lnTo>
                    <a:pt x="269" y="120"/>
                  </a:lnTo>
                  <a:lnTo>
                    <a:pt x="272" y="122"/>
                  </a:lnTo>
                  <a:lnTo>
                    <a:pt x="273" y="123"/>
                  </a:lnTo>
                  <a:lnTo>
                    <a:pt x="274" y="124"/>
                  </a:lnTo>
                  <a:lnTo>
                    <a:pt x="275" y="125"/>
                  </a:lnTo>
                  <a:lnTo>
                    <a:pt x="276" y="126"/>
                  </a:lnTo>
                  <a:lnTo>
                    <a:pt x="278" y="132"/>
                  </a:lnTo>
                  <a:lnTo>
                    <a:pt x="279" y="133"/>
                  </a:lnTo>
                  <a:lnTo>
                    <a:pt x="279" y="134"/>
                  </a:lnTo>
                  <a:lnTo>
                    <a:pt x="280" y="137"/>
                  </a:lnTo>
                  <a:lnTo>
                    <a:pt x="281" y="138"/>
                  </a:lnTo>
                  <a:lnTo>
                    <a:pt x="281" y="139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3" y="142"/>
                  </a:lnTo>
                  <a:lnTo>
                    <a:pt x="284" y="143"/>
                  </a:lnTo>
                  <a:lnTo>
                    <a:pt x="285" y="143"/>
                  </a:lnTo>
                  <a:lnTo>
                    <a:pt x="285" y="144"/>
                  </a:lnTo>
                  <a:lnTo>
                    <a:pt x="286" y="144"/>
                  </a:lnTo>
                  <a:lnTo>
                    <a:pt x="287" y="145"/>
                  </a:lnTo>
                  <a:lnTo>
                    <a:pt x="287" y="145"/>
                  </a:lnTo>
                  <a:lnTo>
                    <a:pt x="290" y="146"/>
                  </a:lnTo>
                  <a:lnTo>
                    <a:pt x="295" y="148"/>
                  </a:lnTo>
                  <a:lnTo>
                    <a:pt x="296" y="148"/>
                  </a:lnTo>
                  <a:lnTo>
                    <a:pt x="297" y="148"/>
                  </a:lnTo>
                  <a:lnTo>
                    <a:pt x="297" y="148"/>
                  </a:lnTo>
                  <a:lnTo>
                    <a:pt x="298" y="148"/>
                  </a:lnTo>
                  <a:lnTo>
                    <a:pt x="299" y="148"/>
                  </a:lnTo>
                  <a:lnTo>
                    <a:pt x="299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2" y="146"/>
                  </a:lnTo>
                  <a:lnTo>
                    <a:pt x="303" y="145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7" y="144"/>
                  </a:lnTo>
                  <a:lnTo>
                    <a:pt x="308" y="144"/>
                  </a:lnTo>
                  <a:lnTo>
                    <a:pt x="309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1" y="146"/>
                  </a:lnTo>
                  <a:lnTo>
                    <a:pt x="311" y="146"/>
                  </a:lnTo>
                  <a:lnTo>
                    <a:pt x="312" y="146"/>
                  </a:lnTo>
                  <a:lnTo>
                    <a:pt x="313" y="147"/>
                  </a:lnTo>
                  <a:lnTo>
                    <a:pt x="313" y="148"/>
                  </a:lnTo>
                  <a:lnTo>
                    <a:pt x="314" y="149"/>
                  </a:lnTo>
                  <a:lnTo>
                    <a:pt x="315" y="151"/>
                  </a:lnTo>
                  <a:lnTo>
                    <a:pt x="316" y="152"/>
                  </a:lnTo>
                  <a:lnTo>
                    <a:pt x="317" y="153"/>
                  </a:lnTo>
                  <a:lnTo>
                    <a:pt x="318" y="153"/>
                  </a:lnTo>
                  <a:lnTo>
                    <a:pt x="318" y="154"/>
                  </a:lnTo>
                  <a:lnTo>
                    <a:pt x="319" y="154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9" y="158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33" y="161"/>
                  </a:lnTo>
                  <a:lnTo>
                    <a:pt x="334" y="162"/>
                  </a:lnTo>
                  <a:lnTo>
                    <a:pt x="334" y="163"/>
                  </a:lnTo>
                  <a:lnTo>
                    <a:pt x="335" y="164"/>
                  </a:lnTo>
                  <a:lnTo>
                    <a:pt x="336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8" y="171"/>
                  </a:lnTo>
                  <a:lnTo>
                    <a:pt x="339" y="172"/>
                  </a:lnTo>
                  <a:lnTo>
                    <a:pt x="339" y="173"/>
                  </a:lnTo>
                  <a:lnTo>
                    <a:pt x="340" y="173"/>
                  </a:lnTo>
                  <a:lnTo>
                    <a:pt x="341" y="174"/>
                  </a:lnTo>
                  <a:lnTo>
                    <a:pt x="342" y="175"/>
                  </a:lnTo>
                  <a:lnTo>
                    <a:pt x="343" y="176"/>
                  </a:lnTo>
                  <a:lnTo>
                    <a:pt x="343" y="176"/>
                  </a:lnTo>
                  <a:lnTo>
                    <a:pt x="344" y="176"/>
                  </a:lnTo>
                  <a:lnTo>
                    <a:pt x="345" y="177"/>
                  </a:lnTo>
                  <a:lnTo>
                    <a:pt x="346" y="177"/>
                  </a:lnTo>
                  <a:lnTo>
                    <a:pt x="347" y="177"/>
                  </a:lnTo>
                  <a:lnTo>
                    <a:pt x="348" y="177"/>
                  </a:lnTo>
                  <a:lnTo>
                    <a:pt x="348" y="177"/>
                  </a:lnTo>
                  <a:lnTo>
                    <a:pt x="349" y="177"/>
                  </a:lnTo>
                  <a:lnTo>
                    <a:pt x="350" y="176"/>
                  </a:lnTo>
                  <a:lnTo>
                    <a:pt x="351" y="175"/>
                  </a:lnTo>
                  <a:lnTo>
                    <a:pt x="353" y="174"/>
                  </a:lnTo>
                  <a:lnTo>
                    <a:pt x="353" y="174"/>
                  </a:lnTo>
                  <a:lnTo>
                    <a:pt x="354" y="173"/>
                  </a:lnTo>
                  <a:lnTo>
                    <a:pt x="354" y="172"/>
                  </a:lnTo>
                  <a:lnTo>
                    <a:pt x="354" y="172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69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4" y="167"/>
                  </a:lnTo>
                  <a:lnTo>
                    <a:pt x="355" y="167"/>
                  </a:lnTo>
                  <a:lnTo>
                    <a:pt x="356" y="167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62" y="168"/>
                  </a:lnTo>
                  <a:lnTo>
                    <a:pt x="364" y="169"/>
                  </a:lnTo>
                  <a:lnTo>
                    <a:pt x="365" y="169"/>
                  </a:lnTo>
                  <a:lnTo>
                    <a:pt x="367" y="169"/>
                  </a:lnTo>
                  <a:lnTo>
                    <a:pt x="369" y="169"/>
                  </a:lnTo>
                  <a:lnTo>
                    <a:pt x="374" y="169"/>
                  </a:lnTo>
                  <a:lnTo>
                    <a:pt x="375" y="169"/>
                  </a:lnTo>
                  <a:lnTo>
                    <a:pt x="377" y="170"/>
                  </a:lnTo>
                  <a:lnTo>
                    <a:pt x="378" y="170"/>
                  </a:lnTo>
                  <a:lnTo>
                    <a:pt x="379" y="170"/>
                  </a:lnTo>
                  <a:lnTo>
                    <a:pt x="379" y="170"/>
                  </a:lnTo>
                  <a:lnTo>
                    <a:pt x="380" y="171"/>
                  </a:lnTo>
                  <a:lnTo>
                    <a:pt x="385" y="173"/>
                  </a:lnTo>
                  <a:lnTo>
                    <a:pt x="388" y="175"/>
                  </a:lnTo>
                  <a:lnTo>
                    <a:pt x="390" y="176"/>
                  </a:lnTo>
                  <a:lnTo>
                    <a:pt x="391" y="176"/>
                  </a:lnTo>
                  <a:lnTo>
                    <a:pt x="397" y="181"/>
                  </a:lnTo>
                  <a:lnTo>
                    <a:pt x="398" y="181"/>
                  </a:lnTo>
                  <a:lnTo>
                    <a:pt x="398" y="181"/>
                  </a:lnTo>
                  <a:lnTo>
                    <a:pt x="400" y="182"/>
                  </a:lnTo>
                  <a:lnTo>
                    <a:pt x="401" y="183"/>
                  </a:lnTo>
                  <a:lnTo>
                    <a:pt x="403" y="183"/>
                  </a:lnTo>
                  <a:lnTo>
                    <a:pt x="404" y="183"/>
                  </a:lnTo>
                  <a:lnTo>
                    <a:pt x="406" y="183"/>
                  </a:lnTo>
                  <a:lnTo>
                    <a:pt x="407" y="184"/>
                  </a:lnTo>
                  <a:lnTo>
                    <a:pt x="408" y="184"/>
                  </a:lnTo>
                  <a:lnTo>
                    <a:pt x="409" y="183"/>
                  </a:lnTo>
                  <a:lnTo>
                    <a:pt x="410" y="183"/>
                  </a:lnTo>
                  <a:lnTo>
                    <a:pt x="410" y="183"/>
                  </a:lnTo>
                  <a:lnTo>
                    <a:pt x="411" y="183"/>
                  </a:lnTo>
                  <a:lnTo>
                    <a:pt x="411" y="182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80"/>
                  </a:lnTo>
                  <a:lnTo>
                    <a:pt x="414" y="179"/>
                  </a:lnTo>
                  <a:lnTo>
                    <a:pt x="414" y="177"/>
                  </a:lnTo>
                  <a:lnTo>
                    <a:pt x="415" y="176"/>
                  </a:lnTo>
                  <a:lnTo>
                    <a:pt x="415" y="176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6" y="175"/>
                  </a:lnTo>
                  <a:lnTo>
                    <a:pt x="417" y="174"/>
                  </a:lnTo>
                  <a:lnTo>
                    <a:pt x="417" y="174"/>
                  </a:lnTo>
                  <a:lnTo>
                    <a:pt x="418" y="174"/>
                  </a:lnTo>
                  <a:lnTo>
                    <a:pt x="419" y="175"/>
                  </a:lnTo>
                  <a:lnTo>
                    <a:pt x="420" y="175"/>
                  </a:lnTo>
                  <a:lnTo>
                    <a:pt x="420" y="175"/>
                  </a:lnTo>
                  <a:lnTo>
                    <a:pt x="421" y="175"/>
                  </a:lnTo>
                  <a:lnTo>
                    <a:pt x="421" y="176"/>
                  </a:lnTo>
                  <a:lnTo>
                    <a:pt x="422" y="176"/>
                  </a:lnTo>
                  <a:lnTo>
                    <a:pt x="422" y="176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4" y="181"/>
                  </a:lnTo>
                  <a:lnTo>
                    <a:pt x="424" y="182"/>
                  </a:lnTo>
                  <a:lnTo>
                    <a:pt x="424" y="183"/>
                  </a:lnTo>
                  <a:lnTo>
                    <a:pt x="424" y="187"/>
                  </a:lnTo>
                  <a:lnTo>
                    <a:pt x="424" y="189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5" y="193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6" y="195"/>
                  </a:lnTo>
                  <a:lnTo>
                    <a:pt x="426" y="196"/>
                  </a:lnTo>
                  <a:lnTo>
                    <a:pt x="427" y="196"/>
                  </a:lnTo>
                  <a:lnTo>
                    <a:pt x="427" y="197"/>
                  </a:lnTo>
                  <a:lnTo>
                    <a:pt x="428" y="198"/>
                  </a:lnTo>
                  <a:lnTo>
                    <a:pt x="429" y="199"/>
                  </a:lnTo>
                  <a:lnTo>
                    <a:pt x="430" y="200"/>
                  </a:lnTo>
                  <a:lnTo>
                    <a:pt x="431" y="200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1"/>
                  </a:lnTo>
                  <a:lnTo>
                    <a:pt x="431" y="202"/>
                  </a:lnTo>
                  <a:lnTo>
                    <a:pt x="431" y="202"/>
                  </a:lnTo>
                  <a:lnTo>
                    <a:pt x="431" y="203"/>
                  </a:lnTo>
                  <a:lnTo>
                    <a:pt x="431" y="204"/>
                  </a:lnTo>
                  <a:lnTo>
                    <a:pt x="429" y="206"/>
                  </a:lnTo>
                  <a:lnTo>
                    <a:pt x="428" y="209"/>
                  </a:lnTo>
                  <a:lnTo>
                    <a:pt x="427" y="212"/>
                  </a:lnTo>
                  <a:lnTo>
                    <a:pt x="427" y="213"/>
                  </a:lnTo>
                  <a:lnTo>
                    <a:pt x="427" y="214"/>
                  </a:lnTo>
                  <a:lnTo>
                    <a:pt x="426" y="215"/>
                  </a:lnTo>
                  <a:lnTo>
                    <a:pt x="426" y="216"/>
                  </a:lnTo>
                  <a:lnTo>
                    <a:pt x="426" y="217"/>
                  </a:lnTo>
                  <a:lnTo>
                    <a:pt x="427" y="219"/>
                  </a:lnTo>
                  <a:lnTo>
                    <a:pt x="427" y="220"/>
                  </a:lnTo>
                  <a:lnTo>
                    <a:pt x="428" y="223"/>
                  </a:lnTo>
                  <a:lnTo>
                    <a:pt x="429" y="224"/>
                  </a:lnTo>
                  <a:lnTo>
                    <a:pt x="429" y="225"/>
                  </a:lnTo>
                  <a:lnTo>
                    <a:pt x="430" y="227"/>
                  </a:lnTo>
                  <a:lnTo>
                    <a:pt x="431" y="230"/>
                  </a:lnTo>
                  <a:lnTo>
                    <a:pt x="433" y="233"/>
                  </a:lnTo>
                  <a:lnTo>
                    <a:pt x="434" y="237"/>
                  </a:lnTo>
                  <a:lnTo>
                    <a:pt x="437" y="243"/>
                  </a:lnTo>
                  <a:lnTo>
                    <a:pt x="440" y="249"/>
                  </a:lnTo>
                  <a:lnTo>
                    <a:pt x="441" y="253"/>
                  </a:lnTo>
                  <a:lnTo>
                    <a:pt x="442" y="254"/>
                  </a:lnTo>
                  <a:lnTo>
                    <a:pt x="442" y="255"/>
                  </a:lnTo>
                  <a:lnTo>
                    <a:pt x="443" y="256"/>
                  </a:lnTo>
                  <a:lnTo>
                    <a:pt x="444" y="261"/>
                  </a:lnTo>
                  <a:lnTo>
                    <a:pt x="444" y="262"/>
                  </a:lnTo>
                  <a:lnTo>
                    <a:pt x="445" y="263"/>
                  </a:lnTo>
                  <a:lnTo>
                    <a:pt x="445" y="264"/>
                  </a:lnTo>
                  <a:lnTo>
                    <a:pt x="445" y="265"/>
                  </a:lnTo>
                  <a:lnTo>
                    <a:pt x="446" y="265"/>
                  </a:lnTo>
                  <a:lnTo>
                    <a:pt x="446" y="266"/>
                  </a:lnTo>
                  <a:lnTo>
                    <a:pt x="447" y="267"/>
                  </a:lnTo>
                  <a:lnTo>
                    <a:pt x="448" y="267"/>
                  </a:lnTo>
                  <a:lnTo>
                    <a:pt x="449" y="268"/>
                  </a:lnTo>
                  <a:lnTo>
                    <a:pt x="449" y="269"/>
                  </a:lnTo>
                  <a:lnTo>
                    <a:pt x="450" y="269"/>
                  </a:lnTo>
                  <a:lnTo>
                    <a:pt x="451" y="269"/>
                  </a:lnTo>
                  <a:lnTo>
                    <a:pt x="452" y="270"/>
                  </a:lnTo>
                  <a:lnTo>
                    <a:pt x="453" y="270"/>
                  </a:lnTo>
                  <a:lnTo>
                    <a:pt x="457" y="272"/>
                  </a:lnTo>
                  <a:lnTo>
                    <a:pt x="459" y="272"/>
                  </a:lnTo>
                  <a:lnTo>
                    <a:pt x="463" y="273"/>
                  </a:lnTo>
                  <a:lnTo>
                    <a:pt x="464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7" y="274"/>
                  </a:lnTo>
                  <a:lnTo>
                    <a:pt x="468" y="274"/>
                  </a:lnTo>
                  <a:lnTo>
                    <a:pt x="469" y="275"/>
                  </a:lnTo>
                  <a:lnTo>
                    <a:pt x="470" y="277"/>
                  </a:lnTo>
                  <a:lnTo>
                    <a:pt x="472" y="279"/>
                  </a:lnTo>
                  <a:lnTo>
                    <a:pt x="473" y="279"/>
                  </a:lnTo>
                  <a:lnTo>
                    <a:pt x="474" y="280"/>
                  </a:lnTo>
                  <a:lnTo>
                    <a:pt x="474" y="280"/>
                  </a:lnTo>
                  <a:lnTo>
                    <a:pt x="476" y="281"/>
                  </a:lnTo>
                  <a:lnTo>
                    <a:pt x="477" y="282"/>
                  </a:lnTo>
                  <a:lnTo>
                    <a:pt x="479" y="282"/>
                  </a:lnTo>
                  <a:lnTo>
                    <a:pt x="479" y="282"/>
                  </a:lnTo>
                  <a:lnTo>
                    <a:pt x="481" y="282"/>
                  </a:lnTo>
                  <a:lnTo>
                    <a:pt x="481" y="282"/>
                  </a:lnTo>
                  <a:lnTo>
                    <a:pt x="482" y="282"/>
                  </a:lnTo>
                  <a:lnTo>
                    <a:pt x="483" y="282"/>
                  </a:lnTo>
                  <a:lnTo>
                    <a:pt x="486" y="282"/>
                  </a:lnTo>
                  <a:lnTo>
                    <a:pt x="488" y="282"/>
                  </a:lnTo>
                  <a:lnTo>
                    <a:pt x="489" y="282"/>
                  </a:lnTo>
                  <a:lnTo>
                    <a:pt x="490" y="282"/>
                  </a:lnTo>
                  <a:lnTo>
                    <a:pt x="491" y="282"/>
                  </a:lnTo>
                  <a:lnTo>
                    <a:pt x="492" y="282"/>
                  </a:lnTo>
                  <a:lnTo>
                    <a:pt x="493" y="282"/>
                  </a:lnTo>
                  <a:lnTo>
                    <a:pt x="494" y="283"/>
                  </a:lnTo>
                  <a:lnTo>
                    <a:pt x="495" y="283"/>
                  </a:lnTo>
                  <a:lnTo>
                    <a:pt x="496" y="284"/>
                  </a:lnTo>
                  <a:lnTo>
                    <a:pt x="496" y="284"/>
                  </a:lnTo>
                  <a:lnTo>
                    <a:pt x="497" y="285"/>
                  </a:lnTo>
                  <a:lnTo>
                    <a:pt x="498" y="285"/>
                  </a:lnTo>
                  <a:lnTo>
                    <a:pt x="498" y="286"/>
                  </a:lnTo>
                  <a:lnTo>
                    <a:pt x="498" y="287"/>
                  </a:lnTo>
                  <a:lnTo>
                    <a:pt x="499" y="288"/>
                  </a:lnTo>
                  <a:lnTo>
                    <a:pt x="499" y="290"/>
                  </a:lnTo>
                  <a:lnTo>
                    <a:pt x="500" y="292"/>
                  </a:lnTo>
                  <a:lnTo>
                    <a:pt x="501" y="296"/>
                  </a:lnTo>
                  <a:lnTo>
                    <a:pt x="502" y="301"/>
                  </a:lnTo>
                  <a:lnTo>
                    <a:pt x="504" y="310"/>
                  </a:lnTo>
                  <a:lnTo>
                    <a:pt x="506" y="315"/>
                  </a:lnTo>
                  <a:lnTo>
                    <a:pt x="506" y="317"/>
                  </a:lnTo>
                  <a:lnTo>
                    <a:pt x="507" y="318"/>
                  </a:lnTo>
                  <a:lnTo>
                    <a:pt x="507" y="319"/>
                  </a:lnTo>
                  <a:lnTo>
                    <a:pt x="508" y="321"/>
                  </a:lnTo>
                  <a:lnTo>
                    <a:pt x="509" y="322"/>
                  </a:lnTo>
                  <a:lnTo>
                    <a:pt x="509" y="324"/>
                  </a:lnTo>
                  <a:lnTo>
                    <a:pt x="510" y="328"/>
                  </a:lnTo>
                  <a:lnTo>
                    <a:pt x="510" y="329"/>
                  </a:lnTo>
                  <a:lnTo>
                    <a:pt x="510" y="331"/>
                  </a:lnTo>
                  <a:lnTo>
                    <a:pt x="511" y="333"/>
                  </a:lnTo>
                  <a:lnTo>
                    <a:pt x="512" y="335"/>
                  </a:lnTo>
                  <a:lnTo>
                    <a:pt x="513" y="336"/>
                  </a:lnTo>
                  <a:lnTo>
                    <a:pt x="514" y="338"/>
                  </a:lnTo>
                  <a:lnTo>
                    <a:pt x="515" y="340"/>
                  </a:lnTo>
                  <a:lnTo>
                    <a:pt x="516" y="341"/>
                  </a:lnTo>
                  <a:lnTo>
                    <a:pt x="516" y="343"/>
                  </a:lnTo>
                  <a:lnTo>
                    <a:pt x="516" y="344"/>
                  </a:lnTo>
                  <a:lnTo>
                    <a:pt x="516" y="345"/>
                  </a:lnTo>
                  <a:lnTo>
                    <a:pt x="516" y="346"/>
                  </a:lnTo>
                  <a:lnTo>
                    <a:pt x="516" y="346"/>
                  </a:lnTo>
                  <a:lnTo>
                    <a:pt x="515" y="348"/>
                  </a:lnTo>
                  <a:lnTo>
                    <a:pt x="515" y="350"/>
                  </a:lnTo>
                  <a:lnTo>
                    <a:pt x="514" y="352"/>
                  </a:lnTo>
                  <a:lnTo>
                    <a:pt x="513" y="355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3" y="356"/>
                  </a:lnTo>
                  <a:lnTo>
                    <a:pt x="512" y="356"/>
                  </a:lnTo>
                  <a:lnTo>
                    <a:pt x="511" y="357"/>
                  </a:lnTo>
                  <a:lnTo>
                    <a:pt x="511" y="357"/>
                  </a:lnTo>
                  <a:lnTo>
                    <a:pt x="510" y="357"/>
                  </a:lnTo>
                  <a:lnTo>
                    <a:pt x="507" y="358"/>
                  </a:lnTo>
                  <a:lnTo>
                    <a:pt x="505" y="359"/>
                  </a:lnTo>
                  <a:lnTo>
                    <a:pt x="504" y="359"/>
                  </a:lnTo>
                  <a:lnTo>
                    <a:pt x="503" y="360"/>
                  </a:lnTo>
                  <a:lnTo>
                    <a:pt x="499" y="362"/>
                  </a:lnTo>
                  <a:lnTo>
                    <a:pt x="497" y="363"/>
                  </a:lnTo>
                  <a:lnTo>
                    <a:pt x="495" y="364"/>
                  </a:lnTo>
                  <a:lnTo>
                    <a:pt x="491" y="367"/>
                  </a:lnTo>
                  <a:lnTo>
                    <a:pt x="490" y="368"/>
                  </a:lnTo>
                  <a:lnTo>
                    <a:pt x="489" y="368"/>
                  </a:lnTo>
                  <a:lnTo>
                    <a:pt x="487" y="369"/>
                  </a:lnTo>
                  <a:lnTo>
                    <a:pt x="486" y="369"/>
                  </a:lnTo>
                  <a:lnTo>
                    <a:pt x="485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3" y="369"/>
                  </a:lnTo>
                  <a:lnTo>
                    <a:pt x="482" y="369"/>
                  </a:lnTo>
                  <a:lnTo>
                    <a:pt x="480" y="369"/>
                  </a:lnTo>
                  <a:lnTo>
                    <a:pt x="476" y="367"/>
                  </a:lnTo>
                  <a:lnTo>
                    <a:pt x="475" y="367"/>
                  </a:lnTo>
                  <a:lnTo>
                    <a:pt x="474" y="367"/>
                  </a:lnTo>
                  <a:lnTo>
                    <a:pt x="472" y="367"/>
                  </a:lnTo>
                  <a:lnTo>
                    <a:pt x="469" y="366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8" y="366"/>
                  </a:lnTo>
                  <a:lnTo>
                    <a:pt x="452" y="368"/>
                  </a:lnTo>
                  <a:lnTo>
                    <a:pt x="450" y="368"/>
                  </a:lnTo>
                  <a:lnTo>
                    <a:pt x="448" y="368"/>
                  </a:lnTo>
                  <a:lnTo>
                    <a:pt x="447" y="368"/>
                  </a:lnTo>
                  <a:lnTo>
                    <a:pt x="446" y="368"/>
                  </a:lnTo>
                  <a:lnTo>
                    <a:pt x="445" y="368"/>
                  </a:lnTo>
                  <a:lnTo>
                    <a:pt x="444" y="368"/>
                  </a:lnTo>
                  <a:lnTo>
                    <a:pt x="443" y="368"/>
                  </a:lnTo>
                  <a:lnTo>
                    <a:pt x="442" y="367"/>
                  </a:lnTo>
                  <a:lnTo>
                    <a:pt x="440" y="366"/>
                  </a:lnTo>
                  <a:lnTo>
                    <a:pt x="439" y="366"/>
                  </a:lnTo>
                  <a:lnTo>
                    <a:pt x="438" y="366"/>
                  </a:lnTo>
                  <a:lnTo>
                    <a:pt x="437" y="366"/>
                  </a:lnTo>
                  <a:lnTo>
                    <a:pt x="436" y="366"/>
                  </a:lnTo>
                  <a:lnTo>
                    <a:pt x="435" y="366"/>
                  </a:lnTo>
                  <a:lnTo>
                    <a:pt x="434" y="366"/>
                  </a:lnTo>
                  <a:lnTo>
                    <a:pt x="433" y="366"/>
                  </a:lnTo>
                  <a:lnTo>
                    <a:pt x="432" y="366"/>
                  </a:lnTo>
                  <a:lnTo>
                    <a:pt x="431" y="366"/>
                  </a:lnTo>
                  <a:lnTo>
                    <a:pt x="430" y="366"/>
                  </a:lnTo>
                  <a:lnTo>
                    <a:pt x="430" y="367"/>
                  </a:lnTo>
                  <a:lnTo>
                    <a:pt x="429" y="367"/>
                  </a:lnTo>
                  <a:lnTo>
                    <a:pt x="428" y="368"/>
                  </a:lnTo>
                  <a:lnTo>
                    <a:pt x="427" y="369"/>
                  </a:lnTo>
                  <a:lnTo>
                    <a:pt x="426" y="370"/>
                  </a:lnTo>
                  <a:lnTo>
                    <a:pt x="425" y="370"/>
                  </a:lnTo>
                  <a:lnTo>
                    <a:pt x="425" y="371"/>
                  </a:lnTo>
                  <a:lnTo>
                    <a:pt x="424" y="372"/>
                  </a:lnTo>
                  <a:lnTo>
                    <a:pt x="424" y="373"/>
                  </a:lnTo>
                  <a:lnTo>
                    <a:pt x="424" y="374"/>
                  </a:lnTo>
                  <a:lnTo>
                    <a:pt x="423" y="374"/>
                  </a:lnTo>
                  <a:lnTo>
                    <a:pt x="423" y="375"/>
                  </a:lnTo>
                  <a:lnTo>
                    <a:pt x="423" y="376"/>
                  </a:lnTo>
                  <a:lnTo>
                    <a:pt x="423" y="377"/>
                  </a:lnTo>
                  <a:lnTo>
                    <a:pt x="423" y="380"/>
                  </a:lnTo>
                  <a:lnTo>
                    <a:pt x="423" y="381"/>
                  </a:lnTo>
                  <a:lnTo>
                    <a:pt x="423" y="382"/>
                  </a:lnTo>
                  <a:lnTo>
                    <a:pt x="423" y="383"/>
                  </a:lnTo>
                  <a:lnTo>
                    <a:pt x="423" y="384"/>
                  </a:lnTo>
                  <a:lnTo>
                    <a:pt x="422" y="385"/>
                  </a:lnTo>
                  <a:lnTo>
                    <a:pt x="422" y="386"/>
                  </a:lnTo>
                  <a:lnTo>
                    <a:pt x="421" y="387"/>
                  </a:lnTo>
                  <a:lnTo>
                    <a:pt x="420" y="389"/>
                  </a:lnTo>
                  <a:lnTo>
                    <a:pt x="418" y="392"/>
                  </a:lnTo>
                  <a:lnTo>
                    <a:pt x="417" y="393"/>
                  </a:lnTo>
                  <a:lnTo>
                    <a:pt x="414" y="397"/>
                  </a:lnTo>
                  <a:lnTo>
                    <a:pt x="411" y="400"/>
                  </a:lnTo>
                  <a:lnTo>
                    <a:pt x="410" y="401"/>
                  </a:lnTo>
                  <a:lnTo>
                    <a:pt x="409" y="403"/>
                  </a:lnTo>
                  <a:lnTo>
                    <a:pt x="407" y="406"/>
                  </a:lnTo>
                  <a:lnTo>
                    <a:pt x="405" y="410"/>
                  </a:lnTo>
                  <a:lnTo>
                    <a:pt x="404" y="411"/>
                  </a:lnTo>
                  <a:lnTo>
                    <a:pt x="403" y="412"/>
                  </a:lnTo>
                  <a:lnTo>
                    <a:pt x="402" y="413"/>
                  </a:lnTo>
                  <a:lnTo>
                    <a:pt x="401" y="414"/>
                  </a:lnTo>
                  <a:lnTo>
                    <a:pt x="400" y="415"/>
                  </a:lnTo>
                  <a:lnTo>
                    <a:pt x="399" y="416"/>
                  </a:lnTo>
                  <a:lnTo>
                    <a:pt x="398" y="416"/>
                  </a:lnTo>
                  <a:lnTo>
                    <a:pt x="397" y="417"/>
                  </a:lnTo>
                  <a:lnTo>
                    <a:pt x="396" y="418"/>
                  </a:lnTo>
                  <a:lnTo>
                    <a:pt x="395" y="418"/>
                  </a:lnTo>
                  <a:lnTo>
                    <a:pt x="394" y="418"/>
                  </a:lnTo>
                  <a:lnTo>
                    <a:pt x="392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89" y="419"/>
                  </a:lnTo>
                  <a:lnTo>
                    <a:pt x="388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4" y="419"/>
                  </a:lnTo>
                  <a:lnTo>
                    <a:pt x="383" y="419"/>
                  </a:lnTo>
                  <a:lnTo>
                    <a:pt x="383" y="419"/>
                  </a:lnTo>
                  <a:lnTo>
                    <a:pt x="382" y="418"/>
                  </a:lnTo>
                  <a:lnTo>
                    <a:pt x="381" y="418"/>
                  </a:lnTo>
                  <a:lnTo>
                    <a:pt x="380" y="417"/>
                  </a:lnTo>
                  <a:lnTo>
                    <a:pt x="379" y="416"/>
                  </a:lnTo>
                  <a:lnTo>
                    <a:pt x="378" y="416"/>
                  </a:lnTo>
                  <a:lnTo>
                    <a:pt x="377" y="415"/>
                  </a:lnTo>
                  <a:lnTo>
                    <a:pt x="377" y="414"/>
                  </a:lnTo>
                  <a:lnTo>
                    <a:pt x="376" y="414"/>
                  </a:lnTo>
                  <a:lnTo>
                    <a:pt x="376" y="413"/>
                  </a:lnTo>
                  <a:lnTo>
                    <a:pt x="375" y="412"/>
                  </a:lnTo>
                  <a:lnTo>
                    <a:pt x="375" y="412"/>
                  </a:lnTo>
                  <a:lnTo>
                    <a:pt x="374" y="410"/>
                  </a:lnTo>
                  <a:lnTo>
                    <a:pt x="372" y="406"/>
                  </a:lnTo>
                  <a:lnTo>
                    <a:pt x="372" y="405"/>
                  </a:lnTo>
                  <a:lnTo>
                    <a:pt x="372" y="405"/>
                  </a:lnTo>
                  <a:lnTo>
                    <a:pt x="371" y="404"/>
                  </a:lnTo>
                  <a:lnTo>
                    <a:pt x="371" y="403"/>
                  </a:lnTo>
                  <a:lnTo>
                    <a:pt x="369" y="400"/>
                  </a:lnTo>
                  <a:lnTo>
                    <a:pt x="368" y="399"/>
                  </a:lnTo>
                  <a:lnTo>
                    <a:pt x="367" y="399"/>
                  </a:lnTo>
                  <a:lnTo>
                    <a:pt x="366" y="398"/>
                  </a:lnTo>
                  <a:lnTo>
                    <a:pt x="365" y="397"/>
                  </a:lnTo>
                  <a:lnTo>
                    <a:pt x="360" y="394"/>
                  </a:lnTo>
                  <a:lnTo>
                    <a:pt x="359" y="393"/>
                  </a:lnTo>
                  <a:lnTo>
                    <a:pt x="358" y="392"/>
                  </a:lnTo>
                  <a:lnTo>
                    <a:pt x="357" y="391"/>
                  </a:lnTo>
                  <a:lnTo>
                    <a:pt x="357" y="390"/>
                  </a:lnTo>
                  <a:lnTo>
                    <a:pt x="356" y="389"/>
                  </a:lnTo>
                  <a:lnTo>
                    <a:pt x="355" y="388"/>
                  </a:lnTo>
                  <a:lnTo>
                    <a:pt x="354" y="386"/>
                  </a:lnTo>
                  <a:lnTo>
                    <a:pt x="352" y="382"/>
                  </a:lnTo>
                  <a:lnTo>
                    <a:pt x="351" y="381"/>
                  </a:lnTo>
                  <a:lnTo>
                    <a:pt x="351" y="380"/>
                  </a:lnTo>
                  <a:lnTo>
                    <a:pt x="350" y="380"/>
                  </a:lnTo>
                  <a:lnTo>
                    <a:pt x="349" y="379"/>
                  </a:lnTo>
                  <a:lnTo>
                    <a:pt x="348" y="379"/>
                  </a:lnTo>
                  <a:lnTo>
                    <a:pt x="347" y="378"/>
                  </a:lnTo>
                  <a:lnTo>
                    <a:pt x="346" y="378"/>
                  </a:lnTo>
                  <a:lnTo>
                    <a:pt x="345" y="377"/>
                  </a:lnTo>
                  <a:lnTo>
                    <a:pt x="344" y="377"/>
                  </a:lnTo>
                  <a:lnTo>
                    <a:pt x="343" y="377"/>
                  </a:lnTo>
                  <a:lnTo>
                    <a:pt x="343" y="377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7" y="379"/>
                  </a:lnTo>
                  <a:lnTo>
                    <a:pt x="336" y="379"/>
                  </a:lnTo>
                  <a:lnTo>
                    <a:pt x="335" y="379"/>
                  </a:lnTo>
                  <a:lnTo>
                    <a:pt x="334" y="379"/>
                  </a:lnTo>
                  <a:lnTo>
                    <a:pt x="333" y="379"/>
                  </a:lnTo>
                  <a:lnTo>
                    <a:pt x="330" y="378"/>
                  </a:lnTo>
                  <a:lnTo>
                    <a:pt x="329" y="378"/>
                  </a:lnTo>
                  <a:lnTo>
                    <a:pt x="323" y="377"/>
                  </a:lnTo>
                  <a:lnTo>
                    <a:pt x="322" y="377"/>
                  </a:lnTo>
                  <a:lnTo>
                    <a:pt x="321" y="376"/>
                  </a:lnTo>
                  <a:lnTo>
                    <a:pt x="319" y="376"/>
                  </a:lnTo>
                  <a:lnTo>
                    <a:pt x="319" y="375"/>
                  </a:lnTo>
                  <a:lnTo>
                    <a:pt x="318" y="375"/>
                  </a:lnTo>
                  <a:lnTo>
                    <a:pt x="316" y="374"/>
                  </a:lnTo>
                  <a:lnTo>
                    <a:pt x="312" y="371"/>
                  </a:lnTo>
                  <a:lnTo>
                    <a:pt x="311" y="370"/>
                  </a:lnTo>
                  <a:lnTo>
                    <a:pt x="310" y="370"/>
                  </a:lnTo>
                  <a:lnTo>
                    <a:pt x="309" y="369"/>
                  </a:lnTo>
                  <a:lnTo>
                    <a:pt x="308" y="369"/>
                  </a:lnTo>
                  <a:lnTo>
                    <a:pt x="307" y="369"/>
                  </a:lnTo>
                  <a:lnTo>
                    <a:pt x="306" y="368"/>
                  </a:lnTo>
                  <a:lnTo>
                    <a:pt x="303" y="368"/>
                  </a:lnTo>
                  <a:lnTo>
                    <a:pt x="302" y="368"/>
                  </a:lnTo>
                  <a:lnTo>
                    <a:pt x="301" y="368"/>
                  </a:lnTo>
                  <a:lnTo>
                    <a:pt x="297" y="367"/>
                  </a:lnTo>
                  <a:lnTo>
                    <a:pt x="296" y="367"/>
                  </a:lnTo>
                  <a:lnTo>
                    <a:pt x="295" y="367"/>
                  </a:lnTo>
                  <a:lnTo>
                    <a:pt x="293" y="367"/>
                  </a:lnTo>
                  <a:lnTo>
                    <a:pt x="290" y="367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1" y="368"/>
                  </a:lnTo>
                  <a:lnTo>
                    <a:pt x="278" y="369"/>
                  </a:lnTo>
                  <a:lnTo>
                    <a:pt x="274" y="370"/>
                  </a:lnTo>
                  <a:lnTo>
                    <a:pt x="267" y="372"/>
                  </a:lnTo>
                  <a:lnTo>
                    <a:pt x="266" y="372"/>
                  </a:lnTo>
                  <a:lnTo>
                    <a:pt x="264" y="372"/>
                  </a:lnTo>
                  <a:lnTo>
                    <a:pt x="263" y="372"/>
                  </a:lnTo>
                  <a:lnTo>
                    <a:pt x="262" y="373"/>
                  </a:lnTo>
                  <a:lnTo>
                    <a:pt x="261" y="372"/>
                  </a:lnTo>
                  <a:lnTo>
                    <a:pt x="261" y="372"/>
                  </a:lnTo>
                  <a:lnTo>
                    <a:pt x="260" y="372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8" y="371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6"/>
                  </a:lnTo>
                  <a:lnTo>
                    <a:pt x="255" y="366"/>
                  </a:lnTo>
                  <a:lnTo>
                    <a:pt x="255" y="365"/>
                  </a:lnTo>
                  <a:lnTo>
                    <a:pt x="254" y="364"/>
                  </a:lnTo>
                  <a:lnTo>
                    <a:pt x="253" y="363"/>
                  </a:lnTo>
                  <a:lnTo>
                    <a:pt x="252" y="362"/>
                  </a:lnTo>
                  <a:lnTo>
                    <a:pt x="250" y="361"/>
                  </a:lnTo>
                  <a:lnTo>
                    <a:pt x="249" y="361"/>
                  </a:lnTo>
                  <a:lnTo>
                    <a:pt x="248" y="360"/>
                  </a:lnTo>
                  <a:lnTo>
                    <a:pt x="247" y="360"/>
                  </a:lnTo>
                  <a:lnTo>
                    <a:pt x="245" y="359"/>
                  </a:lnTo>
                  <a:lnTo>
                    <a:pt x="243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9" y="359"/>
                  </a:lnTo>
                  <a:lnTo>
                    <a:pt x="238" y="359"/>
                  </a:lnTo>
                  <a:lnTo>
                    <a:pt x="237" y="359"/>
                  </a:lnTo>
                  <a:lnTo>
                    <a:pt x="237" y="359"/>
                  </a:lnTo>
                  <a:lnTo>
                    <a:pt x="235" y="360"/>
                  </a:lnTo>
                  <a:lnTo>
                    <a:pt x="235" y="360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3" y="356"/>
                  </a:lnTo>
                  <a:lnTo>
                    <a:pt x="231" y="353"/>
                  </a:lnTo>
                  <a:lnTo>
                    <a:pt x="231" y="352"/>
                  </a:lnTo>
                  <a:lnTo>
                    <a:pt x="230" y="351"/>
                  </a:lnTo>
                  <a:lnTo>
                    <a:pt x="229" y="350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8" y="349"/>
                  </a:lnTo>
                  <a:lnTo>
                    <a:pt x="227" y="349"/>
                  </a:lnTo>
                  <a:lnTo>
                    <a:pt x="227" y="348"/>
                  </a:lnTo>
                  <a:lnTo>
                    <a:pt x="226" y="348"/>
                  </a:lnTo>
                  <a:lnTo>
                    <a:pt x="226" y="348"/>
                  </a:lnTo>
                  <a:lnTo>
                    <a:pt x="225" y="349"/>
                  </a:lnTo>
                  <a:lnTo>
                    <a:pt x="224" y="349"/>
                  </a:lnTo>
                  <a:lnTo>
                    <a:pt x="223" y="349"/>
                  </a:lnTo>
                  <a:lnTo>
                    <a:pt x="222" y="350"/>
                  </a:lnTo>
                  <a:lnTo>
                    <a:pt x="221" y="351"/>
                  </a:lnTo>
                  <a:lnTo>
                    <a:pt x="219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8" y="353"/>
                  </a:lnTo>
                  <a:lnTo>
                    <a:pt x="217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6" y="352"/>
                  </a:lnTo>
                  <a:lnTo>
                    <a:pt x="215" y="352"/>
                  </a:lnTo>
                  <a:lnTo>
                    <a:pt x="215" y="351"/>
                  </a:lnTo>
                  <a:lnTo>
                    <a:pt x="214" y="350"/>
                  </a:lnTo>
                  <a:lnTo>
                    <a:pt x="214" y="349"/>
                  </a:lnTo>
                  <a:lnTo>
                    <a:pt x="214" y="349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5" y="346"/>
                  </a:lnTo>
                  <a:lnTo>
                    <a:pt x="216" y="345"/>
                  </a:lnTo>
                  <a:lnTo>
                    <a:pt x="216" y="344"/>
                  </a:lnTo>
                  <a:lnTo>
                    <a:pt x="216" y="343"/>
                  </a:lnTo>
                  <a:lnTo>
                    <a:pt x="216" y="343"/>
                  </a:lnTo>
                  <a:lnTo>
                    <a:pt x="216" y="342"/>
                  </a:lnTo>
                  <a:lnTo>
                    <a:pt x="216" y="341"/>
                  </a:lnTo>
                  <a:lnTo>
                    <a:pt x="216" y="341"/>
                  </a:lnTo>
                  <a:lnTo>
                    <a:pt x="215" y="340"/>
                  </a:lnTo>
                  <a:lnTo>
                    <a:pt x="214" y="337"/>
                  </a:lnTo>
                  <a:lnTo>
                    <a:pt x="212" y="334"/>
                  </a:lnTo>
                  <a:lnTo>
                    <a:pt x="211" y="332"/>
                  </a:lnTo>
                  <a:lnTo>
                    <a:pt x="209" y="330"/>
                  </a:lnTo>
                  <a:lnTo>
                    <a:pt x="208" y="329"/>
                  </a:lnTo>
                  <a:lnTo>
                    <a:pt x="206" y="327"/>
                  </a:lnTo>
                  <a:lnTo>
                    <a:pt x="203" y="324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193" y="316"/>
                  </a:lnTo>
                  <a:lnTo>
                    <a:pt x="192" y="315"/>
                  </a:lnTo>
                  <a:lnTo>
                    <a:pt x="191" y="315"/>
                  </a:lnTo>
                  <a:lnTo>
                    <a:pt x="191" y="314"/>
                  </a:lnTo>
                  <a:lnTo>
                    <a:pt x="190" y="313"/>
                  </a:lnTo>
                  <a:lnTo>
                    <a:pt x="189" y="311"/>
                  </a:lnTo>
                  <a:lnTo>
                    <a:pt x="188" y="310"/>
                  </a:lnTo>
                  <a:lnTo>
                    <a:pt x="187" y="308"/>
                  </a:lnTo>
                  <a:lnTo>
                    <a:pt x="186" y="307"/>
                  </a:lnTo>
                  <a:lnTo>
                    <a:pt x="186" y="306"/>
                  </a:lnTo>
                  <a:lnTo>
                    <a:pt x="185" y="304"/>
                  </a:lnTo>
                  <a:lnTo>
                    <a:pt x="183" y="303"/>
                  </a:lnTo>
                  <a:lnTo>
                    <a:pt x="182" y="302"/>
                  </a:lnTo>
                  <a:lnTo>
                    <a:pt x="182" y="301"/>
                  </a:lnTo>
                  <a:lnTo>
                    <a:pt x="181" y="300"/>
                  </a:lnTo>
                  <a:lnTo>
                    <a:pt x="180" y="300"/>
                  </a:lnTo>
                  <a:lnTo>
                    <a:pt x="180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78" y="299"/>
                  </a:lnTo>
                  <a:lnTo>
                    <a:pt x="178" y="300"/>
                  </a:lnTo>
                  <a:lnTo>
                    <a:pt x="177" y="300"/>
                  </a:lnTo>
                  <a:lnTo>
                    <a:pt x="176" y="301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4" y="302"/>
                  </a:lnTo>
                  <a:lnTo>
                    <a:pt x="173" y="302"/>
                  </a:lnTo>
                  <a:lnTo>
                    <a:pt x="173" y="302"/>
                  </a:lnTo>
                  <a:lnTo>
                    <a:pt x="172" y="302"/>
                  </a:lnTo>
                  <a:lnTo>
                    <a:pt x="171" y="301"/>
                  </a:lnTo>
                  <a:lnTo>
                    <a:pt x="170" y="301"/>
                  </a:lnTo>
                  <a:lnTo>
                    <a:pt x="169" y="300"/>
                  </a:lnTo>
                  <a:lnTo>
                    <a:pt x="168" y="299"/>
                  </a:lnTo>
                  <a:lnTo>
                    <a:pt x="167" y="299"/>
                  </a:lnTo>
                  <a:lnTo>
                    <a:pt x="166" y="298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4" y="296"/>
                  </a:lnTo>
                  <a:lnTo>
                    <a:pt x="164" y="295"/>
                  </a:lnTo>
                  <a:lnTo>
                    <a:pt x="163" y="294"/>
                  </a:lnTo>
                  <a:lnTo>
                    <a:pt x="163" y="293"/>
                  </a:lnTo>
                  <a:lnTo>
                    <a:pt x="163" y="291"/>
                  </a:lnTo>
                  <a:lnTo>
                    <a:pt x="162" y="289"/>
                  </a:lnTo>
                  <a:lnTo>
                    <a:pt x="162" y="288"/>
                  </a:lnTo>
                  <a:lnTo>
                    <a:pt x="162" y="286"/>
                  </a:lnTo>
                  <a:lnTo>
                    <a:pt x="162" y="285"/>
                  </a:lnTo>
                  <a:lnTo>
                    <a:pt x="162" y="284"/>
                  </a:lnTo>
                  <a:lnTo>
                    <a:pt x="162" y="283"/>
                  </a:lnTo>
                  <a:lnTo>
                    <a:pt x="162" y="282"/>
                  </a:lnTo>
                  <a:lnTo>
                    <a:pt x="163" y="280"/>
                  </a:lnTo>
                  <a:lnTo>
                    <a:pt x="164" y="276"/>
                  </a:lnTo>
                  <a:lnTo>
                    <a:pt x="164" y="275"/>
                  </a:lnTo>
                  <a:lnTo>
                    <a:pt x="164" y="274"/>
                  </a:lnTo>
                  <a:lnTo>
                    <a:pt x="164" y="273"/>
                  </a:lnTo>
                  <a:lnTo>
                    <a:pt x="164" y="272"/>
                  </a:lnTo>
                  <a:lnTo>
                    <a:pt x="164" y="271"/>
                  </a:lnTo>
                  <a:lnTo>
                    <a:pt x="164" y="269"/>
                  </a:lnTo>
                  <a:lnTo>
                    <a:pt x="164" y="268"/>
                  </a:lnTo>
                  <a:lnTo>
                    <a:pt x="163" y="266"/>
                  </a:lnTo>
                  <a:lnTo>
                    <a:pt x="163" y="265"/>
                  </a:lnTo>
                  <a:lnTo>
                    <a:pt x="162" y="264"/>
                  </a:lnTo>
                  <a:lnTo>
                    <a:pt x="162" y="263"/>
                  </a:lnTo>
                  <a:lnTo>
                    <a:pt x="161" y="262"/>
                  </a:lnTo>
                  <a:lnTo>
                    <a:pt x="161" y="261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8" y="259"/>
                  </a:lnTo>
                  <a:lnTo>
                    <a:pt x="158" y="259"/>
                  </a:lnTo>
                  <a:lnTo>
                    <a:pt x="157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3" y="260"/>
                  </a:lnTo>
                  <a:lnTo>
                    <a:pt x="152" y="260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4" y="263"/>
                  </a:lnTo>
                  <a:lnTo>
                    <a:pt x="142" y="264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37" y="265"/>
                  </a:lnTo>
                  <a:lnTo>
                    <a:pt x="136" y="265"/>
                  </a:lnTo>
                  <a:lnTo>
                    <a:pt x="133" y="264"/>
                  </a:lnTo>
                  <a:lnTo>
                    <a:pt x="132" y="264"/>
                  </a:lnTo>
                  <a:lnTo>
                    <a:pt x="131" y="264"/>
                  </a:lnTo>
                  <a:lnTo>
                    <a:pt x="129" y="263"/>
                  </a:lnTo>
                  <a:lnTo>
                    <a:pt x="125" y="261"/>
                  </a:lnTo>
                  <a:lnTo>
                    <a:pt x="124" y="261"/>
                  </a:lnTo>
                  <a:lnTo>
                    <a:pt x="123" y="260"/>
                  </a:lnTo>
                  <a:lnTo>
                    <a:pt x="122" y="259"/>
                  </a:lnTo>
                  <a:lnTo>
                    <a:pt x="121" y="258"/>
                  </a:lnTo>
                  <a:lnTo>
                    <a:pt x="120" y="257"/>
                  </a:lnTo>
                  <a:lnTo>
                    <a:pt x="119" y="257"/>
                  </a:lnTo>
                  <a:lnTo>
                    <a:pt x="118" y="256"/>
                  </a:lnTo>
                  <a:lnTo>
                    <a:pt x="116" y="255"/>
                  </a:lnTo>
                  <a:lnTo>
                    <a:pt x="115" y="255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3" y="253"/>
                  </a:lnTo>
                  <a:lnTo>
                    <a:pt x="112" y="252"/>
                  </a:lnTo>
                  <a:lnTo>
                    <a:pt x="112" y="251"/>
                  </a:lnTo>
                  <a:lnTo>
                    <a:pt x="111" y="249"/>
                  </a:lnTo>
                  <a:lnTo>
                    <a:pt x="110" y="248"/>
                  </a:lnTo>
                  <a:lnTo>
                    <a:pt x="109" y="247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3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4" y="237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3" y="235"/>
                  </a:lnTo>
                  <a:lnTo>
                    <a:pt x="103" y="234"/>
                  </a:lnTo>
                  <a:lnTo>
                    <a:pt x="101" y="232"/>
                  </a:lnTo>
                  <a:lnTo>
                    <a:pt x="101" y="231"/>
                  </a:lnTo>
                  <a:lnTo>
                    <a:pt x="100" y="229"/>
                  </a:lnTo>
                  <a:lnTo>
                    <a:pt x="100" y="228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0" y="224"/>
                  </a:lnTo>
                  <a:lnTo>
                    <a:pt x="100" y="222"/>
                  </a:lnTo>
                  <a:lnTo>
                    <a:pt x="99" y="221"/>
                  </a:lnTo>
                  <a:lnTo>
                    <a:pt x="99" y="220"/>
                  </a:lnTo>
                  <a:lnTo>
                    <a:pt x="98" y="218"/>
                  </a:lnTo>
                  <a:lnTo>
                    <a:pt x="97" y="216"/>
                  </a:lnTo>
                  <a:lnTo>
                    <a:pt x="96" y="213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5" y="212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0" y="211"/>
                  </a:lnTo>
                  <a:lnTo>
                    <a:pt x="90" y="212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9" y="214"/>
                  </a:lnTo>
                  <a:lnTo>
                    <a:pt x="90" y="215"/>
                  </a:lnTo>
                  <a:lnTo>
                    <a:pt x="91" y="222"/>
                  </a:lnTo>
                  <a:lnTo>
                    <a:pt x="92" y="223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6"/>
                  </a:lnTo>
                  <a:lnTo>
                    <a:pt x="91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0" y="228"/>
                  </a:lnTo>
                  <a:lnTo>
                    <a:pt x="89" y="229"/>
                  </a:lnTo>
                  <a:lnTo>
                    <a:pt x="89" y="230"/>
                  </a:lnTo>
                  <a:lnTo>
                    <a:pt x="88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7" y="230"/>
                  </a:lnTo>
                  <a:lnTo>
                    <a:pt x="86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3" y="230"/>
                  </a:lnTo>
                  <a:lnTo>
                    <a:pt x="82" y="231"/>
                  </a:lnTo>
                  <a:lnTo>
                    <a:pt x="82" y="231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8" y="234"/>
                  </a:lnTo>
                  <a:lnTo>
                    <a:pt x="78" y="235"/>
                  </a:lnTo>
                  <a:lnTo>
                    <a:pt x="77" y="236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6" y="238"/>
                  </a:lnTo>
                  <a:lnTo>
                    <a:pt x="74" y="240"/>
                  </a:lnTo>
                  <a:lnTo>
                    <a:pt x="74" y="240"/>
                  </a:lnTo>
                  <a:lnTo>
                    <a:pt x="73" y="241"/>
                  </a:lnTo>
                  <a:lnTo>
                    <a:pt x="72" y="243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0" y="244"/>
                  </a:lnTo>
                  <a:lnTo>
                    <a:pt x="70" y="244"/>
                  </a:lnTo>
                  <a:lnTo>
                    <a:pt x="69" y="244"/>
                  </a:lnTo>
                  <a:lnTo>
                    <a:pt x="69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74">
              <a:extLst>
                <a:ext uri="{FF2B5EF4-FFF2-40B4-BE49-F238E27FC236}">
                  <a16:creationId xmlns:a16="http://schemas.microsoft.com/office/drawing/2014/main" id="{9F7C3919-C732-DCFF-0664-17B9EE0FF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" y="3192"/>
              <a:ext cx="448" cy="419"/>
            </a:xfrm>
            <a:custGeom>
              <a:avLst/>
              <a:gdLst>
                <a:gd name="T0" fmla="*/ 99 w 448"/>
                <a:gd name="T1" fmla="*/ 8 h 419"/>
                <a:gd name="T2" fmla="*/ 98 w 448"/>
                <a:gd name="T3" fmla="*/ 24 h 419"/>
                <a:gd name="T4" fmla="*/ 107 w 448"/>
                <a:gd name="T5" fmla="*/ 45 h 419"/>
                <a:gd name="T6" fmla="*/ 95 w 448"/>
                <a:gd name="T7" fmla="*/ 56 h 419"/>
                <a:gd name="T8" fmla="*/ 65 w 448"/>
                <a:gd name="T9" fmla="*/ 71 h 419"/>
                <a:gd name="T10" fmla="*/ 65 w 448"/>
                <a:gd name="T11" fmla="*/ 83 h 419"/>
                <a:gd name="T12" fmla="*/ 87 w 448"/>
                <a:gd name="T13" fmla="*/ 97 h 419"/>
                <a:gd name="T14" fmla="*/ 103 w 448"/>
                <a:gd name="T15" fmla="*/ 108 h 419"/>
                <a:gd name="T16" fmla="*/ 119 w 448"/>
                <a:gd name="T17" fmla="*/ 138 h 419"/>
                <a:gd name="T18" fmla="*/ 139 w 448"/>
                <a:gd name="T19" fmla="*/ 154 h 419"/>
                <a:gd name="T20" fmla="*/ 161 w 448"/>
                <a:gd name="T21" fmla="*/ 153 h 419"/>
                <a:gd name="T22" fmla="*/ 191 w 448"/>
                <a:gd name="T23" fmla="*/ 139 h 419"/>
                <a:gd name="T24" fmla="*/ 193 w 448"/>
                <a:gd name="T25" fmla="*/ 130 h 419"/>
                <a:gd name="T26" fmla="*/ 185 w 448"/>
                <a:gd name="T27" fmla="*/ 122 h 419"/>
                <a:gd name="T28" fmla="*/ 198 w 448"/>
                <a:gd name="T29" fmla="*/ 118 h 419"/>
                <a:gd name="T30" fmla="*/ 215 w 448"/>
                <a:gd name="T31" fmla="*/ 142 h 419"/>
                <a:gd name="T32" fmla="*/ 234 w 448"/>
                <a:gd name="T33" fmla="*/ 146 h 419"/>
                <a:gd name="T34" fmla="*/ 246 w 448"/>
                <a:gd name="T35" fmla="*/ 149 h 419"/>
                <a:gd name="T36" fmla="*/ 265 w 448"/>
                <a:gd name="T37" fmla="*/ 161 h 419"/>
                <a:gd name="T38" fmla="*/ 278 w 448"/>
                <a:gd name="T39" fmla="*/ 177 h 419"/>
                <a:gd name="T40" fmla="*/ 286 w 448"/>
                <a:gd name="T41" fmla="*/ 167 h 419"/>
                <a:gd name="T42" fmla="*/ 311 w 448"/>
                <a:gd name="T43" fmla="*/ 170 h 419"/>
                <a:gd name="T44" fmla="*/ 341 w 448"/>
                <a:gd name="T45" fmla="*/ 183 h 419"/>
                <a:gd name="T46" fmla="*/ 348 w 448"/>
                <a:gd name="T47" fmla="*/ 175 h 419"/>
                <a:gd name="T48" fmla="*/ 356 w 448"/>
                <a:gd name="T49" fmla="*/ 183 h 419"/>
                <a:gd name="T50" fmla="*/ 363 w 448"/>
                <a:gd name="T51" fmla="*/ 200 h 419"/>
                <a:gd name="T52" fmla="*/ 359 w 448"/>
                <a:gd name="T53" fmla="*/ 220 h 419"/>
                <a:gd name="T54" fmla="*/ 377 w 448"/>
                <a:gd name="T55" fmla="*/ 264 h 419"/>
                <a:gd name="T56" fmla="*/ 397 w 448"/>
                <a:gd name="T57" fmla="*/ 273 h 419"/>
                <a:gd name="T58" fmla="*/ 418 w 448"/>
                <a:gd name="T59" fmla="*/ 282 h 419"/>
                <a:gd name="T60" fmla="*/ 432 w 448"/>
                <a:gd name="T61" fmla="*/ 292 h 419"/>
                <a:gd name="T62" fmla="*/ 446 w 448"/>
                <a:gd name="T63" fmla="*/ 338 h 419"/>
                <a:gd name="T64" fmla="*/ 443 w 448"/>
                <a:gd name="T65" fmla="*/ 357 h 419"/>
                <a:gd name="T66" fmla="*/ 415 w 448"/>
                <a:gd name="T67" fmla="*/ 369 h 419"/>
                <a:gd name="T68" fmla="*/ 378 w 448"/>
                <a:gd name="T69" fmla="*/ 368 h 419"/>
                <a:gd name="T70" fmla="*/ 361 w 448"/>
                <a:gd name="T71" fmla="*/ 367 h 419"/>
                <a:gd name="T72" fmla="*/ 355 w 448"/>
                <a:gd name="T73" fmla="*/ 384 h 419"/>
                <a:gd name="T74" fmla="*/ 332 w 448"/>
                <a:gd name="T75" fmla="*/ 415 h 419"/>
                <a:gd name="T76" fmla="*/ 315 w 448"/>
                <a:gd name="T77" fmla="*/ 419 h 419"/>
                <a:gd name="T78" fmla="*/ 303 w 448"/>
                <a:gd name="T79" fmla="*/ 403 h 419"/>
                <a:gd name="T80" fmla="*/ 282 w 448"/>
                <a:gd name="T81" fmla="*/ 380 h 419"/>
                <a:gd name="T82" fmla="*/ 261 w 448"/>
                <a:gd name="T83" fmla="*/ 378 h 419"/>
                <a:gd name="T84" fmla="*/ 233 w 448"/>
                <a:gd name="T85" fmla="*/ 368 h 419"/>
                <a:gd name="T86" fmla="*/ 193 w 448"/>
                <a:gd name="T87" fmla="*/ 372 h 419"/>
                <a:gd name="T88" fmla="*/ 177 w 448"/>
                <a:gd name="T89" fmla="*/ 359 h 419"/>
                <a:gd name="T90" fmla="*/ 162 w 448"/>
                <a:gd name="T91" fmla="*/ 351 h 419"/>
                <a:gd name="T92" fmla="*/ 150 w 448"/>
                <a:gd name="T93" fmla="*/ 353 h 419"/>
                <a:gd name="T94" fmla="*/ 148 w 448"/>
                <a:gd name="T95" fmla="*/ 342 h 419"/>
                <a:gd name="T96" fmla="*/ 122 w 448"/>
                <a:gd name="T97" fmla="*/ 313 h 419"/>
                <a:gd name="T98" fmla="*/ 110 w 448"/>
                <a:gd name="T99" fmla="*/ 300 h 419"/>
                <a:gd name="T100" fmla="*/ 96 w 448"/>
                <a:gd name="T101" fmla="*/ 296 h 419"/>
                <a:gd name="T102" fmla="*/ 96 w 448"/>
                <a:gd name="T103" fmla="*/ 272 h 419"/>
                <a:gd name="T104" fmla="*/ 88 w 448"/>
                <a:gd name="T105" fmla="*/ 259 h 419"/>
                <a:gd name="T106" fmla="*/ 61 w 448"/>
                <a:gd name="T107" fmla="*/ 263 h 419"/>
                <a:gd name="T108" fmla="*/ 42 w 448"/>
                <a:gd name="T109" fmla="*/ 248 h 419"/>
                <a:gd name="T110" fmla="*/ 32 w 448"/>
                <a:gd name="T111" fmla="*/ 229 h 419"/>
                <a:gd name="T112" fmla="*/ 24 w 448"/>
                <a:gd name="T113" fmla="*/ 211 h 419"/>
                <a:gd name="T114" fmla="*/ 22 w 448"/>
                <a:gd name="T115" fmla="*/ 228 h 419"/>
                <a:gd name="T116" fmla="*/ 12 w 448"/>
                <a:gd name="T117" fmla="*/ 232 h 419"/>
                <a:gd name="T118" fmla="*/ 2 w 448"/>
                <a:gd name="T119" fmla="*/ 24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8" h="419">
                  <a:moveTo>
                    <a:pt x="88" y="0"/>
                  </a:move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100" y="30"/>
                  </a:lnTo>
                  <a:lnTo>
                    <a:pt x="100" y="31"/>
                  </a:lnTo>
                  <a:lnTo>
                    <a:pt x="101" y="32"/>
                  </a:lnTo>
                  <a:lnTo>
                    <a:pt x="104" y="35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2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6" y="46"/>
                  </a:lnTo>
                  <a:lnTo>
                    <a:pt x="106" y="47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1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9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5" y="64"/>
                  </a:lnTo>
                  <a:lnTo>
                    <a:pt x="80" y="66"/>
                  </a:lnTo>
                  <a:lnTo>
                    <a:pt x="74" y="68"/>
                  </a:lnTo>
                  <a:lnTo>
                    <a:pt x="71" y="69"/>
                  </a:lnTo>
                  <a:lnTo>
                    <a:pt x="66" y="70"/>
                  </a:lnTo>
                  <a:lnTo>
                    <a:pt x="65" y="71"/>
                  </a:lnTo>
                  <a:lnTo>
                    <a:pt x="64" y="71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1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6" y="84"/>
                  </a:lnTo>
                  <a:lnTo>
                    <a:pt x="67" y="85"/>
                  </a:lnTo>
                  <a:lnTo>
                    <a:pt x="71" y="88"/>
                  </a:lnTo>
                  <a:lnTo>
                    <a:pt x="72" y="89"/>
                  </a:lnTo>
                  <a:lnTo>
                    <a:pt x="73" y="91"/>
                  </a:lnTo>
                  <a:lnTo>
                    <a:pt x="75" y="93"/>
                  </a:lnTo>
                  <a:lnTo>
                    <a:pt x="76" y="94"/>
                  </a:lnTo>
                  <a:lnTo>
                    <a:pt x="77" y="95"/>
                  </a:lnTo>
                  <a:lnTo>
                    <a:pt x="78" y="96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9" y="97"/>
                  </a:lnTo>
                  <a:lnTo>
                    <a:pt x="90" y="97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2" y="97"/>
                  </a:lnTo>
                  <a:lnTo>
                    <a:pt x="93" y="97"/>
                  </a:lnTo>
                  <a:lnTo>
                    <a:pt x="93" y="98"/>
                  </a:lnTo>
                  <a:lnTo>
                    <a:pt x="95" y="98"/>
                  </a:lnTo>
                  <a:lnTo>
                    <a:pt x="95" y="99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8" y="101"/>
                  </a:lnTo>
                  <a:lnTo>
                    <a:pt x="99" y="102"/>
                  </a:lnTo>
                  <a:lnTo>
                    <a:pt x="100" y="103"/>
                  </a:lnTo>
                  <a:lnTo>
                    <a:pt x="102" y="106"/>
                  </a:lnTo>
                  <a:lnTo>
                    <a:pt x="103" y="108"/>
                  </a:lnTo>
                  <a:lnTo>
                    <a:pt x="106" y="112"/>
                  </a:lnTo>
                  <a:lnTo>
                    <a:pt x="107" y="113"/>
                  </a:lnTo>
                  <a:lnTo>
                    <a:pt x="108" y="115"/>
                  </a:lnTo>
                  <a:lnTo>
                    <a:pt x="109" y="116"/>
                  </a:lnTo>
                  <a:lnTo>
                    <a:pt x="109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2" y="124"/>
                  </a:lnTo>
                  <a:lnTo>
                    <a:pt x="113" y="126"/>
                  </a:lnTo>
                  <a:lnTo>
                    <a:pt x="113" y="127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6" y="135"/>
                  </a:lnTo>
                  <a:lnTo>
                    <a:pt x="117" y="136"/>
                  </a:lnTo>
                  <a:lnTo>
                    <a:pt x="117" y="137"/>
                  </a:lnTo>
                  <a:lnTo>
                    <a:pt x="118" y="137"/>
                  </a:lnTo>
                  <a:lnTo>
                    <a:pt x="119" y="138"/>
                  </a:lnTo>
                  <a:lnTo>
                    <a:pt x="120" y="138"/>
                  </a:lnTo>
                  <a:lnTo>
                    <a:pt x="122" y="140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8" y="142"/>
                  </a:lnTo>
                  <a:lnTo>
                    <a:pt x="129" y="143"/>
                  </a:lnTo>
                  <a:lnTo>
                    <a:pt x="130" y="144"/>
                  </a:lnTo>
                  <a:lnTo>
                    <a:pt x="130" y="145"/>
                  </a:lnTo>
                  <a:lnTo>
                    <a:pt x="131" y="146"/>
                  </a:lnTo>
                  <a:lnTo>
                    <a:pt x="132" y="147"/>
                  </a:lnTo>
                  <a:lnTo>
                    <a:pt x="133" y="148"/>
                  </a:lnTo>
                  <a:lnTo>
                    <a:pt x="133" y="149"/>
                  </a:lnTo>
                  <a:lnTo>
                    <a:pt x="134" y="150"/>
                  </a:lnTo>
                  <a:lnTo>
                    <a:pt x="134" y="151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9" y="154"/>
                  </a:lnTo>
                  <a:lnTo>
                    <a:pt x="140" y="155"/>
                  </a:lnTo>
                  <a:lnTo>
                    <a:pt x="141" y="156"/>
                  </a:lnTo>
                  <a:lnTo>
                    <a:pt x="143" y="156"/>
                  </a:lnTo>
                  <a:lnTo>
                    <a:pt x="144" y="157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52" y="156"/>
                  </a:lnTo>
                  <a:lnTo>
                    <a:pt x="154" y="156"/>
                  </a:lnTo>
                  <a:lnTo>
                    <a:pt x="155" y="156"/>
                  </a:lnTo>
                  <a:lnTo>
                    <a:pt x="156" y="155"/>
                  </a:lnTo>
                  <a:lnTo>
                    <a:pt x="157" y="155"/>
                  </a:lnTo>
                  <a:lnTo>
                    <a:pt x="159" y="154"/>
                  </a:lnTo>
                  <a:lnTo>
                    <a:pt x="160" y="153"/>
                  </a:lnTo>
                  <a:lnTo>
                    <a:pt x="161" y="153"/>
                  </a:lnTo>
                  <a:lnTo>
                    <a:pt x="162" y="152"/>
                  </a:lnTo>
                  <a:lnTo>
                    <a:pt x="167" y="147"/>
                  </a:lnTo>
                  <a:lnTo>
                    <a:pt x="168" y="146"/>
                  </a:lnTo>
                  <a:lnTo>
                    <a:pt x="169" y="145"/>
                  </a:lnTo>
                  <a:lnTo>
                    <a:pt x="170" y="145"/>
                  </a:lnTo>
                  <a:lnTo>
                    <a:pt x="171" y="144"/>
                  </a:lnTo>
                  <a:lnTo>
                    <a:pt x="173" y="143"/>
                  </a:lnTo>
                  <a:lnTo>
                    <a:pt x="174" y="142"/>
                  </a:lnTo>
                  <a:lnTo>
                    <a:pt x="177" y="141"/>
                  </a:lnTo>
                  <a:lnTo>
                    <a:pt x="179" y="140"/>
                  </a:lnTo>
                  <a:lnTo>
                    <a:pt x="180" y="140"/>
                  </a:lnTo>
                  <a:lnTo>
                    <a:pt x="181" y="139"/>
                  </a:lnTo>
                  <a:lnTo>
                    <a:pt x="183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9" y="139"/>
                  </a:lnTo>
                  <a:lnTo>
                    <a:pt x="191" y="139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7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5" y="134"/>
                  </a:lnTo>
                  <a:lnTo>
                    <a:pt x="195" y="133"/>
                  </a:lnTo>
                  <a:lnTo>
                    <a:pt x="195" y="132"/>
                  </a:lnTo>
                  <a:lnTo>
                    <a:pt x="195" y="132"/>
                  </a:lnTo>
                  <a:lnTo>
                    <a:pt x="194" y="131"/>
                  </a:lnTo>
                  <a:lnTo>
                    <a:pt x="194" y="130"/>
                  </a:lnTo>
                  <a:lnTo>
                    <a:pt x="193" y="130"/>
                  </a:lnTo>
                  <a:lnTo>
                    <a:pt x="193" y="129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0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7" y="128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5" y="123"/>
                  </a:lnTo>
                  <a:lnTo>
                    <a:pt x="185" y="122"/>
                  </a:lnTo>
                  <a:lnTo>
                    <a:pt x="185" y="121"/>
                  </a:lnTo>
                  <a:lnTo>
                    <a:pt x="186" y="121"/>
                  </a:lnTo>
                  <a:lnTo>
                    <a:pt x="186" y="120"/>
                  </a:lnTo>
                  <a:lnTo>
                    <a:pt x="187" y="119"/>
                  </a:lnTo>
                  <a:lnTo>
                    <a:pt x="187" y="118"/>
                  </a:lnTo>
                  <a:lnTo>
                    <a:pt x="188" y="118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90" y="117"/>
                  </a:lnTo>
                  <a:lnTo>
                    <a:pt x="191" y="116"/>
                  </a:lnTo>
                  <a:lnTo>
                    <a:pt x="192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4" y="116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8" y="118"/>
                  </a:lnTo>
                  <a:lnTo>
                    <a:pt x="199" y="118"/>
                  </a:lnTo>
                  <a:lnTo>
                    <a:pt x="200" y="119"/>
                  </a:lnTo>
                  <a:lnTo>
                    <a:pt x="201" y="120"/>
                  </a:lnTo>
                  <a:lnTo>
                    <a:pt x="204" y="122"/>
                  </a:lnTo>
                  <a:lnTo>
                    <a:pt x="205" y="123"/>
                  </a:lnTo>
                  <a:lnTo>
                    <a:pt x="206" y="124"/>
                  </a:lnTo>
                  <a:lnTo>
                    <a:pt x="207" y="125"/>
                  </a:lnTo>
                  <a:lnTo>
                    <a:pt x="208" y="126"/>
                  </a:lnTo>
                  <a:lnTo>
                    <a:pt x="210" y="132"/>
                  </a:lnTo>
                  <a:lnTo>
                    <a:pt x="211" y="133"/>
                  </a:lnTo>
                  <a:lnTo>
                    <a:pt x="211" y="134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3" y="139"/>
                  </a:lnTo>
                  <a:lnTo>
                    <a:pt x="214" y="140"/>
                  </a:lnTo>
                  <a:lnTo>
                    <a:pt x="214" y="142"/>
                  </a:lnTo>
                  <a:lnTo>
                    <a:pt x="215" y="142"/>
                  </a:lnTo>
                  <a:lnTo>
                    <a:pt x="216" y="143"/>
                  </a:lnTo>
                  <a:lnTo>
                    <a:pt x="217" y="143"/>
                  </a:lnTo>
                  <a:lnTo>
                    <a:pt x="217" y="144"/>
                  </a:lnTo>
                  <a:lnTo>
                    <a:pt x="218" y="144"/>
                  </a:lnTo>
                  <a:lnTo>
                    <a:pt x="219" y="145"/>
                  </a:lnTo>
                  <a:lnTo>
                    <a:pt x="219" y="145"/>
                  </a:lnTo>
                  <a:lnTo>
                    <a:pt x="222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9" y="148"/>
                  </a:lnTo>
                  <a:lnTo>
                    <a:pt x="229" y="148"/>
                  </a:lnTo>
                  <a:lnTo>
                    <a:pt x="230" y="148"/>
                  </a:lnTo>
                  <a:lnTo>
                    <a:pt x="231" y="148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4" y="146"/>
                  </a:lnTo>
                  <a:lnTo>
                    <a:pt x="235" y="145"/>
                  </a:lnTo>
                  <a:lnTo>
                    <a:pt x="236" y="145"/>
                  </a:lnTo>
                  <a:lnTo>
                    <a:pt x="236" y="145"/>
                  </a:lnTo>
                  <a:lnTo>
                    <a:pt x="237" y="144"/>
                  </a:lnTo>
                  <a:lnTo>
                    <a:pt x="237" y="144"/>
                  </a:lnTo>
                  <a:lnTo>
                    <a:pt x="238" y="144"/>
                  </a:lnTo>
                  <a:lnTo>
                    <a:pt x="239" y="144"/>
                  </a:lnTo>
                  <a:lnTo>
                    <a:pt x="240" y="144"/>
                  </a:lnTo>
                  <a:lnTo>
                    <a:pt x="241" y="145"/>
                  </a:lnTo>
                  <a:lnTo>
                    <a:pt x="242" y="145"/>
                  </a:lnTo>
                  <a:lnTo>
                    <a:pt x="242" y="145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4" y="146"/>
                  </a:lnTo>
                  <a:lnTo>
                    <a:pt x="245" y="147"/>
                  </a:lnTo>
                  <a:lnTo>
                    <a:pt x="245" y="148"/>
                  </a:lnTo>
                  <a:lnTo>
                    <a:pt x="246" y="149"/>
                  </a:lnTo>
                  <a:lnTo>
                    <a:pt x="247" y="151"/>
                  </a:lnTo>
                  <a:lnTo>
                    <a:pt x="248" y="152"/>
                  </a:lnTo>
                  <a:lnTo>
                    <a:pt x="249" y="153"/>
                  </a:lnTo>
                  <a:lnTo>
                    <a:pt x="250" y="153"/>
                  </a:lnTo>
                  <a:lnTo>
                    <a:pt x="250" y="154"/>
                  </a:lnTo>
                  <a:lnTo>
                    <a:pt x="251" y="154"/>
                  </a:lnTo>
                  <a:lnTo>
                    <a:pt x="252" y="155"/>
                  </a:lnTo>
                  <a:lnTo>
                    <a:pt x="253" y="155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0" y="157"/>
                  </a:lnTo>
                  <a:lnTo>
                    <a:pt x="261" y="158"/>
                  </a:lnTo>
                  <a:lnTo>
                    <a:pt x="262" y="159"/>
                  </a:lnTo>
                  <a:lnTo>
                    <a:pt x="263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5" y="161"/>
                  </a:lnTo>
                  <a:lnTo>
                    <a:pt x="266" y="162"/>
                  </a:lnTo>
                  <a:lnTo>
                    <a:pt x="266" y="163"/>
                  </a:lnTo>
                  <a:lnTo>
                    <a:pt x="267" y="164"/>
                  </a:lnTo>
                  <a:lnTo>
                    <a:pt x="268" y="168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70" y="171"/>
                  </a:lnTo>
                  <a:lnTo>
                    <a:pt x="271" y="172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3" y="174"/>
                  </a:lnTo>
                  <a:lnTo>
                    <a:pt x="274" y="175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0" y="177"/>
                  </a:lnTo>
                  <a:lnTo>
                    <a:pt x="280" y="177"/>
                  </a:lnTo>
                  <a:lnTo>
                    <a:pt x="281" y="177"/>
                  </a:lnTo>
                  <a:lnTo>
                    <a:pt x="282" y="176"/>
                  </a:lnTo>
                  <a:lnTo>
                    <a:pt x="283" y="175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6" y="173"/>
                  </a:lnTo>
                  <a:lnTo>
                    <a:pt x="286" y="172"/>
                  </a:lnTo>
                  <a:lnTo>
                    <a:pt x="286" y="172"/>
                  </a:lnTo>
                  <a:lnTo>
                    <a:pt x="286" y="171"/>
                  </a:lnTo>
                  <a:lnTo>
                    <a:pt x="286" y="170"/>
                  </a:lnTo>
                  <a:lnTo>
                    <a:pt x="286" y="169"/>
                  </a:lnTo>
                  <a:lnTo>
                    <a:pt x="286" y="168"/>
                  </a:lnTo>
                  <a:lnTo>
                    <a:pt x="286" y="168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6" y="167"/>
                  </a:lnTo>
                  <a:lnTo>
                    <a:pt x="287" y="167"/>
                  </a:lnTo>
                  <a:lnTo>
                    <a:pt x="288" y="167"/>
                  </a:lnTo>
                  <a:lnTo>
                    <a:pt x="289" y="167"/>
                  </a:lnTo>
                  <a:lnTo>
                    <a:pt x="290" y="167"/>
                  </a:lnTo>
                  <a:lnTo>
                    <a:pt x="294" y="168"/>
                  </a:lnTo>
                  <a:lnTo>
                    <a:pt x="296" y="169"/>
                  </a:lnTo>
                  <a:lnTo>
                    <a:pt x="297" y="169"/>
                  </a:lnTo>
                  <a:lnTo>
                    <a:pt x="299" y="169"/>
                  </a:lnTo>
                  <a:lnTo>
                    <a:pt x="301" y="169"/>
                  </a:lnTo>
                  <a:lnTo>
                    <a:pt x="306" y="169"/>
                  </a:lnTo>
                  <a:lnTo>
                    <a:pt x="307" y="169"/>
                  </a:lnTo>
                  <a:lnTo>
                    <a:pt x="309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70"/>
                  </a:lnTo>
                  <a:lnTo>
                    <a:pt x="312" y="171"/>
                  </a:lnTo>
                  <a:lnTo>
                    <a:pt x="317" y="173"/>
                  </a:lnTo>
                  <a:lnTo>
                    <a:pt x="320" y="175"/>
                  </a:lnTo>
                  <a:lnTo>
                    <a:pt x="322" y="176"/>
                  </a:lnTo>
                  <a:lnTo>
                    <a:pt x="323" y="176"/>
                  </a:lnTo>
                  <a:lnTo>
                    <a:pt x="329" y="181"/>
                  </a:lnTo>
                  <a:lnTo>
                    <a:pt x="330" y="181"/>
                  </a:lnTo>
                  <a:lnTo>
                    <a:pt x="330" y="181"/>
                  </a:lnTo>
                  <a:lnTo>
                    <a:pt x="332" y="182"/>
                  </a:lnTo>
                  <a:lnTo>
                    <a:pt x="333" y="183"/>
                  </a:lnTo>
                  <a:lnTo>
                    <a:pt x="335" y="183"/>
                  </a:lnTo>
                  <a:lnTo>
                    <a:pt x="336" y="183"/>
                  </a:lnTo>
                  <a:lnTo>
                    <a:pt x="338" y="183"/>
                  </a:lnTo>
                  <a:lnTo>
                    <a:pt x="339" y="184"/>
                  </a:lnTo>
                  <a:lnTo>
                    <a:pt x="340" y="184"/>
                  </a:lnTo>
                  <a:lnTo>
                    <a:pt x="341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3" y="183"/>
                  </a:lnTo>
                  <a:lnTo>
                    <a:pt x="343" y="182"/>
                  </a:lnTo>
                  <a:lnTo>
                    <a:pt x="344" y="182"/>
                  </a:lnTo>
                  <a:lnTo>
                    <a:pt x="344" y="181"/>
                  </a:lnTo>
                  <a:lnTo>
                    <a:pt x="345" y="181"/>
                  </a:lnTo>
                  <a:lnTo>
                    <a:pt x="345" y="181"/>
                  </a:lnTo>
                  <a:lnTo>
                    <a:pt x="345" y="180"/>
                  </a:lnTo>
                  <a:lnTo>
                    <a:pt x="346" y="179"/>
                  </a:lnTo>
                  <a:lnTo>
                    <a:pt x="346" y="177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8" y="175"/>
                  </a:lnTo>
                  <a:lnTo>
                    <a:pt x="349" y="174"/>
                  </a:lnTo>
                  <a:lnTo>
                    <a:pt x="349" y="174"/>
                  </a:lnTo>
                  <a:lnTo>
                    <a:pt x="350" y="174"/>
                  </a:lnTo>
                  <a:lnTo>
                    <a:pt x="351" y="175"/>
                  </a:lnTo>
                  <a:lnTo>
                    <a:pt x="352" y="175"/>
                  </a:lnTo>
                  <a:lnTo>
                    <a:pt x="352" y="175"/>
                  </a:lnTo>
                  <a:lnTo>
                    <a:pt x="353" y="175"/>
                  </a:lnTo>
                  <a:lnTo>
                    <a:pt x="353" y="176"/>
                  </a:lnTo>
                  <a:lnTo>
                    <a:pt x="354" y="176"/>
                  </a:lnTo>
                  <a:lnTo>
                    <a:pt x="354" y="176"/>
                  </a:lnTo>
                  <a:lnTo>
                    <a:pt x="355" y="177"/>
                  </a:lnTo>
                  <a:lnTo>
                    <a:pt x="355" y="178"/>
                  </a:lnTo>
                  <a:lnTo>
                    <a:pt x="355" y="178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6" y="182"/>
                  </a:lnTo>
                  <a:lnTo>
                    <a:pt x="356" y="183"/>
                  </a:lnTo>
                  <a:lnTo>
                    <a:pt x="356" y="187"/>
                  </a:lnTo>
                  <a:lnTo>
                    <a:pt x="356" y="189"/>
                  </a:lnTo>
                  <a:lnTo>
                    <a:pt x="356" y="191"/>
                  </a:lnTo>
                  <a:lnTo>
                    <a:pt x="356" y="191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57" y="193"/>
                  </a:lnTo>
                  <a:lnTo>
                    <a:pt x="357" y="194"/>
                  </a:lnTo>
                  <a:lnTo>
                    <a:pt x="357" y="195"/>
                  </a:lnTo>
                  <a:lnTo>
                    <a:pt x="358" y="195"/>
                  </a:lnTo>
                  <a:lnTo>
                    <a:pt x="358" y="196"/>
                  </a:lnTo>
                  <a:lnTo>
                    <a:pt x="359" y="196"/>
                  </a:lnTo>
                  <a:lnTo>
                    <a:pt x="359" y="197"/>
                  </a:lnTo>
                  <a:lnTo>
                    <a:pt x="360" y="198"/>
                  </a:lnTo>
                  <a:lnTo>
                    <a:pt x="361" y="199"/>
                  </a:lnTo>
                  <a:lnTo>
                    <a:pt x="362" y="200"/>
                  </a:lnTo>
                  <a:lnTo>
                    <a:pt x="363" y="200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1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63" y="203"/>
                  </a:lnTo>
                  <a:lnTo>
                    <a:pt x="363" y="204"/>
                  </a:lnTo>
                  <a:lnTo>
                    <a:pt x="361" y="206"/>
                  </a:lnTo>
                  <a:lnTo>
                    <a:pt x="360" y="209"/>
                  </a:lnTo>
                  <a:lnTo>
                    <a:pt x="359" y="212"/>
                  </a:lnTo>
                  <a:lnTo>
                    <a:pt x="359" y="213"/>
                  </a:lnTo>
                  <a:lnTo>
                    <a:pt x="359" y="214"/>
                  </a:lnTo>
                  <a:lnTo>
                    <a:pt x="358" y="215"/>
                  </a:lnTo>
                  <a:lnTo>
                    <a:pt x="358" y="216"/>
                  </a:lnTo>
                  <a:lnTo>
                    <a:pt x="358" y="217"/>
                  </a:lnTo>
                  <a:lnTo>
                    <a:pt x="359" y="219"/>
                  </a:lnTo>
                  <a:lnTo>
                    <a:pt x="359" y="220"/>
                  </a:lnTo>
                  <a:lnTo>
                    <a:pt x="360" y="223"/>
                  </a:lnTo>
                  <a:lnTo>
                    <a:pt x="361" y="224"/>
                  </a:lnTo>
                  <a:lnTo>
                    <a:pt x="361" y="225"/>
                  </a:lnTo>
                  <a:lnTo>
                    <a:pt x="362" y="227"/>
                  </a:lnTo>
                  <a:lnTo>
                    <a:pt x="363" y="230"/>
                  </a:lnTo>
                  <a:lnTo>
                    <a:pt x="365" y="233"/>
                  </a:lnTo>
                  <a:lnTo>
                    <a:pt x="366" y="237"/>
                  </a:lnTo>
                  <a:lnTo>
                    <a:pt x="369" y="243"/>
                  </a:lnTo>
                  <a:lnTo>
                    <a:pt x="372" y="249"/>
                  </a:lnTo>
                  <a:lnTo>
                    <a:pt x="373" y="253"/>
                  </a:lnTo>
                  <a:lnTo>
                    <a:pt x="374" y="254"/>
                  </a:lnTo>
                  <a:lnTo>
                    <a:pt x="374" y="255"/>
                  </a:lnTo>
                  <a:lnTo>
                    <a:pt x="375" y="256"/>
                  </a:lnTo>
                  <a:lnTo>
                    <a:pt x="376" y="261"/>
                  </a:lnTo>
                  <a:lnTo>
                    <a:pt x="376" y="262"/>
                  </a:lnTo>
                  <a:lnTo>
                    <a:pt x="377" y="263"/>
                  </a:lnTo>
                  <a:lnTo>
                    <a:pt x="377" y="264"/>
                  </a:lnTo>
                  <a:lnTo>
                    <a:pt x="377" y="265"/>
                  </a:lnTo>
                  <a:lnTo>
                    <a:pt x="378" y="265"/>
                  </a:lnTo>
                  <a:lnTo>
                    <a:pt x="378" y="266"/>
                  </a:lnTo>
                  <a:lnTo>
                    <a:pt x="379" y="267"/>
                  </a:lnTo>
                  <a:lnTo>
                    <a:pt x="380" y="267"/>
                  </a:lnTo>
                  <a:lnTo>
                    <a:pt x="381" y="268"/>
                  </a:lnTo>
                  <a:lnTo>
                    <a:pt x="381" y="269"/>
                  </a:lnTo>
                  <a:lnTo>
                    <a:pt x="382" y="269"/>
                  </a:lnTo>
                  <a:lnTo>
                    <a:pt x="383" y="269"/>
                  </a:lnTo>
                  <a:lnTo>
                    <a:pt x="384" y="270"/>
                  </a:lnTo>
                  <a:lnTo>
                    <a:pt x="385" y="270"/>
                  </a:lnTo>
                  <a:lnTo>
                    <a:pt x="389" y="272"/>
                  </a:lnTo>
                  <a:lnTo>
                    <a:pt x="391" y="272"/>
                  </a:lnTo>
                  <a:lnTo>
                    <a:pt x="395" y="273"/>
                  </a:lnTo>
                  <a:lnTo>
                    <a:pt x="396" y="273"/>
                  </a:lnTo>
                  <a:lnTo>
                    <a:pt x="397" y="273"/>
                  </a:lnTo>
                  <a:lnTo>
                    <a:pt x="397" y="273"/>
                  </a:lnTo>
                  <a:lnTo>
                    <a:pt x="399" y="274"/>
                  </a:lnTo>
                  <a:lnTo>
                    <a:pt x="400" y="274"/>
                  </a:lnTo>
                  <a:lnTo>
                    <a:pt x="401" y="275"/>
                  </a:lnTo>
                  <a:lnTo>
                    <a:pt x="402" y="277"/>
                  </a:lnTo>
                  <a:lnTo>
                    <a:pt x="404" y="279"/>
                  </a:lnTo>
                  <a:lnTo>
                    <a:pt x="405" y="279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408" y="281"/>
                  </a:lnTo>
                  <a:lnTo>
                    <a:pt x="409" y="282"/>
                  </a:lnTo>
                  <a:lnTo>
                    <a:pt x="411" y="282"/>
                  </a:lnTo>
                  <a:lnTo>
                    <a:pt x="411" y="282"/>
                  </a:lnTo>
                  <a:lnTo>
                    <a:pt x="413" y="282"/>
                  </a:lnTo>
                  <a:lnTo>
                    <a:pt x="413" y="282"/>
                  </a:lnTo>
                  <a:lnTo>
                    <a:pt x="414" y="282"/>
                  </a:lnTo>
                  <a:lnTo>
                    <a:pt x="415" y="282"/>
                  </a:lnTo>
                  <a:lnTo>
                    <a:pt x="418" y="282"/>
                  </a:lnTo>
                  <a:lnTo>
                    <a:pt x="420" y="282"/>
                  </a:lnTo>
                  <a:lnTo>
                    <a:pt x="421" y="282"/>
                  </a:lnTo>
                  <a:lnTo>
                    <a:pt x="422" y="282"/>
                  </a:lnTo>
                  <a:lnTo>
                    <a:pt x="423" y="282"/>
                  </a:lnTo>
                  <a:lnTo>
                    <a:pt x="424" y="282"/>
                  </a:lnTo>
                  <a:lnTo>
                    <a:pt x="425" y="282"/>
                  </a:lnTo>
                  <a:lnTo>
                    <a:pt x="426" y="283"/>
                  </a:lnTo>
                  <a:lnTo>
                    <a:pt x="427" y="283"/>
                  </a:lnTo>
                  <a:lnTo>
                    <a:pt x="428" y="284"/>
                  </a:lnTo>
                  <a:lnTo>
                    <a:pt x="428" y="284"/>
                  </a:lnTo>
                  <a:lnTo>
                    <a:pt x="429" y="285"/>
                  </a:lnTo>
                  <a:lnTo>
                    <a:pt x="430" y="285"/>
                  </a:lnTo>
                  <a:lnTo>
                    <a:pt x="430" y="286"/>
                  </a:lnTo>
                  <a:lnTo>
                    <a:pt x="430" y="287"/>
                  </a:lnTo>
                  <a:lnTo>
                    <a:pt x="431" y="288"/>
                  </a:lnTo>
                  <a:lnTo>
                    <a:pt x="431" y="290"/>
                  </a:lnTo>
                  <a:lnTo>
                    <a:pt x="432" y="292"/>
                  </a:lnTo>
                  <a:lnTo>
                    <a:pt x="433" y="296"/>
                  </a:lnTo>
                  <a:lnTo>
                    <a:pt x="434" y="301"/>
                  </a:lnTo>
                  <a:lnTo>
                    <a:pt x="436" y="310"/>
                  </a:lnTo>
                  <a:lnTo>
                    <a:pt x="438" y="315"/>
                  </a:lnTo>
                  <a:lnTo>
                    <a:pt x="438" y="317"/>
                  </a:lnTo>
                  <a:lnTo>
                    <a:pt x="439" y="318"/>
                  </a:lnTo>
                  <a:lnTo>
                    <a:pt x="439" y="319"/>
                  </a:lnTo>
                  <a:lnTo>
                    <a:pt x="440" y="321"/>
                  </a:lnTo>
                  <a:lnTo>
                    <a:pt x="441" y="322"/>
                  </a:lnTo>
                  <a:lnTo>
                    <a:pt x="441" y="324"/>
                  </a:lnTo>
                  <a:lnTo>
                    <a:pt x="442" y="328"/>
                  </a:lnTo>
                  <a:lnTo>
                    <a:pt x="442" y="329"/>
                  </a:lnTo>
                  <a:lnTo>
                    <a:pt x="442" y="331"/>
                  </a:lnTo>
                  <a:lnTo>
                    <a:pt x="443" y="333"/>
                  </a:lnTo>
                  <a:lnTo>
                    <a:pt x="444" y="335"/>
                  </a:lnTo>
                  <a:lnTo>
                    <a:pt x="445" y="336"/>
                  </a:lnTo>
                  <a:lnTo>
                    <a:pt x="446" y="338"/>
                  </a:lnTo>
                  <a:lnTo>
                    <a:pt x="447" y="340"/>
                  </a:lnTo>
                  <a:lnTo>
                    <a:pt x="448" y="341"/>
                  </a:lnTo>
                  <a:lnTo>
                    <a:pt x="448" y="343"/>
                  </a:lnTo>
                  <a:lnTo>
                    <a:pt x="448" y="344"/>
                  </a:lnTo>
                  <a:lnTo>
                    <a:pt x="448" y="345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7" y="348"/>
                  </a:lnTo>
                  <a:lnTo>
                    <a:pt x="447" y="350"/>
                  </a:lnTo>
                  <a:lnTo>
                    <a:pt x="446" y="352"/>
                  </a:lnTo>
                  <a:lnTo>
                    <a:pt x="445" y="355"/>
                  </a:lnTo>
                  <a:lnTo>
                    <a:pt x="445" y="355"/>
                  </a:lnTo>
                  <a:lnTo>
                    <a:pt x="445" y="356"/>
                  </a:lnTo>
                  <a:lnTo>
                    <a:pt x="445" y="356"/>
                  </a:lnTo>
                  <a:lnTo>
                    <a:pt x="444" y="356"/>
                  </a:lnTo>
                  <a:lnTo>
                    <a:pt x="443" y="357"/>
                  </a:lnTo>
                  <a:lnTo>
                    <a:pt x="443" y="357"/>
                  </a:lnTo>
                  <a:lnTo>
                    <a:pt x="442" y="357"/>
                  </a:lnTo>
                  <a:lnTo>
                    <a:pt x="439" y="358"/>
                  </a:lnTo>
                  <a:lnTo>
                    <a:pt x="437" y="359"/>
                  </a:lnTo>
                  <a:lnTo>
                    <a:pt x="436" y="359"/>
                  </a:lnTo>
                  <a:lnTo>
                    <a:pt x="435" y="360"/>
                  </a:lnTo>
                  <a:lnTo>
                    <a:pt x="431" y="362"/>
                  </a:lnTo>
                  <a:lnTo>
                    <a:pt x="429" y="363"/>
                  </a:lnTo>
                  <a:lnTo>
                    <a:pt x="427" y="364"/>
                  </a:lnTo>
                  <a:lnTo>
                    <a:pt x="423" y="367"/>
                  </a:lnTo>
                  <a:lnTo>
                    <a:pt x="422" y="368"/>
                  </a:lnTo>
                  <a:lnTo>
                    <a:pt x="421" y="368"/>
                  </a:lnTo>
                  <a:lnTo>
                    <a:pt x="419" y="369"/>
                  </a:lnTo>
                  <a:lnTo>
                    <a:pt x="418" y="369"/>
                  </a:lnTo>
                  <a:lnTo>
                    <a:pt x="417" y="369"/>
                  </a:lnTo>
                  <a:lnTo>
                    <a:pt x="416" y="369"/>
                  </a:lnTo>
                  <a:lnTo>
                    <a:pt x="416" y="369"/>
                  </a:lnTo>
                  <a:lnTo>
                    <a:pt x="415" y="369"/>
                  </a:lnTo>
                  <a:lnTo>
                    <a:pt x="414" y="369"/>
                  </a:lnTo>
                  <a:lnTo>
                    <a:pt x="412" y="369"/>
                  </a:lnTo>
                  <a:lnTo>
                    <a:pt x="408" y="367"/>
                  </a:lnTo>
                  <a:lnTo>
                    <a:pt x="407" y="367"/>
                  </a:lnTo>
                  <a:lnTo>
                    <a:pt x="406" y="367"/>
                  </a:lnTo>
                  <a:lnTo>
                    <a:pt x="404" y="367"/>
                  </a:lnTo>
                  <a:lnTo>
                    <a:pt x="401" y="366"/>
                  </a:lnTo>
                  <a:lnTo>
                    <a:pt x="398" y="366"/>
                  </a:lnTo>
                  <a:lnTo>
                    <a:pt x="396" y="366"/>
                  </a:lnTo>
                  <a:lnTo>
                    <a:pt x="395" y="366"/>
                  </a:lnTo>
                  <a:lnTo>
                    <a:pt x="393" y="366"/>
                  </a:lnTo>
                  <a:lnTo>
                    <a:pt x="390" y="366"/>
                  </a:lnTo>
                  <a:lnTo>
                    <a:pt x="384" y="368"/>
                  </a:lnTo>
                  <a:lnTo>
                    <a:pt x="382" y="368"/>
                  </a:lnTo>
                  <a:lnTo>
                    <a:pt x="380" y="368"/>
                  </a:lnTo>
                  <a:lnTo>
                    <a:pt x="379" y="368"/>
                  </a:lnTo>
                  <a:lnTo>
                    <a:pt x="378" y="368"/>
                  </a:lnTo>
                  <a:lnTo>
                    <a:pt x="377" y="368"/>
                  </a:lnTo>
                  <a:lnTo>
                    <a:pt x="376" y="368"/>
                  </a:lnTo>
                  <a:lnTo>
                    <a:pt x="375" y="368"/>
                  </a:lnTo>
                  <a:lnTo>
                    <a:pt x="374" y="367"/>
                  </a:lnTo>
                  <a:lnTo>
                    <a:pt x="372" y="366"/>
                  </a:lnTo>
                  <a:lnTo>
                    <a:pt x="371" y="366"/>
                  </a:lnTo>
                  <a:lnTo>
                    <a:pt x="370" y="366"/>
                  </a:lnTo>
                  <a:lnTo>
                    <a:pt x="369" y="366"/>
                  </a:lnTo>
                  <a:lnTo>
                    <a:pt x="368" y="366"/>
                  </a:lnTo>
                  <a:lnTo>
                    <a:pt x="367" y="366"/>
                  </a:lnTo>
                  <a:lnTo>
                    <a:pt x="366" y="366"/>
                  </a:lnTo>
                  <a:lnTo>
                    <a:pt x="365" y="366"/>
                  </a:lnTo>
                  <a:lnTo>
                    <a:pt x="364" y="366"/>
                  </a:lnTo>
                  <a:lnTo>
                    <a:pt x="363" y="366"/>
                  </a:lnTo>
                  <a:lnTo>
                    <a:pt x="362" y="366"/>
                  </a:lnTo>
                  <a:lnTo>
                    <a:pt x="362" y="367"/>
                  </a:lnTo>
                  <a:lnTo>
                    <a:pt x="361" y="367"/>
                  </a:lnTo>
                  <a:lnTo>
                    <a:pt x="360" y="368"/>
                  </a:lnTo>
                  <a:lnTo>
                    <a:pt x="359" y="369"/>
                  </a:lnTo>
                  <a:lnTo>
                    <a:pt x="358" y="370"/>
                  </a:lnTo>
                  <a:lnTo>
                    <a:pt x="357" y="370"/>
                  </a:lnTo>
                  <a:lnTo>
                    <a:pt x="357" y="371"/>
                  </a:lnTo>
                  <a:lnTo>
                    <a:pt x="356" y="372"/>
                  </a:lnTo>
                  <a:lnTo>
                    <a:pt x="356" y="373"/>
                  </a:lnTo>
                  <a:lnTo>
                    <a:pt x="356" y="374"/>
                  </a:lnTo>
                  <a:lnTo>
                    <a:pt x="355" y="374"/>
                  </a:lnTo>
                  <a:lnTo>
                    <a:pt x="355" y="375"/>
                  </a:lnTo>
                  <a:lnTo>
                    <a:pt x="355" y="376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1"/>
                  </a:lnTo>
                  <a:lnTo>
                    <a:pt x="355" y="382"/>
                  </a:lnTo>
                  <a:lnTo>
                    <a:pt x="355" y="383"/>
                  </a:lnTo>
                  <a:lnTo>
                    <a:pt x="355" y="384"/>
                  </a:lnTo>
                  <a:lnTo>
                    <a:pt x="354" y="385"/>
                  </a:lnTo>
                  <a:lnTo>
                    <a:pt x="354" y="386"/>
                  </a:lnTo>
                  <a:lnTo>
                    <a:pt x="353" y="387"/>
                  </a:lnTo>
                  <a:lnTo>
                    <a:pt x="352" y="389"/>
                  </a:lnTo>
                  <a:lnTo>
                    <a:pt x="350" y="392"/>
                  </a:lnTo>
                  <a:lnTo>
                    <a:pt x="349" y="393"/>
                  </a:lnTo>
                  <a:lnTo>
                    <a:pt x="346" y="397"/>
                  </a:lnTo>
                  <a:lnTo>
                    <a:pt x="343" y="400"/>
                  </a:lnTo>
                  <a:lnTo>
                    <a:pt x="342" y="401"/>
                  </a:lnTo>
                  <a:lnTo>
                    <a:pt x="341" y="403"/>
                  </a:lnTo>
                  <a:lnTo>
                    <a:pt x="339" y="406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2"/>
                  </a:lnTo>
                  <a:lnTo>
                    <a:pt x="334" y="413"/>
                  </a:lnTo>
                  <a:lnTo>
                    <a:pt x="333" y="414"/>
                  </a:lnTo>
                  <a:lnTo>
                    <a:pt x="332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29" y="417"/>
                  </a:lnTo>
                  <a:lnTo>
                    <a:pt x="328" y="418"/>
                  </a:lnTo>
                  <a:lnTo>
                    <a:pt x="327" y="418"/>
                  </a:lnTo>
                  <a:lnTo>
                    <a:pt x="326" y="418"/>
                  </a:lnTo>
                  <a:lnTo>
                    <a:pt x="324" y="419"/>
                  </a:lnTo>
                  <a:lnTo>
                    <a:pt x="323" y="419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20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6" y="419"/>
                  </a:lnTo>
                  <a:lnTo>
                    <a:pt x="315" y="419"/>
                  </a:lnTo>
                  <a:lnTo>
                    <a:pt x="315" y="419"/>
                  </a:lnTo>
                  <a:lnTo>
                    <a:pt x="314" y="418"/>
                  </a:lnTo>
                  <a:lnTo>
                    <a:pt x="313" y="418"/>
                  </a:lnTo>
                  <a:lnTo>
                    <a:pt x="312" y="417"/>
                  </a:lnTo>
                  <a:lnTo>
                    <a:pt x="311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9" y="414"/>
                  </a:lnTo>
                  <a:lnTo>
                    <a:pt x="308" y="414"/>
                  </a:lnTo>
                  <a:lnTo>
                    <a:pt x="308" y="413"/>
                  </a:lnTo>
                  <a:lnTo>
                    <a:pt x="307" y="412"/>
                  </a:lnTo>
                  <a:lnTo>
                    <a:pt x="307" y="412"/>
                  </a:lnTo>
                  <a:lnTo>
                    <a:pt x="306" y="410"/>
                  </a:lnTo>
                  <a:lnTo>
                    <a:pt x="304" y="406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3" y="404"/>
                  </a:lnTo>
                  <a:lnTo>
                    <a:pt x="303" y="403"/>
                  </a:lnTo>
                  <a:lnTo>
                    <a:pt x="301" y="400"/>
                  </a:lnTo>
                  <a:lnTo>
                    <a:pt x="300" y="399"/>
                  </a:lnTo>
                  <a:lnTo>
                    <a:pt x="299" y="399"/>
                  </a:lnTo>
                  <a:lnTo>
                    <a:pt x="298" y="398"/>
                  </a:lnTo>
                  <a:lnTo>
                    <a:pt x="297" y="397"/>
                  </a:lnTo>
                  <a:lnTo>
                    <a:pt x="292" y="394"/>
                  </a:lnTo>
                  <a:lnTo>
                    <a:pt x="291" y="393"/>
                  </a:lnTo>
                  <a:lnTo>
                    <a:pt x="290" y="392"/>
                  </a:lnTo>
                  <a:lnTo>
                    <a:pt x="289" y="391"/>
                  </a:lnTo>
                  <a:lnTo>
                    <a:pt x="289" y="390"/>
                  </a:lnTo>
                  <a:lnTo>
                    <a:pt x="288" y="389"/>
                  </a:lnTo>
                  <a:lnTo>
                    <a:pt x="287" y="388"/>
                  </a:lnTo>
                  <a:lnTo>
                    <a:pt x="286" y="386"/>
                  </a:lnTo>
                  <a:lnTo>
                    <a:pt x="284" y="382"/>
                  </a:lnTo>
                  <a:lnTo>
                    <a:pt x="283" y="381"/>
                  </a:lnTo>
                  <a:lnTo>
                    <a:pt x="283" y="380"/>
                  </a:lnTo>
                  <a:lnTo>
                    <a:pt x="282" y="380"/>
                  </a:lnTo>
                  <a:lnTo>
                    <a:pt x="281" y="379"/>
                  </a:lnTo>
                  <a:lnTo>
                    <a:pt x="280" y="379"/>
                  </a:lnTo>
                  <a:lnTo>
                    <a:pt x="279" y="378"/>
                  </a:lnTo>
                  <a:lnTo>
                    <a:pt x="278" y="378"/>
                  </a:lnTo>
                  <a:lnTo>
                    <a:pt x="277" y="377"/>
                  </a:lnTo>
                  <a:lnTo>
                    <a:pt x="276" y="377"/>
                  </a:lnTo>
                  <a:lnTo>
                    <a:pt x="275" y="377"/>
                  </a:lnTo>
                  <a:lnTo>
                    <a:pt x="275" y="377"/>
                  </a:lnTo>
                  <a:lnTo>
                    <a:pt x="273" y="378"/>
                  </a:lnTo>
                  <a:lnTo>
                    <a:pt x="270" y="378"/>
                  </a:lnTo>
                  <a:lnTo>
                    <a:pt x="269" y="379"/>
                  </a:lnTo>
                  <a:lnTo>
                    <a:pt x="268" y="379"/>
                  </a:lnTo>
                  <a:lnTo>
                    <a:pt x="267" y="379"/>
                  </a:lnTo>
                  <a:lnTo>
                    <a:pt x="266" y="379"/>
                  </a:lnTo>
                  <a:lnTo>
                    <a:pt x="265" y="379"/>
                  </a:lnTo>
                  <a:lnTo>
                    <a:pt x="262" y="378"/>
                  </a:lnTo>
                  <a:lnTo>
                    <a:pt x="261" y="378"/>
                  </a:lnTo>
                  <a:lnTo>
                    <a:pt x="255" y="377"/>
                  </a:lnTo>
                  <a:lnTo>
                    <a:pt x="254" y="377"/>
                  </a:lnTo>
                  <a:lnTo>
                    <a:pt x="253" y="376"/>
                  </a:lnTo>
                  <a:lnTo>
                    <a:pt x="251" y="376"/>
                  </a:lnTo>
                  <a:lnTo>
                    <a:pt x="251" y="375"/>
                  </a:lnTo>
                  <a:lnTo>
                    <a:pt x="250" y="375"/>
                  </a:lnTo>
                  <a:lnTo>
                    <a:pt x="248" y="374"/>
                  </a:lnTo>
                  <a:lnTo>
                    <a:pt x="244" y="371"/>
                  </a:lnTo>
                  <a:lnTo>
                    <a:pt x="243" y="370"/>
                  </a:lnTo>
                  <a:lnTo>
                    <a:pt x="242" y="370"/>
                  </a:lnTo>
                  <a:lnTo>
                    <a:pt x="241" y="369"/>
                  </a:lnTo>
                  <a:lnTo>
                    <a:pt x="240" y="369"/>
                  </a:lnTo>
                  <a:lnTo>
                    <a:pt x="239" y="369"/>
                  </a:lnTo>
                  <a:lnTo>
                    <a:pt x="238" y="368"/>
                  </a:lnTo>
                  <a:lnTo>
                    <a:pt x="235" y="368"/>
                  </a:lnTo>
                  <a:lnTo>
                    <a:pt x="234" y="368"/>
                  </a:lnTo>
                  <a:lnTo>
                    <a:pt x="233" y="368"/>
                  </a:lnTo>
                  <a:lnTo>
                    <a:pt x="229" y="367"/>
                  </a:lnTo>
                  <a:lnTo>
                    <a:pt x="228" y="367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2" y="367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3" y="368"/>
                  </a:lnTo>
                  <a:lnTo>
                    <a:pt x="210" y="369"/>
                  </a:lnTo>
                  <a:lnTo>
                    <a:pt x="206" y="370"/>
                  </a:lnTo>
                  <a:lnTo>
                    <a:pt x="199" y="372"/>
                  </a:lnTo>
                  <a:lnTo>
                    <a:pt x="198" y="372"/>
                  </a:lnTo>
                  <a:lnTo>
                    <a:pt x="196" y="372"/>
                  </a:lnTo>
                  <a:lnTo>
                    <a:pt x="195" y="372"/>
                  </a:lnTo>
                  <a:lnTo>
                    <a:pt x="194" y="373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2" y="372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0" y="371"/>
                  </a:lnTo>
                  <a:lnTo>
                    <a:pt x="190" y="370"/>
                  </a:lnTo>
                  <a:lnTo>
                    <a:pt x="189" y="369"/>
                  </a:lnTo>
                  <a:lnTo>
                    <a:pt x="188" y="366"/>
                  </a:lnTo>
                  <a:lnTo>
                    <a:pt x="187" y="366"/>
                  </a:lnTo>
                  <a:lnTo>
                    <a:pt x="187" y="365"/>
                  </a:lnTo>
                  <a:lnTo>
                    <a:pt x="186" y="364"/>
                  </a:lnTo>
                  <a:lnTo>
                    <a:pt x="185" y="363"/>
                  </a:lnTo>
                  <a:lnTo>
                    <a:pt x="184" y="362"/>
                  </a:lnTo>
                  <a:lnTo>
                    <a:pt x="182" y="361"/>
                  </a:lnTo>
                  <a:lnTo>
                    <a:pt x="181" y="361"/>
                  </a:lnTo>
                  <a:lnTo>
                    <a:pt x="180" y="360"/>
                  </a:lnTo>
                  <a:lnTo>
                    <a:pt x="179" y="360"/>
                  </a:lnTo>
                  <a:lnTo>
                    <a:pt x="177" y="359"/>
                  </a:lnTo>
                  <a:lnTo>
                    <a:pt x="175" y="359"/>
                  </a:lnTo>
                  <a:lnTo>
                    <a:pt x="174" y="359"/>
                  </a:lnTo>
                  <a:lnTo>
                    <a:pt x="172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0" y="359"/>
                  </a:lnTo>
                  <a:lnTo>
                    <a:pt x="169" y="359"/>
                  </a:lnTo>
                  <a:lnTo>
                    <a:pt x="169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5" y="356"/>
                  </a:lnTo>
                  <a:lnTo>
                    <a:pt x="163" y="353"/>
                  </a:lnTo>
                  <a:lnTo>
                    <a:pt x="163" y="352"/>
                  </a:lnTo>
                  <a:lnTo>
                    <a:pt x="162" y="351"/>
                  </a:lnTo>
                  <a:lnTo>
                    <a:pt x="161" y="350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60" y="349"/>
                  </a:lnTo>
                  <a:lnTo>
                    <a:pt x="159" y="349"/>
                  </a:lnTo>
                  <a:lnTo>
                    <a:pt x="159" y="348"/>
                  </a:lnTo>
                  <a:lnTo>
                    <a:pt x="158" y="348"/>
                  </a:lnTo>
                  <a:lnTo>
                    <a:pt x="158" y="348"/>
                  </a:lnTo>
                  <a:lnTo>
                    <a:pt x="157" y="349"/>
                  </a:lnTo>
                  <a:lnTo>
                    <a:pt x="156" y="349"/>
                  </a:lnTo>
                  <a:lnTo>
                    <a:pt x="155" y="349"/>
                  </a:lnTo>
                  <a:lnTo>
                    <a:pt x="154" y="350"/>
                  </a:lnTo>
                  <a:lnTo>
                    <a:pt x="153" y="351"/>
                  </a:lnTo>
                  <a:lnTo>
                    <a:pt x="151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50" y="353"/>
                  </a:lnTo>
                  <a:lnTo>
                    <a:pt x="149" y="353"/>
                  </a:lnTo>
                  <a:lnTo>
                    <a:pt x="148" y="353"/>
                  </a:lnTo>
                  <a:lnTo>
                    <a:pt x="148" y="353"/>
                  </a:lnTo>
                  <a:lnTo>
                    <a:pt x="148" y="352"/>
                  </a:lnTo>
                  <a:lnTo>
                    <a:pt x="147" y="352"/>
                  </a:lnTo>
                  <a:lnTo>
                    <a:pt x="147" y="351"/>
                  </a:lnTo>
                  <a:lnTo>
                    <a:pt x="146" y="350"/>
                  </a:lnTo>
                  <a:lnTo>
                    <a:pt x="146" y="349"/>
                  </a:lnTo>
                  <a:lnTo>
                    <a:pt x="146" y="349"/>
                  </a:lnTo>
                  <a:lnTo>
                    <a:pt x="146" y="348"/>
                  </a:lnTo>
                  <a:lnTo>
                    <a:pt x="147" y="347"/>
                  </a:lnTo>
                  <a:lnTo>
                    <a:pt x="147" y="346"/>
                  </a:lnTo>
                  <a:lnTo>
                    <a:pt x="148" y="345"/>
                  </a:lnTo>
                  <a:lnTo>
                    <a:pt x="148" y="344"/>
                  </a:lnTo>
                  <a:lnTo>
                    <a:pt x="148" y="343"/>
                  </a:lnTo>
                  <a:lnTo>
                    <a:pt x="148" y="343"/>
                  </a:lnTo>
                  <a:lnTo>
                    <a:pt x="148" y="342"/>
                  </a:lnTo>
                  <a:lnTo>
                    <a:pt x="148" y="341"/>
                  </a:lnTo>
                  <a:lnTo>
                    <a:pt x="148" y="341"/>
                  </a:lnTo>
                  <a:lnTo>
                    <a:pt x="147" y="340"/>
                  </a:lnTo>
                  <a:lnTo>
                    <a:pt x="146" y="337"/>
                  </a:lnTo>
                  <a:lnTo>
                    <a:pt x="144" y="334"/>
                  </a:lnTo>
                  <a:lnTo>
                    <a:pt x="143" y="332"/>
                  </a:lnTo>
                  <a:lnTo>
                    <a:pt x="141" y="330"/>
                  </a:lnTo>
                  <a:lnTo>
                    <a:pt x="140" y="329"/>
                  </a:lnTo>
                  <a:lnTo>
                    <a:pt x="138" y="327"/>
                  </a:lnTo>
                  <a:lnTo>
                    <a:pt x="135" y="324"/>
                  </a:lnTo>
                  <a:lnTo>
                    <a:pt x="134" y="322"/>
                  </a:lnTo>
                  <a:lnTo>
                    <a:pt x="132" y="322"/>
                  </a:lnTo>
                  <a:lnTo>
                    <a:pt x="125" y="316"/>
                  </a:lnTo>
                  <a:lnTo>
                    <a:pt x="124" y="315"/>
                  </a:lnTo>
                  <a:lnTo>
                    <a:pt x="123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1"/>
                  </a:lnTo>
                  <a:lnTo>
                    <a:pt x="120" y="310"/>
                  </a:lnTo>
                  <a:lnTo>
                    <a:pt x="119" y="308"/>
                  </a:lnTo>
                  <a:lnTo>
                    <a:pt x="118" y="307"/>
                  </a:lnTo>
                  <a:lnTo>
                    <a:pt x="118" y="306"/>
                  </a:lnTo>
                  <a:lnTo>
                    <a:pt x="117" y="304"/>
                  </a:lnTo>
                  <a:lnTo>
                    <a:pt x="115" y="303"/>
                  </a:lnTo>
                  <a:lnTo>
                    <a:pt x="114" y="302"/>
                  </a:lnTo>
                  <a:lnTo>
                    <a:pt x="114" y="301"/>
                  </a:lnTo>
                  <a:lnTo>
                    <a:pt x="113" y="300"/>
                  </a:lnTo>
                  <a:lnTo>
                    <a:pt x="112" y="300"/>
                  </a:lnTo>
                  <a:lnTo>
                    <a:pt x="112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1" y="299"/>
                  </a:lnTo>
                  <a:lnTo>
                    <a:pt x="110" y="299"/>
                  </a:lnTo>
                  <a:lnTo>
                    <a:pt x="110" y="300"/>
                  </a:lnTo>
                  <a:lnTo>
                    <a:pt x="109" y="300"/>
                  </a:lnTo>
                  <a:lnTo>
                    <a:pt x="108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6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4" y="302"/>
                  </a:lnTo>
                  <a:lnTo>
                    <a:pt x="103" y="301"/>
                  </a:lnTo>
                  <a:lnTo>
                    <a:pt x="102" y="301"/>
                  </a:lnTo>
                  <a:lnTo>
                    <a:pt x="101" y="300"/>
                  </a:lnTo>
                  <a:lnTo>
                    <a:pt x="100" y="299"/>
                  </a:lnTo>
                  <a:lnTo>
                    <a:pt x="99" y="299"/>
                  </a:lnTo>
                  <a:lnTo>
                    <a:pt x="98" y="298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6" y="296"/>
                  </a:lnTo>
                  <a:lnTo>
                    <a:pt x="96" y="295"/>
                  </a:lnTo>
                  <a:lnTo>
                    <a:pt x="95" y="294"/>
                  </a:lnTo>
                  <a:lnTo>
                    <a:pt x="95" y="293"/>
                  </a:lnTo>
                  <a:lnTo>
                    <a:pt x="95" y="291"/>
                  </a:lnTo>
                  <a:lnTo>
                    <a:pt x="94" y="289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5"/>
                  </a:lnTo>
                  <a:lnTo>
                    <a:pt x="94" y="284"/>
                  </a:lnTo>
                  <a:lnTo>
                    <a:pt x="94" y="283"/>
                  </a:lnTo>
                  <a:lnTo>
                    <a:pt x="94" y="282"/>
                  </a:lnTo>
                  <a:lnTo>
                    <a:pt x="95" y="280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6" y="274"/>
                  </a:lnTo>
                  <a:lnTo>
                    <a:pt x="96" y="273"/>
                  </a:lnTo>
                  <a:lnTo>
                    <a:pt x="96" y="272"/>
                  </a:lnTo>
                  <a:lnTo>
                    <a:pt x="96" y="271"/>
                  </a:lnTo>
                  <a:lnTo>
                    <a:pt x="96" y="269"/>
                  </a:lnTo>
                  <a:lnTo>
                    <a:pt x="96" y="268"/>
                  </a:lnTo>
                  <a:lnTo>
                    <a:pt x="95" y="266"/>
                  </a:lnTo>
                  <a:lnTo>
                    <a:pt x="95" y="265"/>
                  </a:lnTo>
                  <a:lnTo>
                    <a:pt x="94" y="264"/>
                  </a:lnTo>
                  <a:lnTo>
                    <a:pt x="94" y="263"/>
                  </a:lnTo>
                  <a:lnTo>
                    <a:pt x="93" y="262"/>
                  </a:lnTo>
                  <a:lnTo>
                    <a:pt x="93" y="261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9"/>
                  </a:lnTo>
                  <a:lnTo>
                    <a:pt x="89" y="259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5" y="260"/>
                  </a:lnTo>
                  <a:lnTo>
                    <a:pt x="84" y="260"/>
                  </a:lnTo>
                  <a:lnTo>
                    <a:pt x="79" y="262"/>
                  </a:lnTo>
                  <a:lnTo>
                    <a:pt x="78" y="262"/>
                  </a:lnTo>
                  <a:lnTo>
                    <a:pt x="76" y="263"/>
                  </a:lnTo>
                  <a:lnTo>
                    <a:pt x="74" y="264"/>
                  </a:lnTo>
                  <a:lnTo>
                    <a:pt x="72" y="265"/>
                  </a:lnTo>
                  <a:lnTo>
                    <a:pt x="71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1" y="263"/>
                  </a:lnTo>
                  <a:lnTo>
                    <a:pt x="57" y="261"/>
                  </a:lnTo>
                  <a:lnTo>
                    <a:pt x="56" y="261"/>
                  </a:lnTo>
                  <a:lnTo>
                    <a:pt x="55" y="260"/>
                  </a:lnTo>
                  <a:lnTo>
                    <a:pt x="54" y="259"/>
                  </a:lnTo>
                  <a:lnTo>
                    <a:pt x="53" y="258"/>
                  </a:lnTo>
                  <a:lnTo>
                    <a:pt x="52" y="257"/>
                  </a:lnTo>
                  <a:lnTo>
                    <a:pt x="51" y="257"/>
                  </a:lnTo>
                  <a:lnTo>
                    <a:pt x="50" y="256"/>
                  </a:lnTo>
                  <a:lnTo>
                    <a:pt x="48" y="255"/>
                  </a:lnTo>
                  <a:lnTo>
                    <a:pt x="47" y="255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5" y="253"/>
                  </a:lnTo>
                  <a:lnTo>
                    <a:pt x="44" y="252"/>
                  </a:lnTo>
                  <a:lnTo>
                    <a:pt x="44" y="251"/>
                  </a:lnTo>
                  <a:lnTo>
                    <a:pt x="43" y="249"/>
                  </a:lnTo>
                  <a:lnTo>
                    <a:pt x="42" y="248"/>
                  </a:lnTo>
                  <a:lnTo>
                    <a:pt x="41" y="247"/>
                  </a:lnTo>
                  <a:lnTo>
                    <a:pt x="38" y="244"/>
                  </a:lnTo>
                  <a:lnTo>
                    <a:pt x="38" y="244"/>
                  </a:lnTo>
                  <a:lnTo>
                    <a:pt x="38" y="243"/>
                  </a:lnTo>
                  <a:lnTo>
                    <a:pt x="37" y="242"/>
                  </a:lnTo>
                  <a:lnTo>
                    <a:pt x="37" y="241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5" y="235"/>
                  </a:lnTo>
                  <a:lnTo>
                    <a:pt x="35" y="234"/>
                  </a:lnTo>
                  <a:lnTo>
                    <a:pt x="33" y="232"/>
                  </a:lnTo>
                  <a:lnTo>
                    <a:pt x="33" y="231"/>
                  </a:lnTo>
                  <a:lnTo>
                    <a:pt x="32" y="229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0" y="218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6" y="211"/>
                  </a:lnTo>
                  <a:lnTo>
                    <a:pt x="26" y="211"/>
                  </a:lnTo>
                  <a:lnTo>
                    <a:pt x="25" y="211"/>
                  </a:lnTo>
                  <a:lnTo>
                    <a:pt x="24" y="211"/>
                  </a:lnTo>
                  <a:lnTo>
                    <a:pt x="23" y="211"/>
                  </a:lnTo>
                  <a:lnTo>
                    <a:pt x="23" y="211"/>
                  </a:lnTo>
                  <a:lnTo>
                    <a:pt x="22" y="211"/>
                  </a:lnTo>
                  <a:lnTo>
                    <a:pt x="22" y="212"/>
                  </a:lnTo>
                  <a:lnTo>
                    <a:pt x="21" y="213"/>
                  </a:lnTo>
                  <a:lnTo>
                    <a:pt x="21" y="213"/>
                  </a:lnTo>
                  <a:lnTo>
                    <a:pt x="21" y="214"/>
                  </a:lnTo>
                  <a:lnTo>
                    <a:pt x="22" y="215"/>
                  </a:lnTo>
                  <a:lnTo>
                    <a:pt x="23" y="222"/>
                  </a:lnTo>
                  <a:lnTo>
                    <a:pt x="24" y="223"/>
                  </a:lnTo>
                  <a:lnTo>
                    <a:pt x="24" y="224"/>
                  </a:lnTo>
                  <a:lnTo>
                    <a:pt x="24" y="225"/>
                  </a:lnTo>
                  <a:lnTo>
                    <a:pt x="24" y="226"/>
                  </a:lnTo>
                  <a:lnTo>
                    <a:pt x="23" y="226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8"/>
                  </a:lnTo>
                  <a:lnTo>
                    <a:pt x="21" y="229"/>
                  </a:lnTo>
                  <a:lnTo>
                    <a:pt x="21" y="230"/>
                  </a:lnTo>
                  <a:lnTo>
                    <a:pt x="20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8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1"/>
                  </a:lnTo>
                  <a:lnTo>
                    <a:pt x="14" y="231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0" y="234"/>
                  </a:lnTo>
                  <a:lnTo>
                    <a:pt x="10" y="235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7"/>
                  </a:lnTo>
                  <a:lnTo>
                    <a:pt x="8" y="238"/>
                  </a:lnTo>
                  <a:lnTo>
                    <a:pt x="6" y="240"/>
                  </a:lnTo>
                  <a:lnTo>
                    <a:pt x="6" y="240"/>
                  </a:lnTo>
                  <a:lnTo>
                    <a:pt x="5" y="241"/>
                  </a:lnTo>
                  <a:lnTo>
                    <a:pt x="4" y="243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1" y="244"/>
                  </a:lnTo>
                  <a:lnTo>
                    <a:pt x="1" y="244"/>
                  </a:lnTo>
                  <a:lnTo>
                    <a:pt x="0" y="244"/>
                  </a:lnTo>
                  <a:lnTo>
                    <a:pt x="0" y="244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75">
              <a:extLst>
                <a:ext uri="{FF2B5EF4-FFF2-40B4-BE49-F238E27FC236}">
                  <a16:creationId xmlns:a16="http://schemas.microsoft.com/office/drawing/2014/main" id="{76245EC0-7445-3A62-8ECC-7AE9571C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192"/>
              <a:ext cx="156" cy="244"/>
            </a:xfrm>
            <a:custGeom>
              <a:avLst/>
              <a:gdLst>
                <a:gd name="T0" fmla="*/ 65 w 156"/>
                <a:gd name="T1" fmla="*/ 239 h 244"/>
                <a:gd name="T2" fmla="*/ 64 w 156"/>
                <a:gd name="T3" fmla="*/ 235 h 244"/>
                <a:gd name="T4" fmla="*/ 66 w 156"/>
                <a:gd name="T5" fmla="*/ 223 h 244"/>
                <a:gd name="T6" fmla="*/ 65 w 156"/>
                <a:gd name="T7" fmla="*/ 220 h 244"/>
                <a:gd name="T8" fmla="*/ 61 w 156"/>
                <a:gd name="T9" fmla="*/ 217 h 244"/>
                <a:gd name="T10" fmla="*/ 56 w 156"/>
                <a:gd name="T11" fmla="*/ 217 h 244"/>
                <a:gd name="T12" fmla="*/ 50 w 156"/>
                <a:gd name="T13" fmla="*/ 220 h 244"/>
                <a:gd name="T14" fmla="*/ 44 w 156"/>
                <a:gd name="T15" fmla="*/ 223 h 244"/>
                <a:gd name="T16" fmla="*/ 35 w 156"/>
                <a:gd name="T17" fmla="*/ 231 h 244"/>
                <a:gd name="T18" fmla="*/ 32 w 156"/>
                <a:gd name="T19" fmla="*/ 234 h 244"/>
                <a:gd name="T20" fmla="*/ 22 w 156"/>
                <a:gd name="T21" fmla="*/ 235 h 244"/>
                <a:gd name="T22" fmla="*/ 20 w 156"/>
                <a:gd name="T23" fmla="*/ 234 h 244"/>
                <a:gd name="T24" fmla="*/ 19 w 156"/>
                <a:gd name="T25" fmla="*/ 230 h 244"/>
                <a:gd name="T26" fmla="*/ 20 w 156"/>
                <a:gd name="T27" fmla="*/ 222 h 244"/>
                <a:gd name="T28" fmla="*/ 19 w 156"/>
                <a:gd name="T29" fmla="*/ 221 h 244"/>
                <a:gd name="T30" fmla="*/ 13 w 156"/>
                <a:gd name="T31" fmla="*/ 222 h 244"/>
                <a:gd name="T32" fmla="*/ 9 w 156"/>
                <a:gd name="T33" fmla="*/ 222 h 244"/>
                <a:gd name="T34" fmla="*/ 5 w 156"/>
                <a:gd name="T35" fmla="*/ 217 h 244"/>
                <a:gd name="T36" fmla="*/ 0 w 156"/>
                <a:gd name="T37" fmla="*/ 211 h 244"/>
                <a:gd name="T38" fmla="*/ 0 w 156"/>
                <a:gd name="T39" fmla="*/ 208 h 244"/>
                <a:gd name="T40" fmla="*/ 2 w 156"/>
                <a:gd name="T41" fmla="*/ 201 h 244"/>
                <a:gd name="T42" fmla="*/ 4 w 156"/>
                <a:gd name="T43" fmla="*/ 195 h 244"/>
                <a:gd name="T44" fmla="*/ 4 w 156"/>
                <a:gd name="T45" fmla="*/ 190 h 244"/>
                <a:gd name="T46" fmla="*/ 10 w 156"/>
                <a:gd name="T47" fmla="*/ 182 h 244"/>
                <a:gd name="T48" fmla="*/ 12 w 156"/>
                <a:gd name="T49" fmla="*/ 177 h 244"/>
                <a:gd name="T50" fmla="*/ 11 w 156"/>
                <a:gd name="T51" fmla="*/ 174 h 244"/>
                <a:gd name="T52" fmla="*/ 9 w 156"/>
                <a:gd name="T53" fmla="*/ 170 h 244"/>
                <a:gd name="T54" fmla="*/ 3 w 156"/>
                <a:gd name="T55" fmla="*/ 162 h 244"/>
                <a:gd name="T56" fmla="*/ 2 w 156"/>
                <a:gd name="T57" fmla="*/ 160 h 244"/>
                <a:gd name="T58" fmla="*/ 4 w 156"/>
                <a:gd name="T59" fmla="*/ 149 h 244"/>
                <a:gd name="T60" fmla="*/ 8 w 156"/>
                <a:gd name="T61" fmla="*/ 142 h 244"/>
                <a:gd name="T62" fmla="*/ 17 w 156"/>
                <a:gd name="T63" fmla="*/ 130 h 244"/>
                <a:gd name="T64" fmla="*/ 19 w 156"/>
                <a:gd name="T65" fmla="*/ 124 h 244"/>
                <a:gd name="T66" fmla="*/ 20 w 156"/>
                <a:gd name="T67" fmla="*/ 114 h 244"/>
                <a:gd name="T68" fmla="*/ 20 w 156"/>
                <a:gd name="T69" fmla="*/ 104 h 244"/>
                <a:gd name="T70" fmla="*/ 23 w 156"/>
                <a:gd name="T71" fmla="*/ 96 h 244"/>
                <a:gd name="T72" fmla="*/ 24 w 156"/>
                <a:gd name="T73" fmla="*/ 88 h 244"/>
                <a:gd name="T74" fmla="*/ 34 w 156"/>
                <a:gd name="T75" fmla="*/ 76 h 244"/>
                <a:gd name="T76" fmla="*/ 40 w 156"/>
                <a:gd name="T77" fmla="*/ 71 h 244"/>
                <a:gd name="T78" fmla="*/ 46 w 156"/>
                <a:gd name="T79" fmla="*/ 66 h 244"/>
                <a:gd name="T80" fmla="*/ 52 w 156"/>
                <a:gd name="T81" fmla="*/ 63 h 244"/>
                <a:gd name="T82" fmla="*/ 60 w 156"/>
                <a:gd name="T83" fmla="*/ 54 h 244"/>
                <a:gd name="T84" fmla="*/ 64 w 156"/>
                <a:gd name="T85" fmla="*/ 52 h 244"/>
                <a:gd name="T86" fmla="*/ 70 w 156"/>
                <a:gd name="T87" fmla="*/ 53 h 244"/>
                <a:gd name="T88" fmla="*/ 74 w 156"/>
                <a:gd name="T89" fmla="*/ 52 h 244"/>
                <a:gd name="T90" fmla="*/ 76 w 156"/>
                <a:gd name="T91" fmla="*/ 48 h 244"/>
                <a:gd name="T92" fmla="*/ 77 w 156"/>
                <a:gd name="T93" fmla="*/ 34 h 244"/>
                <a:gd name="T94" fmla="*/ 79 w 156"/>
                <a:gd name="T95" fmla="*/ 33 h 244"/>
                <a:gd name="T96" fmla="*/ 86 w 156"/>
                <a:gd name="T97" fmla="*/ 28 h 244"/>
                <a:gd name="T98" fmla="*/ 96 w 156"/>
                <a:gd name="T99" fmla="*/ 24 h 244"/>
                <a:gd name="T100" fmla="*/ 104 w 156"/>
                <a:gd name="T101" fmla="*/ 24 h 244"/>
                <a:gd name="T102" fmla="*/ 116 w 156"/>
                <a:gd name="T103" fmla="*/ 24 h 244"/>
                <a:gd name="T104" fmla="*/ 124 w 156"/>
                <a:gd name="T105" fmla="*/ 22 h 244"/>
                <a:gd name="T106" fmla="*/ 129 w 156"/>
                <a:gd name="T107" fmla="*/ 24 h 244"/>
                <a:gd name="T108" fmla="*/ 136 w 156"/>
                <a:gd name="T109" fmla="*/ 23 h 244"/>
                <a:gd name="T110" fmla="*/ 144 w 156"/>
                <a:gd name="T111" fmla="*/ 18 h 244"/>
                <a:gd name="T112" fmla="*/ 150 w 156"/>
                <a:gd name="T113" fmla="*/ 11 h 244"/>
                <a:gd name="T114" fmla="*/ 153 w 156"/>
                <a:gd name="T115" fmla="*/ 2 h 244"/>
                <a:gd name="T116" fmla="*/ 155 w 156"/>
                <a:gd name="T1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244">
                  <a:moveTo>
                    <a:pt x="68" y="244"/>
                  </a:moveTo>
                  <a:lnTo>
                    <a:pt x="67" y="243"/>
                  </a:lnTo>
                  <a:lnTo>
                    <a:pt x="66" y="242"/>
                  </a:lnTo>
                  <a:lnTo>
                    <a:pt x="65" y="241"/>
                  </a:lnTo>
                  <a:lnTo>
                    <a:pt x="65" y="239"/>
                  </a:lnTo>
                  <a:lnTo>
                    <a:pt x="64" y="238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2"/>
                  </a:lnTo>
                  <a:lnTo>
                    <a:pt x="65" y="228"/>
                  </a:lnTo>
                  <a:lnTo>
                    <a:pt x="66" y="226"/>
                  </a:lnTo>
                  <a:lnTo>
                    <a:pt x="66" y="224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2"/>
                  </a:lnTo>
                  <a:lnTo>
                    <a:pt x="66" y="221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8" y="217"/>
                  </a:lnTo>
                  <a:lnTo>
                    <a:pt x="56" y="217"/>
                  </a:lnTo>
                  <a:lnTo>
                    <a:pt x="54" y="218"/>
                  </a:lnTo>
                  <a:lnTo>
                    <a:pt x="54" y="218"/>
                  </a:lnTo>
                  <a:lnTo>
                    <a:pt x="53" y="218"/>
                  </a:lnTo>
                  <a:lnTo>
                    <a:pt x="51" y="219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8" y="220"/>
                  </a:lnTo>
                  <a:lnTo>
                    <a:pt x="47" y="221"/>
                  </a:lnTo>
                  <a:lnTo>
                    <a:pt x="45" y="222"/>
                  </a:lnTo>
                  <a:lnTo>
                    <a:pt x="44" y="223"/>
                  </a:lnTo>
                  <a:lnTo>
                    <a:pt x="41" y="226"/>
                  </a:lnTo>
                  <a:lnTo>
                    <a:pt x="38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5" y="231"/>
                  </a:lnTo>
                  <a:lnTo>
                    <a:pt x="34" y="232"/>
                  </a:lnTo>
                  <a:lnTo>
                    <a:pt x="33" y="233"/>
                  </a:lnTo>
                  <a:lnTo>
                    <a:pt x="33" y="234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1" y="235"/>
                  </a:lnTo>
                  <a:lnTo>
                    <a:pt x="30" y="235"/>
                  </a:lnTo>
                  <a:lnTo>
                    <a:pt x="27" y="235"/>
                  </a:lnTo>
                  <a:lnTo>
                    <a:pt x="23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1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19" y="232"/>
                  </a:lnTo>
                  <a:lnTo>
                    <a:pt x="19" y="231"/>
                  </a:lnTo>
                  <a:lnTo>
                    <a:pt x="19" y="230"/>
                  </a:lnTo>
                  <a:lnTo>
                    <a:pt x="19" y="229"/>
                  </a:lnTo>
                  <a:lnTo>
                    <a:pt x="20" y="226"/>
                  </a:lnTo>
                  <a:lnTo>
                    <a:pt x="20" y="224"/>
                  </a:lnTo>
                  <a:lnTo>
                    <a:pt x="20" y="223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0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6" y="222"/>
                  </a:lnTo>
                  <a:lnTo>
                    <a:pt x="15" y="222"/>
                  </a:lnTo>
                  <a:lnTo>
                    <a:pt x="13" y="222"/>
                  </a:lnTo>
                  <a:lnTo>
                    <a:pt x="12" y="223"/>
                  </a:lnTo>
                  <a:lnTo>
                    <a:pt x="11" y="223"/>
                  </a:lnTo>
                  <a:lnTo>
                    <a:pt x="10" y="223"/>
                  </a:lnTo>
                  <a:lnTo>
                    <a:pt x="10" y="222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8" y="221"/>
                  </a:lnTo>
                  <a:lnTo>
                    <a:pt x="7" y="220"/>
                  </a:lnTo>
                  <a:lnTo>
                    <a:pt x="6" y="220"/>
                  </a:lnTo>
                  <a:lnTo>
                    <a:pt x="5" y="217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0" y="206"/>
                  </a:lnTo>
                  <a:lnTo>
                    <a:pt x="0" y="205"/>
                  </a:lnTo>
                  <a:lnTo>
                    <a:pt x="1" y="204"/>
                  </a:lnTo>
                  <a:lnTo>
                    <a:pt x="2" y="201"/>
                  </a:lnTo>
                  <a:lnTo>
                    <a:pt x="3" y="199"/>
                  </a:lnTo>
                  <a:lnTo>
                    <a:pt x="3" y="198"/>
                  </a:lnTo>
                  <a:lnTo>
                    <a:pt x="4" y="197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4" y="193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6" y="188"/>
                  </a:lnTo>
                  <a:lnTo>
                    <a:pt x="7" y="186"/>
                  </a:lnTo>
                  <a:lnTo>
                    <a:pt x="9" y="183"/>
                  </a:lnTo>
                  <a:lnTo>
                    <a:pt x="10" y="182"/>
                  </a:lnTo>
                  <a:lnTo>
                    <a:pt x="10" y="181"/>
                  </a:lnTo>
                  <a:lnTo>
                    <a:pt x="11" y="180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7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5"/>
                  </a:lnTo>
                  <a:lnTo>
                    <a:pt x="12" y="174"/>
                  </a:lnTo>
                  <a:lnTo>
                    <a:pt x="11" y="174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0" y="172"/>
                  </a:lnTo>
                  <a:lnTo>
                    <a:pt x="10" y="171"/>
                  </a:lnTo>
                  <a:lnTo>
                    <a:pt x="9" y="170"/>
                  </a:lnTo>
                  <a:lnTo>
                    <a:pt x="5" y="166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3" y="156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7"/>
                  </a:lnTo>
                  <a:lnTo>
                    <a:pt x="6" y="145"/>
                  </a:lnTo>
                  <a:lnTo>
                    <a:pt x="7" y="143"/>
                  </a:lnTo>
                  <a:lnTo>
                    <a:pt x="8" y="142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18" y="129"/>
                  </a:lnTo>
                  <a:lnTo>
                    <a:pt x="18" y="128"/>
                  </a:lnTo>
                  <a:lnTo>
                    <a:pt x="19" y="127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20" y="123"/>
                  </a:lnTo>
                  <a:lnTo>
                    <a:pt x="20" y="122"/>
                  </a:lnTo>
                  <a:lnTo>
                    <a:pt x="20" y="120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9" y="106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3"/>
                  </a:lnTo>
                  <a:lnTo>
                    <a:pt x="22" y="99"/>
                  </a:lnTo>
                  <a:lnTo>
                    <a:pt x="23" y="98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7" y="84"/>
                  </a:lnTo>
                  <a:lnTo>
                    <a:pt x="32" y="78"/>
                  </a:lnTo>
                  <a:lnTo>
                    <a:pt x="34" y="76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8" y="72"/>
                  </a:lnTo>
                  <a:lnTo>
                    <a:pt x="39" y="71"/>
                  </a:lnTo>
                  <a:lnTo>
                    <a:pt x="40" y="71"/>
                  </a:lnTo>
                  <a:lnTo>
                    <a:pt x="42" y="68"/>
                  </a:lnTo>
                  <a:lnTo>
                    <a:pt x="43" y="68"/>
                  </a:lnTo>
                  <a:lnTo>
                    <a:pt x="44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8" y="57"/>
                  </a:lnTo>
                  <a:lnTo>
                    <a:pt x="59" y="55"/>
                  </a:lnTo>
                  <a:lnTo>
                    <a:pt x="60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49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5"/>
                  </a:lnTo>
                  <a:lnTo>
                    <a:pt x="77" y="42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8" y="27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7" y="23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8" y="24"/>
                  </a:lnTo>
                  <a:lnTo>
                    <a:pt x="129" y="24"/>
                  </a:lnTo>
                  <a:lnTo>
                    <a:pt x="131" y="24"/>
                  </a:lnTo>
                  <a:lnTo>
                    <a:pt x="132" y="24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6" y="23"/>
                  </a:lnTo>
                  <a:lnTo>
                    <a:pt x="137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2" y="19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9" y="12"/>
                  </a:lnTo>
                  <a:lnTo>
                    <a:pt x="150" y="11"/>
                  </a:lnTo>
                  <a:lnTo>
                    <a:pt x="151" y="10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7"/>
                  </a:lnTo>
                  <a:lnTo>
                    <a:pt x="153" y="2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6" y="0"/>
                  </a:lnTo>
                </a:path>
              </a:pathLst>
            </a:custGeom>
            <a:noFill/>
            <a:ln w="2063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76">
              <a:extLst>
                <a:ext uri="{FF2B5EF4-FFF2-40B4-BE49-F238E27FC236}">
                  <a16:creationId xmlns:a16="http://schemas.microsoft.com/office/drawing/2014/main" id="{D5567E8A-799B-7A08-6CCF-A2AC2C57D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" y="3398"/>
              <a:ext cx="12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C</a:t>
              </a:r>
            </a:p>
          </p:txBody>
        </p:sp>
        <p:sp>
          <p:nvSpPr>
            <p:cNvPr id="217" name="Rectangle 77">
              <a:extLst>
                <a:ext uri="{FF2B5EF4-FFF2-40B4-BE49-F238E27FC236}">
                  <a16:creationId xmlns:a16="http://schemas.microsoft.com/office/drawing/2014/main" id="{2213AFC1-6F01-3761-6ACD-2267F49DC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" y="3742"/>
              <a:ext cx="11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C</a:t>
              </a:r>
            </a:p>
          </p:txBody>
        </p:sp>
        <p:sp>
          <p:nvSpPr>
            <p:cNvPr id="218" name="Rectangle 78">
              <a:extLst>
                <a:ext uri="{FF2B5EF4-FFF2-40B4-BE49-F238E27FC236}">
                  <a16:creationId xmlns:a16="http://schemas.microsoft.com/office/drawing/2014/main" id="{8EDDCE95-8806-9543-3452-49E17AD1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503"/>
              <a:ext cx="12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K</a:t>
              </a:r>
            </a:p>
          </p:txBody>
        </p:sp>
        <p:sp>
          <p:nvSpPr>
            <p:cNvPr id="219" name="Rectangle 79">
              <a:extLst>
                <a:ext uri="{FF2B5EF4-FFF2-40B4-BE49-F238E27FC236}">
                  <a16:creationId xmlns:a16="http://schemas.microsoft.com/office/drawing/2014/main" id="{190C9B19-2F82-CE0F-27BE-7C65F4AD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" y="3735"/>
              <a:ext cx="14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MK</a:t>
              </a:r>
            </a:p>
          </p:txBody>
        </p:sp>
        <p:sp>
          <p:nvSpPr>
            <p:cNvPr id="220" name="Rectangle 80">
              <a:extLst>
                <a:ext uri="{FF2B5EF4-FFF2-40B4-BE49-F238E27FC236}">
                  <a16:creationId xmlns:a16="http://schemas.microsoft.com/office/drawing/2014/main" id="{B08BDB2B-76B3-9B8D-BDC2-3DE809E86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2" y="3571"/>
              <a:ext cx="1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S</a:t>
              </a:r>
            </a:p>
          </p:txBody>
        </p:sp>
        <p:sp>
          <p:nvSpPr>
            <p:cNvPr id="221" name="Rectangle 81">
              <a:extLst>
                <a:ext uri="{FF2B5EF4-FFF2-40B4-BE49-F238E27FC236}">
                  <a16:creationId xmlns:a16="http://schemas.microsoft.com/office/drawing/2014/main" id="{240C0D35-B7C7-6865-75BE-89E310D39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" y="3675"/>
              <a:ext cx="11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K</a:t>
              </a:r>
            </a:p>
          </p:txBody>
        </p:sp>
        <p:sp>
          <p:nvSpPr>
            <p:cNvPr id="222" name="Rectangle 82">
              <a:extLst>
                <a:ext uri="{FF2B5EF4-FFF2-40B4-BE49-F238E27FC236}">
                  <a16:creationId xmlns:a16="http://schemas.microsoft.com/office/drawing/2014/main" id="{8DCB7E69-8FF6-DCA8-CFFD-E14B9ABD3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080"/>
              <a:ext cx="13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K</a:t>
              </a:r>
            </a:p>
          </p:txBody>
        </p:sp>
        <p:sp>
          <p:nvSpPr>
            <p:cNvPr id="223" name="Rectangle 83">
              <a:extLst>
                <a:ext uri="{FF2B5EF4-FFF2-40B4-BE49-F238E27FC236}">
                  <a16:creationId xmlns:a16="http://schemas.microsoft.com/office/drawing/2014/main" id="{B44082BE-5CF2-B510-F7E5-822332E41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" y="3411"/>
              <a:ext cx="15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SK</a:t>
              </a:r>
            </a:p>
          </p:txBody>
        </p:sp>
        <p:sp>
          <p:nvSpPr>
            <p:cNvPr id="224" name="Rectangle 84">
              <a:extLst>
                <a:ext uri="{FF2B5EF4-FFF2-40B4-BE49-F238E27FC236}">
                  <a16:creationId xmlns:a16="http://schemas.microsoft.com/office/drawing/2014/main" id="{8C76C3A0-2531-0D1F-8CB8-92B093BB3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" y="3490"/>
              <a:ext cx="1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K</a:t>
              </a:r>
            </a:p>
          </p:txBody>
        </p:sp>
        <p:sp>
          <p:nvSpPr>
            <p:cNvPr id="225" name="Rectangle 85">
              <a:extLst>
                <a:ext uri="{FF2B5EF4-FFF2-40B4-BE49-F238E27FC236}">
                  <a16:creationId xmlns:a16="http://schemas.microsoft.com/office/drawing/2014/main" id="{FCECFB08-190B-38B6-8DF1-7CC4D83E7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363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K</a:t>
              </a:r>
            </a:p>
          </p:txBody>
        </p:sp>
        <p:sp>
          <p:nvSpPr>
            <p:cNvPr id="226" name="Rectangle 86">
              <a:extLst>
                <a:ext uri="{FF2B5EF4-FFF2-40B4-BE49-F238E27FC236}">
                  <a16:creationId xmlns:a16="http://schemas.microsoft.com/office/drawing/2014/main" id="{23C26539-3196-475A-F09C-DAC530BB7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3152"/>
              <a:ext cx="13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K</a:t>
              </a:r>
            </a:p>
          </p:txBody>
        </p:sp>
        <p:sp>
          <p:nvSpPr>
            <p:cNvPr id="227" name="Rectangle 87">
              <a:extLst>
                <a:ext uri="{FF2B5EF4-FFF2-40B4-BE49-F238E27FC236}">
                  <a16:creationId xmlns:a16="http://schemas.microsoft.com/office/drawing/2014/main" id="{A827F561-17B7-036A-7743-CB9BFAA7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" y="2974"/>
              <a:ext cx="12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BK</a:t>
              </a:r>
            </a:p>
          </p:txBody>
        </p:sp>
        <p:sp>
          <p:nvSpPr>
            <p:cNvPr id="228" name="Rectangle 88">
              <a:extLst>
                <a:ext uri="{FF2B5EF4-FFF2-40B4-BE49-F238E27FC236}">
                  <a16:creationId xmlns:a16="http://schemas.microsoft.com/office/drawing/2014/main" id="{16A99CA5-BC42-16D2-D43F-58D57CE7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3216"/>
              <a:ext cx="1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K</a:t>
              </a:r>
            </a:p>
          </p:txBody>
        </p:sp>
      </p:grp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51244C10-F8CE-1004-6D13-E8372E03236F}"/>
              </a:ext>
            </a:extLst>
          </p:cNvPr>
          <p:cNvGrpSpPr/>
          <p:nvPr/>
        </p:nvGrpSpPr>
        <p:grpSpPr>
          <a:xfrm>
            <a:off x="10951469" y="4605461"/>
            <a:ext cx="920040" cy="839147"/>
            <a:chOff x="5368539" y="5686843"/>
            <a:chExt cx="920040" cy="839147"/>
          </a:xfrm>
        </p:grpSpPr>
        <p:sp>
          <p:nvSpPr>
            <p:cNvPr id="59" name="Text Box 58">
              <a:extLst>
                <a:ext uri="{FF2B5EF4-FFF2-40B4-BE49-F238E27FC236}">
                  <a16:creationId xmlns:a16="http://schemas.microsoft.com/office/drawing/2014/main" id="{33DA7B70-97BF-7BB7-DE6C-B2CCBF6157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2967" y="5694325"/>
              <a:ext cx="745612" cy="83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,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alt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≤ </a:t>
              </a:r>
              <a:r>
                <a:rPr kumimoji="0" lang="cs-CZ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</a:t>
              </a:r>
              <a:r>
                <a:rPr kumimoji="0" lang="en-US" altLang="cs-C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0 </a:t>
              </a: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FC502D0F-09CF-42B1-964D-18E2A1ACB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183266"/>
              <a:ext cx="144000" cy="144000"/>
            </a:xfrm>
            <a:prstGeom prst="rect">
              <a:avLst/>
            </a:prstGeom>
            <a:solidFill>
              <a:srgbClr val="D1D1D1"/>
            </a:solidFill>
            <a:ln w="1651">
              <a:noFill/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" name="Rectangle 56">
              <a:extLst>
                <a:ext uri="{FF2B5EF4-FFF2-40B4-BE49-F238E27FC236}">
                  <a16:creationId xmlns:a16="http://schemas.microsoft.com/office/drawing/2014/main" id="{8CC6512D-916E-D74C-EB79-459B04674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6017791"/>
              <a:ext cx="144000" cy="144000"/>
            </a:xfrm>
            <a:prstGeom prst="rect">
              <a:avLst/>
            </a:prstGeom>
            <a:solidFill>
              <a:srgbClr val="A8A8A8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573D031F-9FB1-EA99-54CA-C829B91C3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852317"/>
              <a:ext cx="144000" cy="144000"/>
            </a:xfrm>
            <a:prstGeom prst="rect">
              <a:avLst/>
            </a:prstGeom>
            <a:solidFill>
              <a:srgbClr val="828282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8" name="Rectangle 56">
              <a:extLst>
                <a:ext uri="{FF2B5EF4-FFF2-40B4-BE49-F238E27FC236}">
                  <a16:creationId xmlns:a16="http://schemas.microsoft.com/office/drawing/2014/main" id="{DB38CC8E-F9F8-7CAB-07C2-700A3A956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8539" y="5686843"/>
              <a:ext cx="144000" cy="144000"/>
            </a:xfrm>
            <a:prstGeom prst="rect">
              <a:avLst/>
            </a:prstGeom>
            <a:solidFill>
              <a:srgbClr val="595959"/>
            </a:solidFill>
            <a:ln w="1651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229" name="TextovéPole 228">
            <a:extLst>
              <a:ext uri="{FF2B5EF4-FFF2-40B4-BE49-F238E27FC236}">
                <a16:creationId xmlns:a16="http://schemas.microsoft.com/office/drawing/2014/main" id="{2CAFD6CF-CF70-D489-6AAE-67C951C30A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11690" y="1513413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raj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B521CCB1-E03C-A540-B0E6-FACC7FD1B5B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670" y="4364179"/>
            <a:ext cx="195957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kres bydliště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Object 16">
            <a:extLst>
              <a:ext uri="{FF2B5EF4-FFF2-40B4-BE49-F238E27FC236}">
                <a16:creationId xmlns:a16="http://schemas.microsoft.com/office/drawing/2014/main" id="{60CAB9EB-EA2E-826B-6C66-2B729E62B842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449966" y="4396196"/>
          <a:ext cx="2311760" cy="2039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12" name="Group 110">
            <a:extLst>
              <a:ext uri="{FF2B5EF4-FFF2-40B4-BE49-F238E27FC236}">
                <a16:creationId xmlns:a16="http://schemas.microsoft.com/office/drawing/2014/main" id="{44BD125B-6613-E59A-7A8B-BDFCC1C70AE1}"/>
              </a:ext>
            </a:extLst>
          </p:cNvPr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4597801" y="4721322"/>
          <a:ext cx="1931064" cy="1714500"/>
        </p:xfrm>
        <a:graphic>
          <a:graphicData uri="http://schemas.openxmlformats.org/drawingml/2006/table">
            <a:tbl>
              <a:tblPr/>
              <a:tblGrid>
                <a:gridCol w="1931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663655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republik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54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42" name="TextovéPole 141">
            <a:extLst>
              <a:ext uri="{FF2B5EF4-FFF2-40B4-BE49-F238E27FC236}">
                <a16:creationId xmlns:a16="http://schemas.microsoft.com/office/drawing/2014/main" id="{4524C8FB-8522-7904-2503-6A7330F0E50D}"/>
              </a:ext>
            </a:extLst>
          </p:cNvPr>
          <p:cNvSpPr txBox="1"/>
          <p:nvPr/>
        </p:nvSpPr>
        <p:spPr>
          <a:xfrm rot="18828707">
            <a:off x="4211261" y="5337702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</a:t>
            </a:r>
          </a:p>
        </p:txBody>
      </p:sp>
      <p:grpSp>
        <p:nvGrpSpPr>
          <p:cNvPr id="143" name="Skupina 142">
            <a:extLst>
              <a:ext uri="{FF2B5EF4-FFF2-40B4-BE49-F238E27FC236}">
                <a16:creationId xmlns:a16="http://schemas.microsoft.com/office/drawing/2014/main" id="{067BC365-2BB9-3D06-B9DD-728F3C0DE25B}"/>
              </a:ext>
            </a:extLst>
          </p:cNvPr>
          <p:cNvGrpSpPr>
            <a:grpSpLocks noChangeAspect="1"/>
          </p:cNvGrpSpPr>
          <p:nvPr/>
        </p:nvGrpSpPr>
        <p:grpSpPr>
          <a:xfrm>
            <a:off x="8955157" y="4391856"/>
            <a:ext cx="1617371" cy="2031177"/>
            <a:chOff x="4041462" y="133955"/>
            <a:chExt cx="2035175" cy="2555875"/>
          </a:xfrm>
          <a:solidFill>
            <a:srgbClr val="FFCC29"/>
          </a:solidFill>
        </p:grpSpPr>
        <p:sp>
          <p:nvSpPr>
            <p:cNvPr id="144" name="Freeform 104">
              <a:extLst>
                <a:ext uri="{FF2B5EF4-FFF2-40B4-BE49-F238E27FC236}">
                  <a16:creationId xmlns:a16="http://schemas.microsoft.com/office/drawing/2014/main" id="{9B5E1685-65DD-F9CF-7B54-FCCB45546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110">
              <a:extLst>
                <a:ext uri="{FF2B5EF4-FFF2-40B4-BE49-F238E27FC236}">
                  <a16:creationId xmlns:a16="http://schemas.microsoft.com/office/drawing/2014/main" id="{8A60F06C-5899-4FD7-8131-6C0098BC2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108">
              <a:extLst>
                <a:ext uri="{FF2B5EF4-FFF2-40B4-BE49-F238E27FC236}">
                  <a16:creationId xmlns:a16="http://schemas.microsoft.com/office/drawing/2014/main" id="{6E10978E-959A-31AE-A5D1-CDE45DF24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 109">
              <a:extLst>
                <a:ext uri="{FF2B5EF4-FFF2-40B4-BE49-F238E27FC236}">
                  <a16:creationId xmlns:a16="http://schemas.microsoft.com/office/drawing/2014/main" id="{10AAD274-95B2-6D25-488B-A923D826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109">
              <a:extLst>
                <a:ext uri="{FF2B5EF4-FFF2-40B4-BE49-F238E27FC236}">
                  <a16:creationId xmlns:a16="http://schemas.microsoft.com/office/drawing/2014/main" id="{6AA570AE-F748-003C-8186-172F1DF6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562" y="445105"/>
              <a:ext cx="473075" cy="715963"/>
            </a:xfrm>
            <a:custGeom>
              <a:avLst/>
              <a:gdLst>
                <a:gd name="T0" fmla="*/ 227 w 298"/>
                <a:gd name="T1" fmla="*/ 7 h 451"/>
                <a:gd name="T2" fmla="*/ 228 w 298"/>
                <a:gd name="T3" fmla="*/ 30 h 451"/>
                <a:gd name="T4" fmla="*/ 226 w 298"/>
                <a:gd name="T5" fmla="*/ 36 h 451"/>
                <a:gd name="T6" fmla="*/ 240 w 298"/>
                <a:gd name="T7" fmla="*/ 36 h 451"/>
                <a:gd name="T8" fmla="*/ 279 w 298"/>
                <a:gd name="T9" fmla="*/ 55 h 451"/>
                <a:gd name="T10" fmla="*/ 289 w 298"/>
                <a:gd name="T11" fmla="*/ 60 h 451"/>
                <a:gd name="T12" fmla="*/ 297 w 298"/>
                <a:gd name="T13" fmla="*/ 114 h 451"/>
                <a:gd name="T14" fmla="*/ 295 w 298"/>
                <a:gd name="T15" fmla="*/ 136 h 451"/>
                <a:gd name="T16" fmla="*/ 283 w 298"/>
                <a:gd name="T17" fmla="*/ 149 h 451"/>
                <a:gd name="T18" fmla="*/ 273 w 298"/>
                <a:gd name="T19" fmla="*/ 189 h 451"/>
                <a:gd name="T20" fmla="*/ 273 w 298"/>
                <a:gd name="T21" fmla="*/ 217 h 451"/>
                <a:gd name="T22" fmla="*/ 265 w 298"/>
                <a:gd name="T23" fmla="*/ 244 h 451"/>
                <a:gd name="T24" fmla="*/ 262 w 298"/>
                <a:gd name="T25" fmla="*/ 279 h 451"/>
                <a:gd name="T26" fmla="*/ 277 w 298"/>
                <a:gd name="T27" fmla="*/ 290 h 451"/>
                <a:gd name="T28" fmla="*/ 270 w 298"/>
                <a:gd name="T29" fmla="*/ 306 h 451"/>
                <a:gd name="T30" fmla="*/ 243 w 298"/>
                <a:gd name="T31" fmla="*/ 331 h 451"/>
                <a:gd name="T32" fmla="*/ 233 w 298"/>
                <a:gd name="T33" fmla="*/ 339 h 451"/>
                <a:gd name="T34" fmla="*/ 212 w 298"/>
                <a:gd name="T35" fmla="*/ 330 h 451"/>
                <a:gd name="T36" fmla="*/ 185 w 298"/>
                <a:gd name="T37" fmla="*/ 341 h 451"/>
                <a:gd name="T38" fmla="*/ 158 w 298"/>
                <a:gd name="T39" fmla="*/ 374 h 451"/>
                <a:gd name="T40" fmla="*/ 156 w 298"/>
                <a:gd name="T41" fmla="*/ 389 h 451"/>
                <a:gd name="T42" fmla="*/ 164 w 298"/>
                <a:gd name="T43" fmla="*/ 396 h 451"/>
                <a:gd name="T44" fmla="*/ 189 w 298"/>
                <a:gd name="T45" fmla="*/ 396 h 451"/>
                <a:gd name="T46" fmla="*/ 193 w 298"/>
                <a:gd name="T47" fmla="*/ 403 h 451"/>
                <a:gd name="T48" fmla="*/ 173 w 298"/>
                <a:gd name="T49" fmla="*/ 414 h 451"/>
                <a:gd name="T50" fmla="*/ 172 w 298"/>
                <a:gd name="T51" fmla="*/ 424 h 451"/>
                <a:gd name="T52" fmla="*/ 184 w 298"/>
                <a:gd name="T53" fmla="*/ 439 h 451"/>
                <a:gd name="T54" fmla="*/ 180 w 298"/>
                <a:gd name="T55" fmla="*/ 446 h 451"/>
                <a:gd name="T56" fmla="*/ 156 w 298"/>
                <a:gd name="T57" fmla="*/ 446 h 451"/>
                <a:gd name="T58" fmla="*/ 129 w 298"/>
                <a:gd name="T59" fmla="*/ 439 h 451"/>
                <a:gd name="T60" fmla="*/ 122 w 298"/>
                <a:gd name="T61" fmla="*/ 448 h 451"/>
                <a:gd name="T62" fmla="*/ 114 w 298"/>
                <a:gd name="T63" fmla="*/ 450 h 451"/>
                <a:gd name="T64" fmla="*/ 76 w 298"/>
                <a:gd name="T65" fmla="*/ 436 h 451"/>
                <a:gd name="T66" fmla="*/ 71 w 298"/>
                <a:gd name="T67" fmla="*/ 429 h 451"/>
                <a:gd name="T68" fmla="*/ 78 w 298"/>
                <a:gd name="T69" fmla="*/ 404 h 451"/>
                <a:gd name="T70" fmla="*/ 73 w 298"/>
                <a:gd name="T71" fmla="*/ 385 h 451"/>
                <a:gd name="T72" fmla="*/ 66 w 298"/>
                <a:gd name="T73" fmla="*/ 384 h 451"/>
                <a:gd name="T74" fmla="*/ 45 w 298"/>
                <a:gd name="T75" fmla="*/ 375 h 451"/>
                <a:gd name="T76" fmla="*/ 33 w 298"/>
                <a:gd name="T77" fmla="*/ 361 h 451"/>
                <a:gd name="T78" fmla="*/ 39 w 298"/>
                <a:gd name="T79" fmla="*/ 349 h 451"/>
                <a:gd name="T80" fmla="*/ 19 w 298"/>
                <a:gd name="T81" fmla="*/ 328 h 451"/>
                <a:gd name="T82" fmla="*/ 1 w 298"/>
                <a:gd name="T83" fmla="*/ 310 h 451"/>
                <a:gd name="T84" fmla="*/ 7 w 298"/>
                <a:gd name="T85" fmla="*/ 294 h 451"/>
                <a:gd name="T86" fmla="*/ 28 w 298"/>
                <a:gd name="T87" fmla="*/ 269 h 451"/>
                <a:gd name="T88" fmla="*/ 19 w 298"/>
                <a:gd name="T89" fmla="*/ 251 h 451"/>
                <a:gd name="T90" fmla="*/ 5 w 298"/>
                <a:gd name="T91" fmla="*/ 227 h 451"/>
                <a:gd name="T92" fmla="*/ 0 w 298"/>
                <a:gd name="T93" fmla="*/ 212 h 451"/>
                <a:gd name="T94" fmla="*/ 14 w 298"/>
                <a:gd name="T95" fmla="*/ 207 h 451"/>
                <a:gd name="T96" fmla="*/ 21 w 298"/>
                <a:gd name="T97" fmla="*/ 191 h 451"/>
                <a:gd name="T98" fmla="*/ 23 w 298"/>
                <a:gd name="T99" fmla="*/ 142 h 451"/>
                <a:gd name="T100" fmla="*/ 28 w 298"/>
                <a:gd name="T101" fmla="*/ 104 h 451"/>
                <a:gd name="T102" fmla="*/ 40 w 298"/>
                <a:gd name="T103" fmla="*/ 83 h 451"/>
                <a:gd name="T104" fmla="*/ 40 w 298"/>
                <a:gd name="T105" fmla="*/ 69 h 451"/>
                <a:gd name="T106" fmla="*/ 56 w 298"/>
                <a:gd name="T107" fmla="*/ 59 h 451"/>
                <a:gd name="T108" fmla="*/ 78 w 298"/>
                <a:gd name="T109" fmla="*/ 59 h 451"/>
                <a:gd name="T110" fmla="*/ 91 w 298"/>
                <a:gd name="T111" fmla="*/ 57 h 451"/>
                <a:gd name="T112" fmla="*/ 91 w 298"/>
                <a:gd name="T113" fmla="*/ 42 h 451"/>
                <a:gd name="T114" fmla="*/ 97 w 298"/>
                <a:gd name="T115" fmla="*/ 32 h 451"/>
                <a:gd name="T116" fmla="*/ 118 w 298"/>
                <a:gd name="T117" fmla="*/ 38 h 451"/>
                <a:gd name="T118" fmla="*/ 134 w 298"/>
                <a:gd name="T119" fmla="*/ 39 h 451"/>
                <a:gd name="T120" fmla="*/ 159 w 298"/>
                <a:gd name="T121" fmla="*/ 17 h 451"/>
                <a:gd name="T122" fmla="*/ 180 w 298"/>
                <a:gd name="T123" fmla="*/ 7 h 451"/>
                <a:gd name="T124" fmla="*/ 193 w 298"/>
                <a:gd name="T125" fmla="*/ 2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451">
                  <a:moveTo>
                    <a:pt x="205" y="0"/>
                  </a:moveTo>
                  <a:lnTo>
                    <a:pt x="208" y="0"/>
                  </a:lnTo>
                  <a:lnTo>
                    <a:pt x="220" y="3"/>
                  </a:lnTo>
                  <a:lnTo>
                    <a:pt x="223" y="5"/>
                  </a:lnTo>
                  <a:lnTo>
                    <a:pt x="224" y="5"/>
                  </a:lnTo>
                  <a:lnTo>
                    <a:pt x="225" y="6"/>
                  </a:lnTo>
                  <a:lnTo>
                    <a:pt x="227" y="7"/>
                  </a:lnTo>
                  <a:lnTo>
                    <a:pt x="228" y="9"/>
                  </a:lnTo>
                  <a:lnTo>
                    <a:pt x="228" y="10"/>
                  </a:lnTo>
                  <a:lnTo>
                    <a:pt x="229" y="13"/>
                  </a:lnTo>
                  <a:lnTo>
                    <a:pt x="229" y="15"/>
                  </a:lnTo>
                  <a:lnTo>
                    <a:pt x="229" y="17"/>
                  </a:lnTo>
                  <a:lnTo>
                    <a:pt x="228" y="24"/>
                  </a:lnTo>
                  <a:lnTo>
                    <a:pt x="228" y="30"/>
                  </a:lnTo>
                  <a:lnTo>
                    <a:pt x="227" y="31"/>
                  </a:lnTo>
                  <a:lnTo>
                    <a:pt x="227" y="32"/>
                  </a:lnTo>
                  <a:lnTo>
                    <a:pt x="225" y="34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6"/>
                  </a:lnTo>
                  <a:lnTo>
                    <a:pt x="226" y="36"/>
                  </a:lnTo>
                  <a:lnTo>
                    <a:pt x="227" y="37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1" y="37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40" y="36"/>
                  </a:lnTo>
                  <a:lnTo>
                    <a:pt x="246" y="37"/>
                  </a:lnTo>
                  <a:lnTo>
                    <a:pt x="255" y="39"/>
                  </a:lnTo>
                  <a:lnTo>
                    <a:pt x="258" y="40"/>
                  </a:lnTo>
                  <a:lnTo>
                    <a:pt x="261" y="40"/>
                  </a:lnTo>
                  <a:lnTo>
                    <a:pt x="264" y="43"/>
                  </a:lnTo>
                  <a:lnTo>
                    <a:pt x="272" y="49"/>
                  </a:lnTo>
                  <a:lnTo>
                    <a:pt x="279" y="55"/>
                  </a:lnTo>
                  <a:lnTo>
                    <a:pt x="281" y="57"/>
                  </a:lnTo>
                  <a:lnTo>
                    <a:pt x="283" y="57"/>
                  </a:lnTo>
                  <a:lnTo>
                    <a:pt x="285" y="57"/>
                  </a:lnTo>
                  <a:lnTo>
                    <a:pt x="286" y="57"/>
                  </a:lnTo>
                  <a:lnTo>
                    <a:pt x="288" y="57"/>
                  </a:lnTo>
                  <a:lnTo>
                    <a:pt x="288" y="58"/>
                  </a:lnTo>
                  <a:lnTo>
                    <a:pt x="289" y="60"/>
                  </a:lnTo>
                  <a:lnTo>
                    <a:pt x="290" y="61"/>
                  </a:lnTo>
                  <a:lnTo>
                    <a:pt x="290" y="62"/>
                  </a:lnTo>
                  <a:lnTo>
                    <a:pt x="292" y="71"/>
                  </a:lnTo>
                  <a:lnTo>
                    <a:pt x="293" y="82"/>
                  </a:lnTo>
                  <a:lnTo>
                    <a:pt x="295" y="95"/>
                  </a:lnTo>
                  <a:lnTo>
                    <a:pt x="296" y="109"/>
                  </a:lnTo>
                  <a:lnTo>
                    <a:pt x="297" y="114"/>
                  </a:lnTo>
                  <a:lnTo>
                    <a:pt x="297" y="120"/>
                  </a:lnTo>
                  <a:lnTo>
                    <a:pt x="298" y="125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6" y="133"/>
                  </a:lnTo>
                  <a:lnTo>
                    <a:pt x="295" y="134"/>
                  </a:lnTo>
                  <a:lnTo>
                    <a:pt x="295" y="136"/>
                  </a:lnTo>
                  <a:lnTo>
                    <a:pt x="294" y="137"/>
                  </a:lnTo>
                  <a:lnTo>
                    <a:pt x="293" y="138"/>
                  </a:lnTo>
                  <a:lnTo>
                    <a:pt x="288" y="142"/>
                  </a:lnTo>
                  <a:lnTo>
                    <a:pt x="286" y="144"/>
                  </a:lnTo>
                  <a:lnTo>
                    <a:pt x="285" y="145"/>
                  </a:lnTo>
                  <a:lnTo>
                    <a:pt x="283" y="147"/>
                  </a:lnTo>
                  <a:lnTo>
                    <a:pt x="283" y="149"/>
                  </a:lnTo>
                  <a:lnTo>
                    <a:pt x="281" y="153"/>
                  </a:lnTo>
                  <a:lnTo>
                    <a:pt x="279" y="159"/>
                  </a:lnTo>
                  <a:lnTo>
                    <a:pt x="276" y="168"/>
                  </a:lnTo>
                  <a:lnTo>
                    <a:pt x="275" y="172"/>
                  </a:lnTo>
                  <a:lnTo>
                    <a:pt x="275" y="173"/>
                  </a:lnTo>
                  <a:lnTo>
                    <a:pt x="274" y="176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3" y="197"/>
                  </a:lnTo>
                  <a:lnTo>
                    <a:pt x="273" y="204"/>
                  </a:lnTo>
                  <a:lnTo>
                    <a:pt x="273" y="207"/>
                  </a:lnTo>
                  <a:lnTo>
                    <a:pt x="273" y="211"/>
                  </a:lnTo>
                  <a:lnTo>
                    <a:pt x="273" y="214"/>
                  </a:lnTo>
                  <a:lnTo>
                    <a:pt x="273" y="217"/>
                  </a:lnTo>
                  <a:lnTo>
                    <a:pt x="272" y="222"/>
                  </a:lnTo>
                  <a:lnTo>
                    <a:pt x="270" y="226"/>
                  </a:lnTo>
                  <a:lnTo>
                    <a:pt x="267" y="234"/>
                  </a:lnTo>
                  <a:lnTo>
                    <a:pt x="267" y="235"/>
                  </a:lnTo>
                  <a:lnTo>
                    <a:pt x="266" y="238"/>
                  </a:lnTo>
                  <a:lnTo>
                    <a:pt x="265" y="241"/>
                  </a:lnTo>
                  <a:lnTo>
                    <a:pt x="265" y="244"/>
                  </a:lnTo>
                  <a:lnTo>
                    <a:pt x="265" y="254"/>
                  </a:lnTo>
                  <a:lnTo>
                    <a:pt x="265" y="259"/>
                  </a:lnTo>
                  <a:lnTo>
                    <a:pt x="265" y="263"/>
                  </a:lnTo>
                  <a:lnTo>
                    <a:pt x="264" y="267"/>
                  </a:lnTo>
                  <a:lnTo>
                    <a:pt x="262" y="276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2" y="280"/>
                  </a:lnTo>
                  <a:lnTo>
                    <a:pt x="263" y="283"/>
                  </a:lnTo>
                  <a:lnTo>
                    <a:pt x="264" y="284"/>
                  </a:lnTo>
                  <a:lnTo>
                    <a:pt x="265" y="285"/>
                  </a:lnTo>
                  <a:lnTo>
                    <a:pt x="267" y="287"/>
                  </a:lnTo>
                  <a:lnTo>
                    <a:pt x="268" y="287"/>
                  </a:lnTo>
                  <a:lnTo>
                    <a:pt x="277" y="290"/>
                  </a:lnTo>
                  <a:lnTo>
                    <a:pt x="281" y="292"/>
                  </a:lnTo>
                  <a:lnTo>
                    <a:pt x="283" y="294"/>
                  </a:lnTo>
                  <a:lnTo>
                    <a:pt x="284" y="294"/>
                  </a:lnTo>
                  <a:lnTo>
                    <a:pt x="285" y="295"/>
                  </a:lnTo>
                  <a:lnTo>
                    <a:pt x="283" y="296"/>
                  </a:lnTo>
                  <a:lnTo>
                    <a:pt x="280" y="298"/>
                  </a:lnTo>
                  <a:lnTo>
                    <a:pt x="270" y="306"/>
                  </a:lnTo>
                  <a:lnTo>
                    <a:pt x="263" y="311"/>
                  </a:lnTo>
                  <a:lnTo>
                    <a:pt x="260" y="314"/>
                  </a:lnTo>
                  <a:lnTo>
                    <a:pt x="257" y="316"/>
                  </a:lnTo>
                  <a:lnTo>
                    <a:pt x="253" y="319"/>
                  </a:lnTo>
                  <a:lnTo>
                    <a:pt x="249" y="324"/>
                  </a:lnTo>
                  <a:lnTo>
                    <a:pt x="247" y="326"/>
                  </a:lnTo>
                  <a:lnTo>
                    <a:pt x="243" y="331"/>
                  </a:lnTo>
                  <a:lnTo>
                    <a:pt x="241" y="334"/>
                  </a:lnTo>
                  <a:lnTo>
                    <a:pt x="239" y="336"/>
                  </a:lnTo>
                  <a:lnTo>
                    <a:pt x="238" y="337"/>
                  </a:lnTo>
                  <a:lnTo>
                    <a:pt x="237" y="338"/>
                  </a:lnTo>
                  <a:lnTo>
                    <a:pt x="235" y="339"/>
                  </a:lnTo>
                  <a:lnTo>
                    <a:pt x="234" y="339"/>
                  </a:lnTo>
                  <a:lnTo>
                    <a:pt x="233" y="339"/>
                  </a:lnTo>
                  <a:lnTo>
                    <a:pt x="230" y="339"/>
                  </a:lnTo>
                  <a:lnTo>
                    <a:pt x="228" y="338"/>
                  </a:lnTo>
                  <a:lnTo>
                    <a:pt x="226" y="336"/>
                  </a:lnTo>
                  <a:lnTo>
                    <a:pt x="217" y="331"/>
                  </a:lnTo>
                  <a:lnTo>
                    <a:pt x="215" y="330"/>
                  </a:lnTo>
                  <a:lnTo>
                    <a:pt x="214" y="330"/>
                  </a:lnTo>
                  <a:lnTo>
                    <a:pt x="212" y="330"/>
                  </a:lnTo>
                  <a:lnTo>
                    <a:pt x="210" y="330"/>
                  </a:lnTo>
                  <a:lnTo>
                    <a:pt x="208" y="330"/>
                  </a:lnTo>
                  <a:lnTo>
                    <a:pt x="204" y="331"/>
                  </a:lnTo>
                  <a:lnTo>
                    <a:pt x="199" y="334"/>
                  </a:lnTo>
                  <a:lnTo>
                    <a:pt x="194" y="336"/>
                  </a:lnTo>
                  <a:lnTo>
                    <a:pt x="189" y="339"/>
                  </a:lnTo>
                  <a:lnTo>
                    <a:pt x="185" y="341"/>
                  </a:lnTo>
                  <a:lnTo>
                    <a:pt x="180" y="344"/>
                  </a:lnTo>
                  <a:lnTo>
                    <a:pt x="178" y="348"/>
                  </a:lnTo>
                  <a:lnTo>
                    <a:pt x="174" y="351"/>
                  </a:lnTo>
                  <a:lnTo>
                    <a:pt x="168" y="358"/>
                  </a:lnTo>
                  <a:lnTo>
                    <a:pt x="162" y="367"/>
                  </a:lnTo>
                  <a:lnTo>
                    <a:pt x="160" y="371"/>
                  </a:lnTo>
                  <a:lnTo>
                    <a:pt x="158" y="374"/>
                  </a:lnTo>
                  <a:lnTo>
                    <a:pt x="157" y="376"/>
                  </a:lnTo>
                  <a:lnTo>
                    <a:pt x="156" y="379"/>
                  </a:lnTo>
                  <a:lnTo>
                    <a:pt x="156" y="381"/>
                  </a:lnTo>
                  <a:lnTo>
                    <a:pt x="156" y="384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6" y="389"/>
                  </a:lnTo>
                  <a:lnTo>
                    <a:pt x="156" y="391"/>
                  </a:lnTo>
                  <a:lnTo>
                    <a:pt x="158" y="393"/>
                  </a:lnTo>
                  <a:lnTo>
                    <a:pt x="158" y="394"/>
                  </a:lnTo>
                  <a:lnTo>
                    <a:pt x="160" y="395"/>
                  </a:lnTo>
                  <a:lnTo>
                    <a:pt x="161" y="396"/>
                  </a:lnTo>
                  <a:lnTo>
                    <a:pt x="163" y="396"/>
                  </a:lnTo>
                  <a:lnTo>
                    <a:pt x="164" y="396"/>
                  </a:lnTo>
                  <a:lnTo>
                    <a:pt x="171" y="394"/>
                  </a:lnTo>
                  <a:lnTo>
                    <a:pt x="177" y="394"/>
                  </a:lnTo>
                  <a:lnTo>
                    <a:pt x="179" y="394"/>
                  </a:lnTo>
                  <a:lnTo>
                    <a:pt x="180" y="394"/>
                  </a:lnTo>
                  <a:lnTo>
                    <a:pt x="185" y="395"/>
                  </a:lnTo>
                  <a:lnTo>
                    <a:pt x="188" y="396"/>
                  </a:lnTo>
                  <a:lnTo>
                    <a:pt x="189" y="396"/>
                  </a:lnTo>
                  <a:lnTo>
                    <a:pt x="190" y="397"/>
                  </a:lnTo>
                  <a:lnTo>
                    <a:pt x="191" y="399"/>
                  </a:lnTo>
                  <a:lnTo>
                    <a:pt x="193" y="399"/>
                  </a:lnTo>
                  <a:lnTo>
                    <a:pt x="193" y="400"/>
                  </a:lnTo>
                  <a:lnTo>
                    <a:pt x="193" y="401"/>
                  </a:lnTo>
                  <a:lnTo>
                    <a:pt x="193" y="402"/>
                  </a:lnTo>
                  <a:lnTo>
                    <a:pt x="193" y="403"/>
                  </a:lnTo>
                  <a:lnTo>
                    <a:pt x="192" y="404"/>
                  </a:lnTo>
                  <a:lnTo>
                    <a:pt x="191" y="404"/>
                  </a:lnTo>
                  <a:lnTo>
                    <a:pt x="190" y="406"/>
                  </a:lnTo>
                  <a:lnTo>
                    <a:pt x="188" y="406"/>
                  </a:lnTo>
                  <a:lnTo>
                    <a:pt x="183" y="409"/>
                  </a:lnTo>
                  <a:lnTo>
                    <a:pt x="173" y="414"/>
                  </a:lnTo>
                  <a:lnTo>
                    <a:pt x="173" y="414"/>
                  </a:lnTo>
                  <a:lnTo>
                    <a:pt x="172" y="415"/>
                  </a:lnTo>
                  <a:lnTo>
                    <a:pt x="171" y="416"/>
                  </a:lnTo>
                  <a:lnTo>
                    <a:pt x="171" y="416"/>
                  </a:lnTo>
                  <a:lnTo>
                    <a:pt x="171" y="419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2" y="424"/>
                  </a:lnTo>
                  <a:lnTo>
                    <a:pt x="173" y="425"/>
                  </a:lnTo>
                  <a:lnTo>
                    <a:pt x="174" y="426"/>
                  </a:lnTo>
                  <a:lnTo>
                    <a:pt x="179" y="431"/>
                  </a:lnTo>
                  <a:lnTo>
                    <a:pt x="180" y="433"/>
                  </a:lnTo>
                  <a:lnTo>
                    <a:pt x="182" y="435"/>
                  </a:lnTo>
                  <a:lnTo>
                    <a:pt x="183" y="437"/>
                  </a:lnTo>
                  <a:lnTo>
                    <a:pt x="184" y="439"/>
                  </a:lnTo>
                  <a:lnTo>
                    <a:pt x="184" y="441"/>
                  </a:lnTo>
                  <a:lnTo>
                    <a:pt x="183" y="443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5"/>
                  </a:lnTo>
                  <a:lnTo>
                    <a:pt x="181" y="446"/>
                  </a:lnTo>
                  <a:lnTo>
                    <a:pt x="180" y="446"/>
                  </a:lnTo>
                  <a:lnTo>
                    <a:pt x="178" y="446"/>
                  </a:lnTo>
                  <a:lnTo>
                    <a:pt x="175" y="447"/>
                  </a:lnTo>
                  <a:lnTo>
                    <a:pt x="171" y="448"/>
                  </a:lnTo>
                  <a:lnTo>
                    <a:pt x="168" y="448"/>
                  </a:lnTo>
                  <a:lnTo>
                    <a:pt x="163" y="447"/>
                  </a:lnTo>
                  <a:lnTo>
                    <a:pt x="158" y="446"/>
                  </a:lnTo>
                  <a:lnTo>
                    <a:pt x="156" y="446"/>
                  </a:lnTo>
                  <a:lnTo>
                    <a:pt x="155" y="445"/>
                  </a:lnTo>
                  <a:lnTo>
                    <a:pt x="143" y="441"/>
                  </a:lnTo>
                  <a:lnTo>
                    <a:pt x="139" y="440"/>
                  </a:lnTo>
                  <a:lnTo>
                    <a:pt x="133" y="439"/>
                  </a:lnTo>
                  <a:lnTo>
                    <a:pt x="131" y="439"/>
                  </a:lnTo>
                  <a:lnTo>
                    <a:pt x="130" y="439"/>
                  </a:lnTo>
                  <a:lnTo>
                    <a:pt x="129" y="439"/>
                  </a:lnTo>
                  <a:lnTo>
                    <a:pt x="128" y="439"/>
                  </a:lnTo>
                  <a:lnTo>
                    <a:pt x="128" y="440"/>
                  </a:lnTo>
                  <a:lnTo>
                    <a:pt x="127" y="440"/>
                  </a:lnTo>
                  <a:lnTo>
                    <a:pt x="126" y="441"/>
                  </a:lnTo>
                  <a:lnTo>
                    <a:pt x="125" y="444"/>
                  </a:lnTo>
                  <a:lnTo>
                    <a:pt x="123" y="446"/>
                  </a:lnTo>
                  <a:lnTo>
                    <a:pt x="122" y="448"/>
                  </a:lnTo>
                  <a:lnTo>
                    <a:pt x="121" y="449"/>
                  </a:lnTo>
                  <a:lnTo>
                    <a:pt x="119" y="450"/>
                  </a:lnTo>
                  <a:lnTo>
                    <a:pt x="118" y="451"/>
                  </a:lnTo>
                  <a:lnTo>
                    <a:pt x="117" y="451"/>
                  </a:lnTo>
                  <a:lnTo>
                    <a:pt x="116" y="451"/>
                  </a:lnTo>
                  <a:lnTo>
                    <a:pt x="116" y="451"/>
                  </a:lnTo>
                  <a:lnTo>
                    <a:pt x="114" y="450"/>
                  </a:lnTo>
                  <a:lnTo>
                    <a:pt x="109" y="447"/>
                  </a:lnTo>
                  <a:lnTo>
                    <a:pt x="106" y="446"/>
                  </a:lnTo>
                  <a:lnTo>
                    <a:pt x="104" y="445"/>
                  </a:lnTo>
                  <a:lnTo>
                    <a:pt x="97" y="443"/>
                  </a:lnTo>
                  <a:lnTo>
                    <a:pt x="87" y="439"/>
                  </a:lnTo>
                  <a:lnTo>
                    <a:pt x="79" y="437"/>
                  </a:lnTo>
                  <a:lnTo>
                    <a:pt x="76" y="436"/>
                  </a:lnTo>
                  <a:lnTo>
                    <a:pt x="73" y="435"/>
                  </a:lnTo>
                  <a:lnTo>
                    <a:pt x="72" y="434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6"/>
                  </a:lnTo>
                  <a:lnTo>
                    <a:pt x="71" y="424"/>
                  </a:lnTo>
                  <a:lnTo>
                    <a:pt x="71" y="423"/>
                  </a:lnTo>
                  <a:lnTo>
                    <a:pt x="73" y="417"/>
                  </a:lnTo>
                  <a:lnTo>
                    <a:pt x="75" y="414"/>
                  </a:lnTo>
                  <a:lnTo>
                    <a:pt x="77" y="407"/>
                  </a:lnTo>
                  <a:lnTo>
                    <a:pt x="78" y="404"/>
                  </a:lnTo>
                  <a:lnTo>
                    <a:pt x="78" y="399"/>
                  </a:lnTo>
                  <a:lnTo>
                    <a:pt x="78" y="396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6" y="388"/>
                  </a:lnTo>
                  <a:lnTo>
                    <a:pt x="75" y="386"/>
                  </a:lnTo>
                  <a:lnTo>
                    <a:pt x="73" y="385"/>
                  </a:lnTo>
                  <a:lnTo>
                    <a:pt x="72" y="384"/>
                  </a:lnTo>
                  <a:lnTo>
                    <a:pt x="71" y="384"/>
                  </a:lnTo>
                  <a:lnTo>
                    <a:pt x="70" y="384"/>
                  </a:lnTo>
                  <a:lnTo>
                    <a:pt x="68" y="384"/>
                  </a:lnTo>
                  <a:lnTo>
                    <a:pt x="67" y="384"/>
                  </a:lnTo>
                  <a:lnTo>
                    <a:pt x="66" y="384"/>
                  </a:lnTo>
                  <a:lnTo>
                    <a:pt x="66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3" y="384"/>
                  </a:lnTo>
                  <a:lnTo>
                    <a:pt x="58" y="381"/>
                  </a:lnTo>
                  <a:lnTo>
                    <a:pt x="56" y="379"/>
                  </a:lnTo>
                  <a:lnTo>
                    <a:pt x="53" y="378"/>
                  </a:lnTo>
                  <a:lnTo>
                    <a:pt x="45" y="375"/>
                  </a:lnTo>
                  <a:lnTo>
                    <a:pt x="42" y="374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5" y="366"/>
                  </a:lnTo>
                  <a:lnTo>
                    <a:pt x="33" y="364"/>
                  </a:lnTo>
                  <a:lnTo>
                    <a:pt x="33" y="362"/>
                  </a:lnTo>
                  <a:lnTo>
                    <a:pt x="33" y="361"/>
                  </a:lnTo>
                  <a:lnTo>
                    <a:pt x="33" y="360"/>
                  </a:lnTo>
                  <a:lnTo>
                    <a:pt x="33" y="358"/>
                  </a:lnTo>
                  <a:lnTo>
                    <a:pt x="34" y="356"/>
                  </a:lnTo>
                  <a:lnTo>
                    <a:pt x="35" y="355"/>
                  </a:lnTo>
                  <a:lnTo>
                    <a:pt x="38" y="351"/>
                  </a:lnTo>
                  <a:lnTo>
                    <a:pt x="38" y="349"/>
                  </a:lnTo>
                  <a:lnTo>
                    <a:pt x="39" y="349"/>
                  </a:lnTo>
                  <a:lnTo>
                    <a:pt x="39" y="347"/>
                  </a:lnTo>
                  <a:lnTo>
                    <a:pt x="39" y="346"/>
                  </a:lnTo>
                  <a:lnTo>
                    <a:pt x="38" y="346"/>
                  </a:lnTo>
                  <a:lnTo>
                    <a:pt x="37" y="344"/>
                  </a:lnTo>
                  <a:lnTo>
                    <a:pt x="30" y="338"/>
                  </a:lnTo>
                  <a:lnTo>
                    <a:pt x="26" y="334"/>
                  </a:lnTo>
                  <a:lnTo>
                    <a:pt x="19" y="328"/>
                  </a:lnTo>
                  <a:lnTo>
                    <a:pt x="12" y="323"/>
                  </a:lnTo>
                  <a:lnTo>
                    <a:pt x="6" y="319"/>
                  </a:lnTo>
                  <a:lnTo>
                    <a:pt x="4" y="317"/>
                  </a:lnTo>
                  <a:lnTo>
                    <a:pt x="3" y="316"/>
                  </a:lnTo>
                  <a:lnTo>
                    <a:pt x="2" y="314"/>
                  </a:lnTo>
                  <a:lnTo>
                    <a:pt x="1" y="312"/>
                  </a:lnTo>
                  <a:lnTo>
                    <a:pt x="1" y="310"/>
                  </a:lnTo>
                  <a:lnTo>
                    <a:pt x="1" y="309"/>
                  </a:lnTo>
                  <a:lnTo>
                    <a:pt x="1" y="307"/>
                  </a:lnTo>
                  <a:lnTo>
                    <a:pt x="2" y="304"/>
                  </a:lnTo>
                  <a:lnTo>
                    <a:pt x="3" y="302"/>
                  </a:lnTo>
                  <a:lnTo>
                    <a:pt x="4" y="299"/>
                  </a:lnTo>
                  <a:lnTo>
                    <a:pt x="5" y="297"/>
                  </a:lnTo>
                  <a:lnTo>
                    <a:pt x="7" y="294"/>
                  </a:lnTo>
                  <a:lnTo>
                    <a:pt x="9" y="292"/>
                  </a:lnTo>
                  <a:lnTo>
                    <a:pt x="16" y="285"/>
                  </a:lnTo>
                  <a:lnTo>
                    <a:pt x="22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7" y="272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8" y="264"/>
                  </a:lnTo>
                  <a:lnTo>
                    <a:pt x="28" y="262"/>
                  </a:lnTo>
                  <a:lnTo>
                    <a:pt x="26" y="260"/>
                  </a:lnTo>
                  <a:lnTo>
                    <a:pt x="25" y="258"/>
                  </a:lnTo>
                  <a:lnTo>
                    <a:pt x="23" y="255"/>
                  </a:lnTo>
                  <a:lnTo>
                    <a:pt x="19" y="251"/>
                  </a:lnTo>
                  <a:lnTo>
                    <a:pt x="12" y="245"/>
                  </a:lnTo>
                  <a:lnTo>
                    <a:pt x="11" y="244"/>
                  </a:lnTo>
                  <a:lnTo>
                    <a:pt x="10" y="242"/>
                  </a:lnTo>
                  <a:lnTo>
                    <a:pt x="8" y="236"/>
                  </a:lnTo>
                  <a:lnTo>
                    <a:pt x="6" y="233"/>
                  </a:lnTo>
                  <a:lnTo>
                    <a:pt x="6" y="231"/>
                  </a:lnTo>
                  <a:lnTo>
                    <a:pt x="5" y="227"/>
                  </a:lnTo>
                  <a:lnTo>
                    <a:pt x="4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1" y="213"/>
                  </a:lnTo>
                  <a:lnTo>
                    <a:pt x="1" y="212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2" y="211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3" y="208"/>
                  </a:lnTo>
                  <a:lnTo>
                    <a:pt x="14" y="207"/>
                  </a:lnTo>
                  <a:lnTo>
                    <a:pt x="16" y="206"/>
                  </a:lnTo>
                  <a:lnTo>
                    <a:pt x="18" y="204"/>
                  </a:lnTo>
                  <a:lnTo>
                    <a:pt x="19" y="202"/>
                  </a:lnTo>
                  <a:lnTo>
                    <a:pt x="20" y="199"/>
                  </a:lnTo>
                  <a:lnTo>
                    <a:pt x="21" y="197"/>
                  </a:lnTo>
                  <a:lnTo>
                    <a:pt x="21" y="193"/>
                  </a:lnTo>
                  <a:lnTo>
                    <a:pt x="21" y="191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78"/>
                  </a:lnTo>
                  <a:lnTo>
                    <a:pt x="19" y="174"/>
                  </a:lnTo>
                  <a:lnTo>
                    <a:pt x="21" y="162"/>
                  </a:lnTo>
                  <a:lnTo>
                    <a:pt x="23" y="142"/>
                  </a:lnTo>
                  <a:lnTo>
                    <a:pt x="25" y="129"/>
                  </a:lnTo>
                  <a:lnTo>
                    <a:pt x="26" y="124"/>
                  </a:lnTo>
                  <a:lnTo>
                    <a:pt x="26" y="114"/>
                  </a:lnTo>
                  <a:lnTo>
                    <a:pt x="26" y="110"/>
                  </a:lnTo>
                  <a:lnTo>
                    <a:pt x="27" y="108"/>
                  </a:lnTo>
                  <a:lnTo>
                    <a:pt x="28" y="106"/>
                  </a:lnTo>
                  <a:lnTo>
                    <a:pt x="28" y="104"/>
                  </a:lnTo>
                  <a:lnTo>
                    <a:pt x="29" y="102"/>
                  </a:lnTo>
                  <a:lnTo>
                    <a:pt x="31" y="99"/>
                  </a:lnTo>
                  <a:lnTo>
                    <a:pt x="35" y="94"/>
                  </a:lnTo>
                  <a:lnTo>
                    <a:pt x="36" y="91"/>
                  </a:lnTo>
                  <a:lnTo>
                    <a:pt x="38" y="89"/>
                  </a:lnTo>
                  <a:lnTo>
                    <a:pt x="39" y="86"/>
                  </a:lnTo>
                  <a:lnTo>
                    <a:pt x="40" y="83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39" y="74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69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52" y="61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8" y="58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8" y="59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5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8"/>
                  </a:lnTo>
                  <a:lnTo>
                    <a:pt x="91" y="57"/>
                  </a:lnTo>
                  <a:lnTo>
                    <a:pt x="92" y="55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1" y="36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9" y="32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6" y="33"/>
                  </a:lnTo>
                  <a:lnTo>
                    <a:pt x="108" y="34"/>
                  </a:lnTo>
                  <a:lnTo>
                    <a:pt x="115" y="37"/>
                  </a:lnTo>
                  <a:lnTo>
                    <a:pt x="118" y="38"/>
                  </a:lnTo>
                  <a:lnTo>
                    <a:pt x="121" y="39"/>
                  </a:lnTo>
                  <a:lnTo>
                    <a:pt x="123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39"/>
                  </a:lnTo>
                  <a:lnTo>
                    <a:pt x="136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43" y="32"/>
                  </a:lnTo>
                  <a:lnTo>
                    <a:pt x="151" y="25"/>
                  </a:lnTo>
                  <a:lnTo>
                    <a:pt x="156" y="20"/>
                  </a:lnTo>
                  <a:lnTo>
                    <a:pt x="159" y="17"/>
                  </a:lnTo>
                  <a:lnTo>
                    <a:pt x="164" y="14"/>
                  </a:lnTo>
                  <a:lnTo>
                    <a:pt x="166" y="12"/>
                  </a:lnTo>
                  <a:lnTo>
                    <a:pt x="169" y="11"/>
                  </a:lnTo>
                  <a:lnTo>
                    <a:pt x="172" y="10"/>
                  </a:lnTo>
                  <a:lnTo>
                    <a:pt x="175" y="9"/>
                  </a:lnTo>
                  <a:lnTo>
                    <a:pt x="177" y="8"/>
                  </a:lnTo>
                  <a:lnTo>
                    <a:pt x="180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3" y="7"/>
                  </a:lnTo>
                  <a:lnTo>
                    <a:pt x="187" y="6"/>
                  </a:lnTo>
                  <a:lnTo>
                    <a:pt x="188" y="6"/>
                  </a:lnTo>
                  <a:lnTo>
                    <a:pt x="189" y="5"/>
                  </a:lnTo>
                  <a:lnTo>
                    <a:pt x="193" y="2"/>
                  </a:lnTo>
                  <a:lnTo>
                    <a:pt x="194" y="2"/>
                  </a:lnTo>
                  <a:lnTo>
                    <a:pt x="195" y="2"/>
                  </a:lnTo>
                  <a:lnTo>
                    <a:pt x="197" y="2"/>
                  </a:lnTo>
                  <a:lnTo>
                    <a:pt x="20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07">
              <a:extLst>
                <a:ext uri="{FF2B5EF4-FFF2-40B4-BE49-F238E27FC236}">
                  <a16:creationId xmlns:a16="http://schemas.microsoft.com/office/drawing/2014/main" id="{6A0B2672-669C-9123-0892-25E4F21EF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05">
              <a:extLst>
                <a:ext uri="{FF2B5EF4-FFF2-40B4-BE49-F238E27FC236}">
                  <a16:creationId xmlns:a16="http://schemas.microsoft.com/office/drawing/2014/main" id="{B12C7045-FDBA-5B89-9D38-F8F80A22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grpFill/>
            <a:ln w="63500">
              <a:solidFill>
                <a:srgbClr val="C8C8C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05">
              <a:extLst>
                <a:ext uri="{FF2B5EF4-FFF2-40B4-BE49-F238E27FC236}">
                  <a16:creationId xmlns:a16="http://schemas.microsoft.com/office/drawing/2014/main" id="{589EA2D3-F350-B7B5-C144-D7A62119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87" y="1386492"/>
              <a:ext cx="1096963" cy="1303338"/>
            </a:xfrm>
            <a:custGeom>
              <a:avLst/>
              <a:gdLst>
                <a:gd name="T0" fmla="*/ 247 w 691"/>
                <a:gd name="T1" fmla="*/ 21 h 821"/>
                <a:gd name="T2" fmla="*/ 266 w 691"/>
                <a:gd name="T3" fmla="*/ 29 h 821"/>
                <a:gd name="T4" fmla="*/ 290 w 691"/>
                <a:gd name="T5" fmla="*/ 48 h 821"/>
                <a:gd name="T6" fmla="*/ 311 w 691"/>
                <a:gd name="T7" fmla="*/ 78 h 821"/>
                <a:gd name="T8" fmla="*/ 331 w 691"/>
                <a:gd name="T9" fmla="*/ 70 h 821"/>
                <a:gd name="T10" fmla="*/ 345 w 691"/>
                <a:gd name="T11" fmla="*/ 48 h 821"/>
                <a:gd name="T12" fmla="*/ 384 w 691"/>
                <a:gd name="T13" fmla="*/ 55 h 821"/>
                <a:gd name="T14" fmla="*/ 403 w 691"/>
                <a:gd name="T15" fmla="*/ 83 h 821"/>
                <a:gd name="T16" fmla="*/ 395 w 691"/>
                <a:gd name="T17" fmla="*/ 105 h 821"/>
                <a:gd name="T18" fmla="*/ 414 w 691"/>
                <a:gd name="T19" fmla="*/ 135 h 821"/>
                <a:gd name="T20" fmla="*/ 461 w 691"/>
                <a:gd name="T21" fmla="*/ 141 h 821"/>
                <a:gd name="T22" fmla="*/ 502 w 691"/>
                <a:gd name="T23" fmla="*/ 143 h 821"/>
                <a:gd name="T24" fmla="*/ 525 w 691"/>
                <a:gd name="T25" fmla="*/ 145 h 821"/>
                <a:gd name="T26" fmla="*/ 566 w 691"/>
                <a:gd name="T27" fmla="*/ 163 h 821"/>
                <a:gd name="T28" fmla="*/ 614 w 691"/>
                <a:gd name="T29" fmla="*/ 173 h 821"/>
                <a:gd name="T30" fmla="*/ 665 w 691"/>
                <a:gd name="T31" fmla="*/ 189 h 821"/>
                <a:gd name="T32" fmla="*/ 686 w 691"/>
                <a:gd name="T33" fmla="*/ 231 h 821"/>
                <a:gd name="T34" fmla="*/ 686 w 691"/>
                <a:gd name="T35" fmla="*/ 260 h 821"/>
                <a:gd name="T36" fmla="*/ 657 w 691"/>
                <a:gd name="T37" fmla="*/ 305 h 821"/>
                <a:gd name="T38" fmla="*/ 635 w 691"/>
                <a:gd name="T39" fmla="*/ 337 h 821"/>
                <a:gd name="T40" fmla="*/ 630 w 691"/>
                <a:gd name="T41" fmla="*/ 360 h 821"/>
                <a:gd name="T42" fmla="*/ 616 w 691"/>
                <a:gd name="T43" fmla="*/ 375 h 821"/>
                <a:gd name="T44" fmla="*/ 630 w 691"/>
                <a:gd name="T45" fmla="*/ 395 h 821"/>
                <a:gd name="T46" fmla="*/ 624 w 691"/>
                <a:gd name="T47" fmla="*/ 410 h 821"/>
                <a:gd name="T48" fmla="*/ 603 w 691"/>
                <a:gd name="T49" fmla="*/ 434 h 821"/>
                <a:gd name="T50" fmla="*/ 619 w 691"/>
                <a:gd name="T51" fmla="*/ 467 h 821"/>
                <a:gd name="T52" fmla="*/ 606 w 691"/>
                <a:gd name="T53" fmla="*/ 492 h 821"/>
                <a:gd name="T54" fmla="*/ 595 w 691"/>
                <a:gd name="T55" fmla="*/ 523 h 821"/>
                <a:gd name="T56" fmla="*/ 557 w 691"/>
                <a:gd name="T57" fmla="*/ 544 h 821"/>
                <a:gd name="T58" fmla="*/ 521 w 691"/>
                <a:gd name="T59" fmla="*/ 547 h 821"/>
                <a:gd name="T60" fmla="*/ 508 w 691"/>
                <a:gd name="T61" fmla="*/ 574 h 821"/>
                <a:gd name="T62" fmla="*/ 510 w 691"/>
                <a:gd name="T63" fmla="*/ 629 h 821"/>
                <a:gd name="T64" fmla="*/ 510 w 691"/>
                <a:gd name="T65" fmla="*/ 670 h 821"/>
                <a:gd name="T66" fmla="*/ 484 w 691"/>
                <a:gd name="T67" fmla="*/ 689 h 821"/>
                <a:gd name="T68" fmla="*/ 461 w 691"/>
                <a:gd name="T69" fmla="*/ 734 h 821"/>
                <a:gd name="T70" fmla="*/ 462 w 691"/>
                <a:gd name="T71" fmla="*/ 778 h 821"/>
                <a:gd name="T72" fmla="*/ 445 w 691"/>
                <a:gd name="T73" fmla="*/ 792 h 821"/>
                <a:gd name="T74" fmla="*/ 422 w 691"/>
                <a:gd name="T75" fmla="*/ 818 h 821"/>
                <a:gd name="T76" fmla="*/ 392 w 691"/>
                <a:gd name="T77" fmla="*/ 809 h 821"/>
                <a:gd name="T78" fmla="*/ 337 w 691"/>
                <a:gd name="T79" fmla="*/ 758 h 821"/>
                <a:gd name="T80" fmla="*/ 325 w 691"/>
                <a:gd name="T81" fmla="*/ 681 h 821"/>
                <a:gd name="T82" fmla="*/ 274 w 691"/>
                <a:gd name="T83" fmla="*/ 615 h 821"/>
                <a:gd name="T84" fmla="*/ 221 w 691"/>
                <a:gd name="T85" fmla="*/ 580 h 821"/>
                <a:gd name="T86" fmla="*/ 165 w 691"/>
                <a:gd name="T87" fmla="*/ 572 h 821"/>
                <a:gd name="T88" fmla="*/ 131 w 691"/>
                <a:gd name="T89" fmla="*/ 539 h 821"/>
                <a:gd name="T90" fmla="*/ 110 w 691"/>
                <a:gd name="T91" fmla="*/ 489 h 821"/>
                <a:gd name="T92" fmla="*/ 57 w 691"/>
                <a:gd name="T93" fmla="*/ 420 h 821"/>
                <a:gd name="T94" fmla="*/ 20 w 691"/>
                <a:gd name="T95" fmla="*/ 373 h 821"/>
                <a:gd name="T96" fmla="*/ 1 w 691"/>
                <a:gd name="T97" fmla="*/ 340 h 821"/>
                <a:gd name="T98" fmla="*/ 16 w 691"/>
                <a:gd name="T99" fmla="*/ 301 h 821"/>
                <a:gd name="T100" fmla="*/ 45 w 691"/>
                <a:gd name="T101" fmla="*/ 303 h 821"/>
                <a:gd name="T102" fmla="*/ 91 w 691"/>
                <a:gd name="T103" fmla="*/ 300 h 821"/>
                <a:gd name="T104" fmla="*/ 111 w 691"/>
                <a:gd name="T105" fmla="*/ 289 h 821"/>
                <a:gd name="T106" fmla="*/ 110 w 691"/>
                <a:gd name="T107" fmla="*/ 235 h 821"/>
                <a:gd name="T108" fmla="*/ 91 w 691"/>
                <a:gd name="T109" fmla="*/ 206 h 821"/>
                <a:gd name="T110" fmla="*/ 95 w 691"/>
                <a:gd name="T111" fmla="*/ 180 h 821"/>
                <a:gd name="T112" fmla="*/ 73 w 691"/>
                <a:gd name="T113" fmla="*/ 150 h 821"/>
                <a:gd name="T114" fmla="*/ 92 w 691"/>
                <a:gd name="T115" fmla="*/ 123 h 821"/>
                <a:gd name="T116" fmla="*/ 121 w 691"/>
                <a:gd name="T117" fmla="*/ 90 h 821"/>
                <a:gd name="T118" fmla="*/ 145 w 691"/>
                <a:gd name="T119" fmla="*/ 37 h 821"/>
                <a:gd name="T120" fmla="*/ 172 w 691"/>
                <a:gd name="T121" fmla="*/ 23 h 821"/>
                <a:gd name="T122" fmla="*/ 193 w 691"/>
                <a:gd name="T123" fmla="*/ 7 h 821"/>
                <a:gd name="T124" fmla="*/ 228 w 691"/>
                <a:gd name="T125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821">
                  <a:moveTo>
                    <a:pt x="233" y="0"/>
                  </a:moveTo>
                  <a:lnTo>
                    <a:pt x="236" y="0"/>
                  </a:lnTo>
                  <a:lnTo>
                    <a:pt x="238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4"/>
                  </a:lnTo>
                  <a:lnTo>
                    <a:pt x="244" y="6"/>
                  </a:lnTo>
                  <a:lnTo>
                    <a:pt x="245" y="8"/>
                  </a:lnTo>
                  <a:lnTo>
                    <a:pt x="246" y="9"/>
                  </a:lnTo>
                  <a:lnTo>
                    <a:pt x="246" y="18"/>
                  </a:lnTo>
                  <a:lnTo>
                    <a:pt x="247" y="21"/>
                  </a:lnTo>
                  <a:lnTo>
                    <a:pt x="248" y="23"/>
                  </a:lnTo>
                  <a:lnTo>
                    <a:pt x="248" y="24"/>
                  </a:lnTo>
                  <a:lnTo>
                    <a:pt x="248" y="25"/>
                  </a:lnTo>
                  <a:lnTo>
                    <a:pt x="249" y="26"/>
                  </a:lnTo>
                  <a:lnTo>
                    <a:pt x="251" y="27"/>
                  </a:lnTo>
                  <a:lnTo>
                    <a:pt x="251" y="28"/>
                  </a:lnTo>
                  <a:lnTo>
                    <a:pt x="256" y="29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3" y="29"/>
                  </a:lnTo>
                  <a:lnTo>
                    <a:pt x="266" y="29"/>
                  </a:lnTo>
                  <a:lnTo>
                    <a:pt x="268" y="29"/>
                  </a:lnTo>
                  <a:lnTo>
                    <a:pt x="270" y="30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8" y="35"/>
                  </a:lnTo>
                  <a:lnTo>
                    <a:pt x="282" y="38"/>
                  </a:lnTo>
                  <a:lnTo>
                    <a:pt x="284" y="40"/>
                  </a:lnTo>
                  <a:lnTo>
                    <a:pt x="286" y="42"/>
                  </a:lnTo>
                  <a:lnTo>
                    <a:pt x="288" y="44"/>
                  </a:lnTo>
                  <a:lnTo>
                    <a:pt x="289" y="46"/>
                  </a:lnTo>
                  <a:lnTo>
                    <a:pt x="290" y="48"/>
                  </a:lnTo>
                  <a:lnTo>
                    <a:pt x="291" y="50"/>
                  </a:lnTo>
                  <a:lnTo>
                    <a:pt x="296" y="63"/>
                  </a:lnTo>
                  <a:lnTo>
                    <a:pt x="297" y="66"/>
                  </a:lnTo>
                  <a:lnTo>
                    <a:pt x="298" y="68"/>
                  </a:lnTo>
                  <a:lnTo>
                    <a:pt x="299" y="70"/>
                  </a:lnTo>
                  <a:lnTo>
                    <a:pt x="301" y="71"/>
                  </a:lnTo>
                  <a:lnTo>
                    <a:pt x="303" y="74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9" y="78"/>
                  </a:lnTo>
                  <a:lnTo>
                    <a:pt x="311" y="78"/>
                  </a:lnTo>
                  <a:lnTo>
                    <a:pt x="313" y="79"/>
                  </a:lnTo>
                  <a:lnTo>
                    <a:pt x="314" y="79"/>
                  </a:lnTo>
                  <a:lnTo>
                    <a:pt x="317" y="79"/>
                  </a:lnTo>
                  <a:lnTo>
                    <a:pt x="318" y="79"/>
                  </a:lnTo>
                  <a:lnTo>
                    <a:pt x="321" y="78"/>
                  </a:lnTo>
                  <a:lnTo>
                    <a:pt x="323" y="78"/>
                  </a:lnTo>
                  <a:lnTo>
                    <a:pt x="325" y="76"/>
                  </a:lnTo>
                  <a:lnTo>
                    <a:pt x="326" y="75"/>
                  </a:lnTo>
                  <a:lnTo>
                    <a:pt x="328" y="73"/>
                  </a:lnTo>
                  <a:lnTo>
                    <a:pt x="329" y="71"/>
                  </a:lnTo>
                  <a:lnTo>
                    <a:pt x="331" y="70"/>
                  </a:lnTo>
                  <a:lnTo>
                    <a:pt x="332" y="68"/>
                  </a:lnTo>
                  <a:lnTo>
                    <a:pt x="333" y="65"/>
                  </a:lnTo>
                  <a:lnTo>
                    <a:pt x="334" y="62"/>
                  </a:lnTo>
                  <a:lnTo>
                    <a:pt x="335" y="58"/>
                  </a:lnTo>
                  <a:lnTo>
                    <a:pt x="336" y="55"/>
                  </a:lnTo>
                  <a:lnTo>
                    <a:pt x="337" y="54"/>
                  </a:lnTo>
                  <a:lnTo>
                    <a:pt x="338" y="53"/>
                  </a:lnTo>
                  <a:lnTo>
                    <a:pt x="338" y="51"/>
                  </a:lnTo>
                  <a:lnTo>
                    <a:pt x="340" y="50"/>
                  </a:lnTo>
                  <a:lnTo>
                    <a:pt x="342" y="49"/>
                  </a:lnTo>
                  <a:lnTo>
                    <a:pt x="345" y="48"/>
                  </a:lnTo>
                  <a:lnTo>
                    <a:pt x="346" y="48"/>
                  </a:lnTo>
                  <a:lnTo>
                    <a:pt x="348" y="48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4" y="49"/>
                  </a:lnTo>
                  <a:lnTo>
                    <a:pt x="361" y="51"/>
                  </a:lnTo>
                  <a:lnTo>
                    <a:pt x="366" y="53"/>
                  </a:lnTo>
                  <a:lnTo>
                    <a:pt x="371" y="53"/>
                  </a:lnTo>
                  <a:lnTo>
                    <a:pt x="378" y="54"/>
                  </a:lnTo>
                  <a:lnTo>
                    <a:pt x="381" y="55"/>
                  </a:lnTo>
                  <a:lnTo>
                    <a:pt x="384" y="55"/>
                  </a:lnTo>
                  <a:lnTo>
                    <a:pt x="388" y="57"/>
                  </a:lnTo>
                  <a:lnTo>
                    <a:pt x="390" y="58"/>
                  </a:lnTo>
                  <a:lnTo>
                    <a:pt x="392" y="59"/>
                  </a:lnTo>
                  <a:lnTo>
                    <a:pt x="393" y="60"/>
                  </a:lnTo>
                  <a:lnTo>
                    <a:pt x="394" y="62"/>
                  </a:lnTo>
                  <a:lnTo>
                    <a:pt x="396" y="65"/>
                  </a:lnTo>
                  <a:lnTo>
                    <a:pt x="398" y="68"/>
                  </a:lnTo>
                  <a:lnTo>
                    <a:pt x="398" y="70"/>
                  </a:lnTo>
                  <a:lnTo>
                    <a:pt x="400" y="75"/>
                  </a:lnTo>
                  <a:lnTo>
                    <a:pt x="401" y="78"/>
                  </a:lnTo>
                  <a:lnTo>
                    <a:pt x="403" y="83"/>
                  </a:lnTo>
                  <a:lnTo>
                    <a:pt x="404" y="84"/>
                  </a:lnTo>
                  <a:lnTo>
                    <a:pt x="405" y="88"/>
                  </a:lnTo>
                  <a:lnTo>
                    <a:pt x="405" y="90"/>
                  </a:lnTo>
                  <a:lnTo>
                    <a:pt x="405" y="91"/>
                  </a:lnTo>
                  <a:lnTo>
                    <a:pt x="405" y="93"/>
                  </a:lnTo>
                  <a:lnTo>
                    <a:pt x="404" y="94"/>
                  </a:lnTo>
                  <a:lnTo>
                    <a:pt x="403" y="95"/>
                  </a:lnTo>
                  <a:lnTo>
                    <a:pt x="402" y="97"/>
                  </a:lnTo>
                  <a:lnTo>
                    <a:pt x="398" y="101"/>
                  </a:lnTo>
                  <a:lnTo>
                    <a:pt x="396" y="103"/>
                  </a:lnTo>
                  <a:lnTo>
                    <a:pt x="395" y="105"/>
                  </a:lnTo>
                  <a:lnTo>
                    <a:pt x="393" y="107"/>
                  </a:lnTo>
                  <a:lnTo>
                    <a:pt x="393" y="110"/>
                  </a:lnTo>
                  <a:lnTo>
                    <a:pt x="393" y="112"/>
                  </a:lnTo>
                  <a:lnTo>
                    <a:pt x="393" y="114"/>
                  </a:lnTo>
                  <a:lnTo>
                    <a:pt x="394" y="117"/>
                  </a:lnTo>
                  <a:lnTo>
                    <a:pt x="395" y="119"/>
                  </a:lnTo>
                  <a:lnTo>
                    <a:pt x="396" y="121"/>
                  </a:lnTo>
                  <a:lnTo>
                    <a:pt x="398" y="123"/>
                  </a:lnTo>
                  <a:lnTo>
                    <a:pt x="400" y="125"/>
                  </a:lnTo>
                  <a:lnTo>
                    <a:pt x="405" y="129"/>
                  </a:lnTo>
                  <a:lnTo>
                    <a:pt x="414" y="135"/>
                  </a:lnTo>
                  <a:lnTo>
                    <a:pt x="418" y="138"/>
                  </a:lnTo>
                  <a:lnTo>
                    <a:pt x="421" y="139"/>
                  </a:lnTo>
                  <a:lnTo>
                    <a:pt x="425" y="140"/>
                  </a:lnTo>
                  <a:lnTo>
                    <a:pt x="428" y="142"/>
                  </a:lnTo>
                  <a:lnTo>
                    <a:pt x="432" y="143"/>
                  </a:lnTo>
                  <a:lnTo>
                    <a:pt x="435" y="143"/>
                  </a:lnTo>
                  <a:lnTo>
                    <a:pt x="439" y="143"/>
                  </a:lnTo>
                  <a:lnTo>
                    <a:pt x="443" y="143"/>
                  </a:lnTo>
                  <a:lnTo>
                    <a:pt x="456" y="141"/>
                  </a:lnTo>
                  <a:lnTo>
                    <a:pt x="458" y="141"/>
                  </a:lnTo>
                  <a:lnTo>
                    <a:pt x="461" y="141"/>
                  </a:lnTo>
                  <a:lnTo>
                    <a:pt x="464" y="142"/>
                  </a:lnTo>
                  <a:lnTo>
                    <a:pt x="473" y="144"/>
                  </a:lnTo>
                  <a:lnTo>
                    <a:pt x="481" y="146"/>
                  </a:lnTo>
                  <a:lnTo>
                    <a:pt x="485" y="147"/>
                  </a:lnTo>
                  <a:lnTo>
                    <a:pt x="489" y="148"/>
                  </a:lnTo>
                  <a:lnTo>
                    <a:pt x="490" y="148"/>
                  </a:lnTo>
                  <a:lnTo>
                    <a:pt x="493" y="147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500" y="144"/>
                  </a:lnTo>
                  <a:lnTo>
                    <a:pt x="502" y="143"/>
                  </a:lnTo>
                  <a:lnTo>
                    <a:pt x="509" y="139"/>
                  </a:lnTo>
                  <a:lnTo>
                    <a:pt x="511" y="138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5" y="137"/>
                  </a:lnTo>
                  <a:lnTo>
                    <a:pt x="515" y="138"/>
                  </a:lnTo>
                  <a:lnTo>
                    <a:pt x="517" y="138"/>
                  </a:lnTo>
                  <a:lnTo>
                    <a:pt x="518" y="138"/>
                  </a:lnTo>
                  <a:lnTo>
                    <a:pt x="520" y="140"/>
                  </a:lnTo>
                  <a:lnTo>
                    <a:pt x="521" y="141"/>
                  </a:lnTo>
                  <a:lnTo>
                    <a:pt x="525" y="145"/>
                  </a:lnTo>
                  <a:lnTo>
                    <a:pt x="530" y="150"/>
                  </a:lnTo>
                  <a:lnTo>
                    <a:pt x="532" y="153"/>
                  </a:lnTo>
                  <a:lnTo>
                    <a:pt x="535" y="155"/>
                  </a:lnTo>
                  <a:lnTo>
                    <a:pt x="537" y="157"/>
                  </a:lnTo>
                  <a:lnTo>
                    <a:pt x="540" y="158"/>
                  </a:lnTo>
                  <a:lnTo>
                    <a:pt x="542" y="160"/>
                  </a:lnTo>
                  <a:lnTo>
                    <a:pt x="544" y="160"/>
                  </a:lnTo>
                  <a:lnTo>
                    <a:pt x="546" y="161"/>
                  </a:lnTo>
                  <a:lnTo>
                    <a:pt x="549" y="162"/>
                  </a:lnTo>
                  <a:lnTo>
                    <a:pt x="555" y="162"/>
                  </a:lnTo>
                  <a:lnTo>
                    <a:pt x="566" y="163"/>
                  </a:lnTo>
                  <a:lnTo>
                    <a:pt x="574" y="163"/>
                  </a:lnTo>
                  <a:lnTo>
                    <a:pt x="578" y="163"/>
                  </a:lnTo>
                  <a:lnTo>
                    <a:pt x="583" y="163"/>
                  </a:lnTo>
                  <a:lnTo>
                    <a:pt x="588" y="164"/>
                  </a:lnTo>
                  <a:lnTo>
                    <a:pt x="592" y="165"/>
                  </a:lnTo>
                  <a:lnTo>
                    <a:pt x="596" y="166"/>
                  </a:lnTo>
                  <a:lnTo>
                    <a:pt x="599" y="168"/>
                  </a:lnTo>
                  <a:lnTo>
                    <a:pt x="606" y="171"/>
                  </a:lnTo>
                  <a:lnTo>
                    <a:pt x="609" y="172"/>
                  </a:lnTo>
                  <a:lnTo>
                    <a:pt x="611" y="173"/>
                  </a:lnTo>
                  <a:lnTo>
                    <a:pt x="614" y="173"/>
                  </a:lnTo>
                  <a:lnTo>
                    <a:pt x="616" y="174"/>
                  </a:lnTo>
                  <a:lnTo>
                    <a:pt x="627" y="175"/>
                  </a:lnTo>
                  <a:lnTo>
                    <a:pt x="630" y="175"/>
                  </a:lnTo>
                  <a:lnTo>
                    <a:pt x="632" y="176"/>
                  </a:lnTo>
                  <a:lnTo>
                    <a:pt x="636" y="177"/>
                  </a:lnTo>
                  <a:lnTo>
                    <a:pt x="640" y="178"/>
                  </a:lnTo>
                  <a:lnTo>
                    <a:pt x="650" y="184"/>
                  </a:lnTo>
                  <a:lnTo>
                    <a:pt x="655" y="186"/>
                  </a:lnTo>
                  <a:lnTo>
                    <a:pt x="659" y="188"/>
                  </a:lnTo>
                  <a:lnTo>
                    <a:pt x="662" y="188"/>
                  </a:lnTo>
                  <a:lnTo>
                    <a:pt x="665" y="189"/>
                  </a:lnTo>
                  <a:lnTo>
                    <a:pt x="666" y="189"/>
                  </a:lnTo>
                  <a:lnTo>
                    <a:pt x="667" y="189"/>
                  </a:lnTo>
                  <a:lnTo>
                    <a:pt x="667" y="190"/>
                  </a:lnTo>
                  <a:lnTo>
                    <a:pt x="667" y="193"/>
                  </a:lnTo>
                  <a:lnTo>
                    <a:pt x="671" y="203"/>
                  </a:lnTo>
                  <a:lnTo>
                    <a:pt x="672" y="208"/>
                  </a:lnTo>
                  <a:lnTo>
                    <a:pt x="675" y="213"/>
                  </a:lnTo>
                  <a:lnTo>
                    <a:pt x="679" y="221"/>
                  </a:lnTo>
                  <a:lnTo>
                    <a:pt x="681" y="225"/>
                  </a:lnTo>
                  <a:lnTo>
                    <a:pt x="682" y="227"/>
                  </a:lnTo>
                  <a:lnTo>
                    <a:pt x="686" y="231"/>
                  </a:lnTo>
                  <a:lnTo>
                    <a:pt x="687" y="233"/>
                  </a:lnTo>
                  <a:lnTo>
                    <a:pt x="689" y="235"/>
                  </a:lnTo>
                  <a:lnTo>
                    <a:pt x="690" y="237"/>
                  </a:lnTo>
                  <a:lnTo>
                    <a:pt x="690" y="239"/>
                  </a:lnTo>
                  <a:lnTo>
                    <a:pt x="691" y="240"/>
                  </a:lnTo>
                  <a:lnTo>
                    <a:pt x="691" y="243"/>
                  </a:lnTo>
                  <a:lnTo>
                    <a:pt x="690" y="245"/>
                  </a:lnTo>
                  <a:lnTo>
                    <a:pt x="690" y="248"/>
                  </a:lnTo>
                  <a:lnTo>
                    <a:pt x="688" y="253"/>
                  </a:lnTo>
                  <a:lnTo>
                    <a:pt x="687" y="257"/>
                  </a:lnTo>
                  <a:lnTo>
                    <a:pt x="686" y="260"/>
                  </a:lnTo>
                  <a:lnTo>
                    <a:pt x="685" y="263"/>
                  </a:lnTo>
                  <a:lnTo>
                    <a:pt x="681" y="269"/>
                  </a:lnTo>
                  <a:lnTo>
                    <a:pt x="679" y="274"/>
                  </a:lnTo>
                  <a:lnTo>
                    <a:pt x="677" y="278"/>
                  </a:lnTo>
                  <a:lnTo>
                    <a:pt x="674" y="285"/>
                  </a:lnTo>
                  <a:lnTo>
                    <a:pt x="672" y="290"/>
                  </a:lnTo>
                  <a:lnTo>
                    <a:pt x="671" y="293"/>
                  </a:lnTo>
                  <a:lnTo>
                    <a:pt x="669" y="295"/>
                  </a:lnTo>
                  <a:lnTo>
                    <a:pt x="667" y="297"/>
                  </a:lnTo>
                  <a:lnTo>
                    <a:pt x="665" y="299"/>
                  </a:lnTo>
                  <a:lnTo>
                    <a:pt x="657" y="305"/>
                  </a:lnTo>
                  <a:lnTo>
                    <a:pt x="650" y="310"/>
                  </a:lnTo>
                  <a:lnTo>
                    <a:pt x="647" y="312"/>
                  </a:lnTo>
                  <a:lnTo>
                    <a:pt x="645" y="315"/>
                  </a:lnTo>
                  <a:lnTo>
                    <a:pt x="640" y="320"/>
                  </a:lnTo>
                  <a:lnTo>
                    <a:pt x="637" y="322"/>
                  </a:lnTo>
                  <a:lnTo>
                    <a:pt x="637" y="325"/>
                  </a:lnTo>
                  <a:lnTo>
                    <a:pt x="635" y="327"/>
                  </a:lnTo>
                  <a:lnTo>
                    <a:pt x="635" y="330"/>
                  </a:lnTo>
                  <a:lnTo>
                    <a:pt x="635" y="332"/>
                  </a:lnTo>
                  <a:lnTo>
                    <a:pt x="635" y="335"/>
                  </a:lnTo>
                  <a:lnTo>
                    <a:pt x="635" y="337"/>
                  </a:lnTo>
                  <a:lnTo>
                    <a:pt x="635" y="341"/>
                  </a:lnTo>
                  <a:lnTo>
                    <a:pt x="635" y="345"/>
                  </a:lnTo>
                  <a:lnTo>
                    <a:pt x="635" y="347"/>
                  </a:lnTo>
                  <a:lnTo>
                    <a:pt x="635" y="349"/>
                  </a:lnTo>
                  <a:lnTo>
                    <a:pt x="635" y="350"/>
                  </a:lnTo>
                  <a:lnTo>
                    <a:pt x="635" y="352"/>
                  </a:lnTo>
                  <a:lnTo>
                    <a:pt x="634" y="354"/>
                  </a:lnTo>
                  <a:lnTo>
                    <a:pt x="633" y="355"/>
                  </a:lnTo>
                  <a:lnTo>
                    <a:pt x="632" y="357"/>
                  </a:lnTo>
                  <a:lnTo>
                    <a:pt x="631" y="358"/>
                  </a:lnTo>
                  <a:lnTo>
                    <a:pt x="630" y="360"/>
                  </a:lnTo>
                  <a:lnTo>
                    <a:pt x="628" y="360"/>
                  </a:lnTo>
                  <a:lnTo>
                    <a:pt x="627" y="362"/>
                  </a:lnTo>
                  <a:lnTo>
                    <a:pt x="620" y="365"/>
                  </a:lnTo>
                  <a:lnTo>
                    <a:pt x="619" y="366"/>
                  </a:lnTo>
                  <a:lnTo>
                    <a:pt x="618" y="367"/>
                  </a:lnTo>
                  <a:lnTo>
                    <a:pt x="617" y="368"/>
                  </a:lnTo>
                  <a:lnTo>
                    <a:pt x="617" y="369"/>
                  </a:lnTo>
                  <a:lnTo>
                    <a:pt x="616" y="370"/>
                  </a:lnTo>
                  <a:lnTo>
                    <a:pt x="616" y="371"/>
                  </a:lnTo>
                  <a:lnTo>
                    <a:pt x="616" y="372"/>
                  </a:lnTo>
                  <a:lnTo>
                    <a:pt x="616" y="375"/>
                  </a:lnTo>
                  <a:lnTo>
                    <a:pt x="616" y="376"/>
                  </a:lnTo>
                  <a:lnTo>
                    <a:pt x="616" y="377"/>
                  </a:lnTo>
                  <a:lnTo>
                    <a:pt x="617" y="380"/>
                  </a:lnTo>
                  <a:lnTo>
                    <a:pt x="617" y="381"/>
                  </a:lnTo>
                  <a:lnTo>
                    <a:pt x="618" y="383"/>
                  </a:lnTo>
                  <a:lnTo>
                    <a:pt x="619" y="385"/>
                  </a:lnTo>
                  <a:lnTo>
                    <a:pt x="620" y="386"/>
                  </a:lnTo>
                  <a:lnTo>
                    <a:pt x="622" y="388"/>
                  </a:lnTo>
                  <a:lnTo>
                    <a:pt x="624" y="390"/>
                  </a:lnTo>
                  <a:lnTo>
                    <a:pt x="629" y="393"/>
                  </a:lnTo>
                  <a:lnTo>
                    <a:pt x="630" y="395"/>
                  </a:lnTo>
                  <a:lnTo>
                    <a:pt x="630" y="395"/>
                  </a:lnTo>
                  <a:lnTo>
                    <a:pt x="631" y="396"/>
                  </a:lnTo>
                  <a:lnTo>
                    <a:pt x="631" y="397"/>
                  </a:lnTo>
                  <a:lnTo>
                    <a:pt x="631" y="398"/>
                  </a:lnTo>
                  <a:lnTo>
                    <a:pt x="630" y="400"/>
                  </a:lnTo>
                  <a:lnTo>
                    <a:pt x="629" y="404"/>
                  </a:lnTo>
                  <a:lnTo>
                    <a:pt x="628" y="406"/>
                  </a:lnTo>
                  <a:lnTo>
                    <a:pt x="627" y="407"/>
                  </a:lnTo>
                  <a:lnTo>
                    <a:pt x="627" y="408"/>
                  </a:lnTo>
                  <a:lnTo>
                    <a:pt x="625" y="409"/>
                  </a:lnTo>
                  <a:lnTo>
                    <a:pt x="624" y="410"/>
                  </a:lnTo>
                  <a:lnTo>
                    <a:pt x="620" y="411"/>
                  </a:lnTo>
                  <a:lnTo>
                    <a:pt x="618" y="412"/>
                  </a:lnTo>
                  <a:lnTo>
                    <a:pt x="617" y="413"/>
                  </a:lnTo>
                  <a:lnTo>
                    <a:pt x="613" y="418"/>
                  </a:lnTo>
                  <a:lnTo>
                    <a:pt x="609" y="422"/>
                  </a:lnTo>
                  <a:lnTo>
                    <a:pt x="607" y="425"/>
                  </a:lnTo>
                  <a:lnTo>
                    <a:pt x="606" y="426"/>
                  </a:lnTo>
                  <a:lnTo>
                    <a:pt x="605" y="427"/>
                  </a:lnTo>
                  <a:lnTo>
                    <a:pt x="604" y="430"/>
                  </a:lnTo>
                  <a:lnTo>
                    <a:pt x="603" y="432"/>
                  </a:lnTo>
                  <a:lnTo>
                    <a:pt x="603" y="434"/>
                  </a:lnTo>
                  <a:lnTo>
                    <a:pt x="603" y="436"/>
                  </a:lnTo>
                  <a:lnTo>
                    <a:pt x="604" y="439"/>
                  </a:lnTo>
                  <a:lnTo>
                    <a:pt x="605" y="442"/>
                  </a:lnTo>
                  <a:lnTo>
                    <a:pt x="606" y="445"/>
                  </a:lnTo>
                  <a:lnTo>
                    <a:pt x="608" y="450"/>
                  </a:lnTo>
                  <a:lnTo>
                    <a:pt x="610" y="452"/>
                  </a:lnTo>
                  <a:lnTo>
                    <a:pt x="615" y="458"/>
                  </a:lnTo>
                  <a:lnTo>
                    <a:pt x="616" y="460"/>
                  </a:lnTo>
                  <a:lnTo>
                    <a:pt x="617" y="462"/>
                  </a:lnTo>
                  <a:lnTo>
                    <a:pt x="618" y="465"/>
                  </a:lnTo>
                  <a:lnTo>
                    <a:pt x="619" y="467"/>
                  </a:lnTo>
                  <a:lnTo>
                    <a:pt x="620" y="471"/>
                  </a:lnTo>
                  <a:lnTo>
                    <a:pt x="620" y="473"/>
                  </a:lnTo>
                  <a:lnTo>
                    <a:pt x="619" y="475"/>
                  </a:lnTo>
                  <a:lnTo>
                    <a:pt x="619" y="477"/>
                  </a:lnTo>
                  <a:lnTo>
                    <a:pt x="618" y="478"/>
                  </a:lnTo>
                  <a:lnTo>
                    <a:pt x="617" y="479"/>
                  </a:lnTo>
                  <a:lnTo>
                    <a:pt x="616" y="481"/>
                  </a:lnTo>
                  <a:lnTo>
                    <a:pt x="611" y="486"/>
                  </a:lnTo>
                  <a:lnTo>
                    <a:pt x="608" y="489"/>
                  </a:lnTo>
                  <a:lnTo>
                    <a:pt x="607" y="491"/>
                  </a:lnTo>
                  <a:lnTo>
                    <a:pt x="606" y="492"/>
                  </a:lnTo>
                  <a:lnTo>
                    <a:pt x="605" y="494"/>
                  </a:lnTo>
                  <a:lnTo>
                    <a:pt x="604" y="497"/>
                  </a:lnTo>
                  <a:lnTo>
                    <a:pt x="603" y="500"/>
                  </a:lnTo>
                  <a:lnTo>
                    <a:pt x="602" y="504"/>
                  </a:lnTo>
                  <a:lnTo>
                    <a:pt x="598" y="519"/>
                  </a:lnTo>
                  <a:lnTo>
                    <a:pt x="598" y="522"/>
                  </a:lnTo>
                  <a:lnTo>
                    <a:pt x="598" y="527"/>
                  </a:lnTo>
                  <a:lnTo>
                    <a:pt x="598" y="527"/>
                  </a:lnTo>
                  <a:lnTo>
                    <a:pt x="597" y="524"/>
                  </a:lnTo>
                  <a:lnTo>
                    <a:pt x="596" y="524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4"/>
                  </a:lnTo>
                  <a:lnTo>
                    <a:pt x="590" y="522"/>
                  </a:lnTo>
                  <a:lnTo>
                    <a:pt x="589" y="522"/>
                  </a:lnTo>
                  <a:lnTo>
                    <a:pt x="587" y="523"/>
                  </a:lnTo>
                  <a:lnTo>
                    <a:pt x="583" y="525"/>
                  </a:lnTo>
                  <a:lnTo>
                    <a:pt x="580" y="527"/>
                  </a:lnTo>
                  <a:lnTo>
                    <a:pt x="577" y="529"/>
                  </a:lnTo>
                  <a:lnTo>
                    <a:pt x="565" y="539"/>
                  </a:lnTo>
                  <a:lnTo>
                    <a:pt x="562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2" y="548"/>
                  </a:lnTo>
                  <a:lnTo>
                    <a:pt x="550" y="549"/>
                  </a:lnTo>
                  <a:lnTo>
                    <a:pt x="548" y="549"/>
                  </a:lnTo>
                  <a:lnTo>
                    <a:pt x="545" y="550"/>
                  </a:lnTo>
                  <a:lnTo>
                    <a:pt x="543" y="551"/>
                  </a:lnTo>
                  <a:lnTo>
                    <a:pt x="540" y="551"/>
                  </a:lnTo>
                  <a:lnTo>
                    <a:pt x="538" y="551"/>
                  </a:lnTo>
                  <a:lnTo>
                    <a:pt x="535" y="550"/>
                  </a:lnTo>
                  <a:lnTo>
                    <a:pt x="532" y="549"/>
                  </a:lnTo>
                  <a:lnTo>
                    <a:pt x="521" y="547"/>
                  </a:lnTo>
                  <a:lnTo>
                    <a:pt x="520" y="547"/>
                  </a:lnTo>
                  <a:lnTo>
                    <a:pt x="518" y="547"/>
                  </a:lnTo>
                  <a:lnTo>
                    <a:pt x="516" y="547"/>
                  </a:lnTo>
                  <a:lnTo>
                    <a:pt x="515" y="547"/>
                  </a:lnTo>
                  <a:lnTo>
                    <a:pt x="513" y="549"/>
                  </a:lnTo>
                  <a:lnTo>
                    <a:pt x="513" y="549"/>
                  </a:lnTo>
                  <a:lnTo>
                    <a:pt x="512" y="552"/>
                  </a:lnTo>
                  <a:lnTo>
                    <a:pt x="511" y="557"/>
                  </a:lnTo>
                  <a:lnTo>
                    <a:pt x="510" y="562"/>
                  </a:lnTo>
                  <a:lnTo>
                    <a:pt x="509" y="569"/>
                  </a:lnTo>
                  <a:lnTo>
                    <a:pt x="508" y="574"/>
                  </a:lnTo>
                  <a:lnTo>
                    <a:pt x="508" y="586"/>
                  </a:lnTo>
                  <a:lnTo>
                    <a:pt x="508" y="590"/>
                  </a:lnTo>
                  <a:lnTo>
                    <a:pt x="507" y="594"/>
                  </a:lnTo>
                  <a:lnTo>
                    <a:pt x="504" y="602"/>
                  </a:lnTo>
                  <a:lnTo>
                    <a:pt x="504" y="604"/>
                  </a:lnTo>
                  <a:lnTo>
                    <a:pt x="504" y="607"/>
                  </a:lnTo>
                  <a:lnTo>
                    <a:pt x="504" y="609"/>
                  </a:lnTo>
                  <a:lnTo>
                    <a:pt x="505" y="613"/>
                  </a:lnTo>
                  <a:lnTo>
                    <a:pt x="505" y="617"/>
                  </a:lnTo>
                  <a:lnTo>
                    <a:pt x="509" y="624"/>
                  </a:lnTo>
                  <a:lnTo>
                    <a:pt x="510" y="629"/>
                  </a:lnTo>
                  <a:lnTo>
                    <a:pt x="511" y="632"/>
                  </a:lnTo>
                  <a:lnTo>
                    <a:pt x="514" y="644"/>
                  </a:lnTo>
                  <a:lnTo>
                    <a:pt x="515" y="649"/>
                  </a:lnTo>
                  <a:lnTo>
                    <a:pt x="515" y="652"/>
                  </a:lnTo>
                  <a:lnTo>
                    <a:pt x="515" y="657"/>
                  </a:lnTo>
                  <a:lnTo>
                    <a:pt x="515" y="660"/>
                  </a:lnTo>
                  <a:lnTo>
                    <a:pt x="514" y="662"/>
                  </a:lnTo>
                  <a:lnTo>
                    <a:pt x="513" y="664"/>
                  </a:lnTo>
                  <a:lnTo>
                    <a:pt x="513" y="667"/>
                  </a:lnTo>
                  <a:lnTo>
                    <a:pt x="512" y="668"/>
                  </a:lnTo>
                  <a:lnTo>
                    <a:pt x="510" y="670"/>
                  </a:lnTo>
                  <a:lnTo>
                    <a:pt x="509" y="672"/>
                  </a:lnTo>
                  <a:lnTo>
                    <a:pt x="508" y="674"/>
                  </a:lnTo>
                  <a:lnTo>
                    <a:pt x="505" y="676"/>
                  </a:lnTo>
                  <a:lnTo>
                    <a:pt x="503" y="678"/>
                  </a:lnTo>
                  <a:lnTo>
                    <a:pt x="500" y="680"/>
                  </a:lnTo>
                  <a:lnTo>
                    <a:pt x="498" y="681"/>
                  </a:lnTo>
                  <a:lnTo>
                    <a:pt x="491" y="684"/>
                  </a:lnTo>
                  <a:lnTo>
                    <a:pt x="490" y="684"/>
                  </a:lnTo>
                  <a:lnTo>
                    <a:pt x="488" y="686"/>
                  </a:lnTo>
                  <a:lnTo>
                    <a:pt x="485" y="687"/>
                  </a:lnTo>
                  <a:lnTo>
                    <a:pt x="484" y="689"/>
                  </a:lnTo>
                  <a:lnTo>
                    <a:pt x="482" y="691"/>
                  </a:lnTo>
                  <a:lnTo>
                    <a:pt x="480" y="693"/>
                  </a:lnTo>
                  <a:lnTo>
                    <a:pt x="478" y="696"/>
                  </a:lnTo>
                  <a:lnTo>
                    <a:pt x="475" y="699"/>
                  </a:lnTo>
                  <a:lnTo>
                    <a:pt x="471" y="706"/>
                  </a:lnTo>
                  <a:lnTo>
                    <a:pt x="468" y="713"/>
                  </a:lnTo>
                  <a:lnTo>
                    <a:pt x="466" y="716"/>
                  </a:lnTo>
                  <a:lnTo>
                    <a:pt x="465" y="719"/>
                  </a:lnTo>
                  <a:lnTo>
                    <a:pt x="464" y="723"/>
                  </a:lnTo>
                  <a:lnTo>
                    <a:pt x="463" y="729"/>
                  </a:lnTo>
                  <a:lnTo>
                    <a:pt x="461" y="734"/>
                  </a:lnTo>
                  <a:lnTo>
                    <a:pt x="460" y="741"/>
                  </a:lnTo>
                  <a:lnTo>
                    <a:pt x="459" y="745"/>
                  </a:lnTo>
                  <a:lnTo>
                    <a:pt x="459" y="750"/>
                  </a:lnTo>
                  <a:lnTo>
                    <a:pt x="458" y="754"/>
                  </a:lnTo>
                  <a:lnTo>
                    <a:pt x="458" y="759"/>
                  </a:lnTo>
                  <a:lnTo>
                    <a:pt x="459" y="762"/>
                  </a:lnTo>
                  <a:lnTo>
                    <a:pt x="459" y="766"/>
                  </a:lnTo>
                  <a:lnTo>
                    <a:pt x="460" y="769"/>
                  </a:lnTo>
                  <a:lnTo>
                    <a:pt x="460" y="772"/>
                  </a:lnTo>
                  <a:lnTo>
                    <a:pt x="460" y="774"/>
                  </a:lnTo>
                  <a:lnTo>
                    <a:pt x="462" y="778"/>
                  </a:lnTo>
                  <a:lnTo>
                    <a:pt x="465" y="789"/>
                  </a:lnTo>
                  <a:lnTo>
                    <a:pt x="466" y="791"/>
                  </a:lnTo>
                  <a:lnTo>
                    <a:pt x="466" y="792"/>
                  </a:lnTo>
                  <a:lnTo>
                    <a:pt x="465" y="791"/>
                  </a:lnTo>
                  <a:lnTo>
                    <a:pt x="462" y="791"/>
                  </a:lnTo>
                  <a:lnTo>
                    <a:pt x="460" y="790"/>
                  </a:lnTo>
                  <a:lnTo>
                    <a:pt x="458" y="790"/>
                  </a:lnTo>
                  <a:lnTo>
                    <a:pt x="455" y="790"/>
                  </a:lnTo>
                  <a:lnTo>
                    <a:pt x="451" y="791"/>
                  </a:lnTo>
                  <a:lnTo>
                    <a:pt x="449" y="791"/>
                  </a:lnTo>
                  <a:lnTo>
                    <a:pt x="445" y="792"/>
                  </a:lnTo>
                  <a:lnTo>
                    <a:pt x="443" y="794"/>
                  </a:lnTo>
                  <a:lnTo>
                    <a:pt x="440" y="795"/>
                  </a:lnTo>
                  <a:lnTo>
                    <a:pt x="437" y="796"/>
                  </a:lnTo>
                  <a:lnTo>
                    <a:pt x="435" y="799"/>
                  </a:lnTo>
                  <a:lnTo>
                    <a:pt x="433" y="800"/>
                  </a:lnTo>
                  <a:lnTo>
                    <a:pt x="431" y="803"/>
                  </a:lnTo>
                  <a:lnTo>
                    <a:pt x="430" y="804"/>
                  </a:lnTo>
                  <a:lnTo>
                    <a:pt x="428" y="807"/>
                  </a:lnTo>
                  <a:lnTo>
                    <a:pt x="424" y="815"/>
                  </a:lnTo>
                  <a:lnTo>
                    <a:pt x="423" y="817"/>
                  </a:lnTo>
                  <a:lnTo>
                    <a:pt x="422" y="818"/>
                  </a:lnTo>
                  <a:lnTo>
                    <a:pt x="421" y="819"/>
                  </a:lnTo>
                  <a:lnTo>
                    <a:pt x="420" y="819"/>
                  </a:lnTo>
                  <a:lnTo>
                    <a:pt x="419" y="820"/>
                  </a:lnTo>
                  <a:lnTo>
                    <a:pt x="417" y="821"/>
                  </a:lnTo>
                  <a:lnTo>
                    <a:pt x="414" y="821"/>
                  </a:lnTo>
                  <a:lnTo>
                    <a:pt x="413" y="821"/>
                  </a:lnTo>
                  <a:lnTo>
                    <a:pt x="410" y="820"/>
                  </a:lnTo>
                  <a:lnTo>
                    <a:pt x="409" y="819"/>
                  </a:lnTo>
                  <a:lnTo>
                    <a:pt x="407" y="818"/>
                  </a:lnTo>
                  <a:lnTo>
                    <a:pt x="400" y="814"/>
                  </a:lnTo>
                  <a:lnTo>
                    <a:pt x="392" y="809"/>
                  </a:lnTo>
                  <a:lnTo>
                    <a:pt x="366" y="791"/>
                  </a:lnTo>
                  <a:lnTo>
                    <a:pt x="359" y="785"/>
                  </a:lnTo>
                  <a:lnTo>
                    <a:pt x="356" y="782"/>
                  </a:lnTo>
                  <a:lnTo>
                    <a:pt x="353" y="781"/>
                  </a:lnTo>
                  <a:lnTo>
                    <a:pt x="347" y="774"/>
                  </a:lnTo>
                  <a:lnTo>
                    <a:pt x="345" y="771"/>
                  </a:lnTo>
                  <a:lnTo>
                    <a:pt x="343" y="769"/>
                  </a:lnTo>
                  <a:lnTo>
                    <a:pt x="341" y="765"/>
                  </a:lnTo>
                  <a:lnTo>
                    <a:pt x="339" y="763"/>
                  </a:lnTo>
                  <a:lnTo>
                    <a:pt x="338" y="760"/>
                  </a:lnTo>
                  <a:lnTo>
                    <a:pt x="337" y="758"/>
                  </a:lnTo>
                  <a:lnTo>
                    <a:pt x="336" y="754"/>
                  </a:lnTo>
                  <a:lnTo>
                    <a:pt x="336" y="750"/>
                  </a:lnTo>
                  <a:lnTo>
                    <a:pt x="334" y="737"/>
                  </a:lnTo>
                  <a:lnTo>
                    <a:pt x="333" y="724"/>
                  </a:lnTo>
                  <a:lnTo>
                    <a:pt x="332" y="713"/>
                  </a:lnTo>
                  <a:lnTo>
                    <a:pt x="331" y="709"/>
                  </a:lnTo>
                  <a:lnTo>
                    <a:pt x="331" y="703"/>
                  </a:lnTo>
                  <a:lnTo>
                    <a:pt x="330" y="698"/>
                  </a:lnTo>
                  <a:lnTo>
                    <a:pt x="328" y="694"/>
                  </a:lnTo>
                  <a:lnTo>
                    <a:pt x="326" y="683"/>
                  </a:lnTo>
                  <a:lnTo>
                    <a:pt x="325" y="681"/>
                  </a:lnTo>
                  <a:lnTo>
                    <a:pt x="324" y="678"/>
                  </a:lnTo>
                  <a:lnTo>
                    <a:pt x="323" y="676"/>
                  </a:lnTo>
                  <a:lnTo>
                    <a:pt x="321" y="674"/>
                  </a:lnTo>
                  <a:lnTo>
                    <a:pt x="320" y="671"/>
                  </a:lnTo>
                  <a:lnTo>
                    <a:pt x="317" y="667"/>
                  </a:lnTo>
                  <a:lnTo>
                    <a:pt x="311" y="659"/>
                  </a:lnTo>
                  <a:lnTo>
                    <a:pt x="303" y="651"/>
                  </a:lnTo>
                  <a:lnTo>
                    <a:pt x="295" y="640"/>
                  </a:lnTo>
                  <a:lnTo>
                    <a:pt x="281" y="622"/>
                  </a:lnTo>
                  <a:lnTo>
                    <a:pt x="278" y="619"/>
                  </a:lnTo>
                  <a:lnTo>
                    <a:pt x="274" y="615"/>
                  </a:lnTo>
                  <a:lnTo>
                    <a:pt x="271" y="612"/>
                  </a:lnTo>
                  <a:lnTo>
                    <a:pt x="265" y="607"/>
                  </a:lnTo>
                  <a:lnTo>
                    <a:pt x="261" y="603"/>
                  </a:lnTo>
                  <a:lnTo>
                    <a:pt x="258" y="600"/>
                  </a:lnTo>
                  <a:lnTo>
                    <a:pt x="249" y="594"/>
                  </a:lnTo>
                  <a:lnTo>
                    <a:pt x="245" y="591"/>
                  </a:lnTo>
                  <a:lnTo>
                    <a:pt x="241" y="588"/>
                  </a:lnTo>
                  <a:lnTo>
                    <a:pt x="235" y="584"/>
                  </a:lnTo>
                  <a:lnTo>
                    <a:pt x="230" y="582"/>
                  </a:lnTo>
                  <a:lnTo>
                    <a:pt x="226" y="581"/>
                  </a:lnTo>
                  <a:lnTo>
                    <a:pt x="221" y="580"/>
                  </a:lnTo>
                  <a:lnTo>
                    <a:pt x="217" y="579"/>
                  </a:lnTo>
                  <a:lnTo>
                    <a:pt x="212" y="579"/>
                  </a:lnTo>
                  <a:lnTo>
                    <a:pt x="206" y="579"/>
                  </a:lnTo>
                  <a:lnTo>
                    <a:pt x="193" y="579"/>
                  </a:lnTo>
                  <a:lnTo>
                    <a:pt x="187" y="579"/>
                  </a:lnTo>
                  <a:lnTo>
                    <a:pt x="183" y="578"/>
                  </a:lnTo>
                  <a:lnTo>
                    <a:pt x="180" y="577"/>
                  </a:lnTo>
                  <a:lnTo>
                    <a:pt x="177" y="577"/>
                  </a:lnTo>
                  <a:lnTo>
                    <a:pt x="174" y="576"/>
                  </a:lnTo>
                  <a:lnTo>
                    <a:pt x="169" y="574"/>
                  </a:lnTo>
                  <a:lnTo>
                    <a:pt x="165" y="572"/>
                  </a:lnTo>
                  <a:lnTo>
                    <a:pt x="161" y="570"/>
                  </a:lnTo>
                  <a:lnTo>
                    <a:pt x="156" y="568"/>
                  </a:lnTo>
                  <a:lnTo>
                    <a:pt x="153" y="565"/>
                  </a:lnTo>
                  <a:lnTo>
                    <a:pt x="149" y="563"/>
                  </a:lnTo>
                  <a:lnTo>
                    <a:pt x="146" y="559"/>
                  </a:lnTo>
                  <a:lnTo>
                    <a:pt x="143" y="557"/>
                  </a:lnTo>
                  <a:lnTo>
                    <a:pt x="139" y="552"/>
                  </a:lnTo>
                  <a:lnTo>
                    <a:pt x="136" y="549"/>
                  </a:lnTo>
                  <a:lnTo>
                    <a:pt x="134" y="544"/>
                  </a:lnTo>
                  <a:lnTo>
                    <a:pt x="132" y="542"/>
                  </a:lnTo>
                  <a:lnTo>
                    <a:pt x="131" y="539"/>
                  </a:lnTo>
                  <a:lnTo>
                    <a:pt x="130" y="537"/>
                  </a:lnTo>
                  <a:lnTo>
                    <a:pt x="129" y="532"/>
                  </a:lnTo>
                  <a:lnTo>
                    <a:pt x="126" y="519"/>
                  </a:lnTo>
                  <a:lnTo>
                    <a:pt x="126" y="514"/>
                  </a:lnTo>
                  <a:lnTo>
                    <a:pt x="124" y="511"/>
                  </a:lnTo>
                  <a:lnTo>
                    <a:pt x="124" y="507"/>
                  </a:lnTo>
                  <a:lnTo>
                    <a:pt x="121" y="504"/>
                  </a:lnTo>
                  <a:lnTo>
                    <a:pt x="120" y="502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0" y="489"/>
                  </a:lnTo>
                  <a:lnTo>
                    <a:pt x="99" y="477"/>
                  </a:lnTo>
                  <a:lnTo>
                    <a:pt x="84" y="462"/>
                  </a:lnTo>
                  <a:lnTo>
                    <a:pt x="82" y="460"/>
                  </a:lnTo>
                  <a:lnTo>
                    <a:pt x="80" y="457"/>
                  </a:lnTo>
                  <a:lnTo>
                    <a:pt x="78" y="454"/>
                  </a:lnTo>
                  <a:lnTo>
                    <a:pt x="76" y="451"/>
                  </a:lnTo>
                  <a:lnTo>
                    <a:pt x="72" y="441"/>
                  </a:lnTo>
                  <a:lnTo>
                    <a:pt x="69" y="437"/>
                  </a:lnTo>
                  <a:lnTo>
                    <a:pt x="66" y="432"/>
                  </a:lnTo>
                  <a:lnTo>
                    <a:pt x="59" y="423"/>
                  </a:lnTo>
                  <a:lnTo>
                    <a:pt x="57" y="420"/>
                  </a:lnTo>
                  <a:lnTo>
                    <a:pt x="55" y="417"/>
                  </a:lnTo>
                  <a:lnTo>
                    <a:pt x="50" y="407"/>
                  </a:lnTo>
                  <a:lnTo>
                    <a:pt x="48" y="404"/>
                  </a:lnTo>
                  <a:lnTo>
                    <a:pt x="46" y="401"/>
                  </a:lnTo>
                  <a:lnTo>
                    <a:pt x="44" y="400"/>
                  </a:lnTo>
                  <a:lnTo>
                    <a:pt x="42" y="397"/>
                  </a:lnTo>
                  <a:lnTo>
                    <a:pt x="33" y="389"/>
                  </a:lnTo>
                  <a:lnTo>
                    <a:pt x="29" y="385"/>
                  </a:lnTo>
                  <a:lnTo>
                    <a:pt x="27" y="382"/>
                  </a:lnTo>
                  <a:lnTo>
                    <a:pt x="22" y="377"/>
                  </a:lnTo>
                  <a:lnTo>
                    <a:pt x="20" y="373"/>
                  </a:lnTo>
                  <a:lnTo>
                    <a:pt x="17" y="370"/>
                  </a:lnTo>
                  <a:lnTo>
                    <a:pt x="11" y="364"/>
                  </a:lnTo>
                  <a:lnTo>
                    <a:pt x="6" y="359"/>
                  </a:lnTo>
                  <a:lnTo>
                    <a:pt x="4" y="355"/>
                  </a:lnTo>
                  <a:lnTo>
                    <a:pt x="4" y="354"/>
                  </a:lnTo>
                  <a:lnTo>
                    <a:pt x="2" y="351"/>
                  </a:lnTo>
                  <a:lnTo>
                    <a:pt x="1" y="349"/>
                  </a:lnTo>
                  <a:lnTo>
                    <a:pt x="1" y="346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1" y="340"/>
                  </a:lnTo>
                  <a:lnTo>
                    <a:pt x="1" y="340"/>
                  </a:lnTo>
                  <a:lnTo>
                    <a:pt x="2" y="336"/>
                  </a:lnTo>
                  <a:lnTo>
                    <a:pt x="5" y="327"/>
                  </a:lnTo>
                  <a:lnTo>
                    <a:pt x="8" y="315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6" y="301"/>
                  </a:lnTo>
                  <a:lnTo>
                    <a:pt x="17" y="300"/>
                  </a:lnTo>
                  <a:lnTo>
                    <a:pt x="18" y="300"/>
                  </a:lnTo>
                  <a:lnTo>
                    <a:pt x="20" y="299"/>
                  </a:lnTo>
                  <a:lnTo>
                    <a:pt x="22" y="299"/>
                  </a:lnTo>
                  <a:lnTo>
                    <a:pt x="24" y="29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1" y="300"/>
                  </a:lnTo>
                  <a:lnTo>
                    <a:pt x="35" y="300"/>
                  </a:lnTo>
                  <a:lnTo>
                    <a:pt x="42" y="302"/>
                  </a:lnTo>
                  <a:lnTo>
                    <a:pt x="45" y="303"/>
                  </a:lnTo>
                  <a:lnTo>
                    <a:pt x="47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8" y="304"/>
                  </a:lnTo>
                  <a:lnTo>
                    <a:pt x="64" y="304"/>
                  </a:lnTo>
                  <a:lnTo>
                    <a:pt x="67" y="303"/>
                  </a:lnTo>
                  <a:lnTo>
                    <a:pt x="72" y="302"/>
                  </a:lnTo>
                  <a:lnTo>
                    <a:pt x="79" y="301"/>
                  </a:lnTo>
                  <a:lnTo>
                    <a:pt x="82" y="300"/>
                  </a:lnTo>
                  <a:lnTo>
                    <a:pt x="85" y="300"/>
                  </a:lnTo>
                  <a:lnTo>
                    <a:pt x="91" y="300"/>
                  </a:lnTo>
                  <a:lnTo>
                    <a:pt x="94" y="300"/>
                  </a:lnTo>
                  <a:lnTo>
                    <a:pt x="97" y="299"/>
                  </a:lnTo>
                  <a:lnTo>
                    <a:pt x="99" y="298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5" y="296"/>
                  </a:lnTo>
                  <a:lnTo>
                    <a:pt x="106" y="295"/>
                  </a:lnTo>
                  <a:lnTo>
                    <a:pt x="108" y="293"/>
                  </a:lnTo>
                  <a:lnTo>
                    <a:pt x="109" y="292"/>
                  </a:lnTo>
                  <a:lnTo>
                    <a:pt x="110" y="290"/>
                  </a:lnTo>
                  <a:lnTo>
                    <a:pt x="111" y="289"/>
                  </a:lnTo>
                  <a:lnTo>
                    <a:pt x="112" y="287"/>
                  </a:lnTo>
                  <a:lnTo>
                    <a:pt x="112" y="284"/>
                  </a:lnTo>
                  <a:lnTo>
                    <a:pt x="113" y="280"/>
                  </a:lnTo>
                  <a:lnTo>
                    <a:pt x="113" y="276"/>
                  </a:lnTo>
                  <a:lnTo>
                    <a:pt x="113" y="263"/>
                  </a:lnTo>
                  <a:lnTo>
                    <a:pt x="113" y="252"/>
                  </a:lnTo>
                  <a:lnTo>
                    <a:pt x="113" y="249"/>
                  </a:lnTo>
                  <a:lnTo>
                    <a:pt x="112" y="243"/>
                  </a:lnTo>
                  <a:lnTo>
                    <a:pt x="112" y="241"/>
                  </a:lnTo>
                  <a:lnTo>
                    <a:pt x="111" y="238"/>
                  </a:lnTo>
                  <a:lnTo>
                    <a:pt x="110" y="235"/>
                  </a:lnTo>
                  <a:lnTo>
                    <a:pt x="109" y="231"/>
                  </a:lnTo>
                  <a:lnTo>
                    <a:pt x="106" y="226"/>
                  </a:lnTo>
                  <a:lnTo>
                    <a:pt x="105" y="223"/>
                  </a:lnTo>
                  <a:lnTo>
                    <a:pt x="103" y="221"/>
                  </a:lnTo>
                  <a:lnTo>
                    <a:pt x="101" y="218"/>
                  </a:lnTo>
                  <a:lnTo>
                    <a:pt x="99" y="216"/>
                  </a:lnTo>
                  <a:lnTo>
                    <a:pt x="95" y="213"/>
                  </a:lnTo>
                  <a:lnTo>
                    <a:pt x="94" y="211"/>
                  </a:lnTo>
                  <a:lnTo>
                    <a:pt x="92" y="209"/>
                  </a:lnTo>
                  <a:lnTo>
                    <a:pt x="91" y="207"/>
                  </a:lnTo>
                  <a:lnTo>
                    <a:pt x="91" y="206"/>
                  </a:lnTo>
                  <a:lnTo>
                    <a:pt x="91" y="205"/>
                  </a:lnTo>
                  <a:lnTo>
                    <a:pt x="92" y="203"/>
                  </a:lnTo>
                  <a:lnTo>
                    <a:pt x="93" y="202"/>
                  </a:lnTo>
                  <a:lnTo>
                    <a:pt x="95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3"/>
                  </a:lnTo>
                  <a:lnTo>
                    <a:pt x="97" y="190"/>
                  </a:lnTo>
                  <a:lnTo>
                    <a:pt x="97" y="187"/>
                  </a:lnTo>
                  <a:lnTo>
                    <a:pt x="96" y="184"/>
                  </a:lnTo>
                  <a:lnTo>
                    <a:pt x="95" y="180"/>
                  </a:lnTo>
                  <a:lnTo>
                    <a:pt x="94" y="177"/>
                  </a:lnTo>
                  <a:lnTo>
                    <a:pt x="90" y="170"/>
                  </a:lnTo>
                  <a:lnTo>
                    <a:pt x="87" y="166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2" y="160"/>
                  </a:lnTo>
                  <a:lnTo>
                    <a:pt x="81" y="158"/>
                  </a:lnTo>
                  <a:lnTo>
                    <a:pt x="76" y="154"/>
                  </a:lnTo>
                  <a:lnTo>
                    <a:pt x="75" y="153"/>
                  </a:lnTo>
                  <a:lnTo>
                    <a:pt x="74" y="152"/>
                  </a:lnTo>
                  <a:lnTo>
                    <a:pt x="73" y="150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5"/>
                  </a:lnTo>
                  <a:lnTo>
                    <a:pt x="73" y="144"/>
                  </a:lnTo>
                  <a:lnTo>
                    <a:pt x="74" y="142"/>
                  </a:lnTo>
                  <a:lnTo>
                    <a:pt x="75" y="140"/>
                  </a:lnTo>
                  <a:lnTo>
                    <a:pt x="77" y="137"/>
                  </a:lnTo>
                  <a:lnTo>
                    <a:pt x="82" y="132"/>
                  </a:lnTo>
                  <a:lnTo>
                    <a:pt x="86" y="129"/>
                  </a:lnTo>
                  <a:lnTo>
                    <a:pt x="91" y="125"/>
                  </a:lnTo>
                  <a:lnTo>
                    <a:pt x="92" y="123"/>
                  </a:lnTo>
                  <a:lnTo>
                    <a:pt x="94" y="122"/>
                  </a:lnTo>
                  <a:lnTo>
                    <a:pt x="95" y="120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2" y="103"/>
                  </a:lnTo>
                  <a:lnTo>
                    <a:pt x="114" y="100"/>
                  </a:lnTo>
                  <a:lnTo>
                    <a:pt x="116" y="99"/>
                  </a:lnTo>
                  <a:lnTo>
                    <a:pt x="118" y="97"/>
                  </a:lnTo>
                  <a:lnTo>
                    <a:pt x="119" y="95"/>
                  </a:lnTo>
                  <a:lnTo>
                    <a:pt x="121" y="90"/>
                  </a:lnTo>
                  <a:lnTo>
                    <a:pt x="122" y="88"/>
                  </a:lnTo>
                  <a:lnTo>
                    <a:pt x="123" y="85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5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9" y="66"/>
                  </a:lnTo>
                  <a:lnTo>
                    <a:pt x="131" y="60"/>
                  </a:lnTo>
                  <a:lnTo>
                    <a:pt x="135" y="54"/>
                  </a:lnTo>
                  <a:lnTo>
                    <a:pt x="145" y="37"/>
                  </a:lnTo>
                  <a:lnTo>
                    <a:pt x="149" y="30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59" y="31"/>
                  </a:lnTo>
                  <a:lnTo>
                    <a:pt x="161" y="31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8" y="28"/>
                  </a:lnTo>
                  <a:lnTo>
                    <a:pt x="169" y="28"/>
                  </a:lnTo>
                  <a:lnTo>
                    <a:pt x="171" y="25"/>
                  </a:lnTo>
                  <a:lnTo>
                    <a:pt x="172" y="23"/>
                  </a:lnTo>
                  <a:lnTo>
                    <a:pt x="174" y="20"/>
                  </a:lnTo>
                  <a:lnTo>
                    <a:pt x="176" y="15"/>
                  </a:lnTo>
                  <a:lnTo>
                    <a:pt x="178" y="15"/>
                  </a:lnTo>
                  <a:lnTo>
                    <a:pt x="178" y="14"/>
                  </a:lnTo>
                  <a:lnTo>
                    <a:pt x="179" y="13"/>
                  </a:lnTo>
                  <a:lnTo>
                    <a:pt x="181" y="12"/>
                  </a:lnTo>
                  <a:lnTo>
                    <a:pt x="185" y="10"/>
                  </a:lnTo>
                  <a:lnTo>
                    <a:pt x="189" y="8"/>
                  </a:lnTo>
                  <a:lnTo>
                    <a:pt x="191" y="8"/>
                  </a:lnTo>
                  <a:lnTo>
                    <a:pt x="192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1" y="8"/>
                  </a:lnTo>
                  <a:lnTo>
                    <a:pt x="204" y="8"/>
                  </a:lnTo>
                  <a:lnTo>
                    <a:pt x="208" y="7"/>
                  </a:lnTo>
                  <a:lnTo>
                    <a:pt x="212" y="6"/>
                  </a:lnTo>
                  <a:lnTo>
                    <a:pt x="217" y="5"/>
                  </a:lnTo>
                  <a:lnTo>
                    <a:pt x="224" y="2"/>
                  </a:lnTo>
                  <a:lnTo>
                    <a:pt x="226" y="1"/>
                  </a:lnTo>
                  <a:lnTo>
                    <a:pt x="228" y="0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04">
              <a:extLst>
                <a:ext uri="{FF2B5EF4-FFF2-40B4-BE49-F238E27FC236}">
                  <a16:creationId xmlns:a16="http://schemas.microsoft.com/office/drawing/2014/main" id="{D01309CE-F657-D9D3-C8C4-8C06806CE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599" y="1134080"/>
              <a:ext cx="885825" cy="792163"/>
            </a:xfrm>
            <a:custGeom>
              <a:avLst/>
              <a:gdLst>
                <a:gd name="T0" fmla="*/ 175 w 558"/>
                <a:gd name="T1" fmla="*/ 27 h 499"/>
                <a:gd name="T2" fmla="*/ 206 w 558"/>
                <a:gd name="T3" fmla="*/ 29 h 499"/>
                <a:gd name="T4" fmla="*/ 243 w 558"/>
                <a:gd name="T5" fmla="*/ 24 h 499"/>
                <a:gd name="T6" fmla="*/ 266 w 558"/>
                <a:gd name="T7" fmla="*/ 27 h 499"/>
                <a:gd name="T8" fmla="*/ 287 w 558"/>
                <a:gd name="T9" fmla="*/ 36 h 499"/>
                <a:gd name="T10" fmla="*/ 298 w 558"/>
                <a:gd name="T11" fmla="*/ 20 h 499"/>
                <a:gd name="T12" fmla="*/ 311 w 558"/>
                <a:gd name="T13" fmla="*/ 4 h 499"/>
                <a:gd name="T14" fmla="*/ 338 w 558"/>
                <a:gd name="T15" fmla="*/ 0 h 499"/>
                <a:gd name="T16" fmla="*/ 383 w 558"/>
                <a:gd name="T17" fmla="*/ 2 h 499"/>
                <a:gd name="T18" fmla="*/ 403 w 558"/>
                <a:gd name="T19" fmla="*/ 15 h 499"/>
                <a:gd name="T20" fmla="*/ 403 w 558"/>
                <a:gd name="T21" fmla="*/ 32 h 499"/>
                <a:gd name="T22" fmla="*/ 406 w 558"/>
                <a:gd name="T23" fmla="*/ 55 h 499"/>
                <a:gd name="T24" fmla="*/ 428 w 558"/>
                <a:gd name="T25" fmla="*/ 37 h 499"/>
                <a:gd name="T26" fmla="*/ 454 w 558"/>
                <a:gd name="T27" fmla="*/ 27 h 499"/>
                <a:gd name="T28" fmla="*/ 483 w 558"/>
                <a:gd name="T29" fmla="*/ 29 h 499"/>
                <a:gd name="T30" fmla="*/ 514 w 558"/>
                <a:gd name="T31" fmla="*/ 55 h 499"/>
                <a:gd name="T32" fmla="*/ 535 w 558"/>
                <a:gd name="T33" fmla="*/ 92 h 499"/>
                <a:gd name="T34" fmla="*/ 538 w 558"/>
                <a:gd name="T35" fmla="*/ 106 h 499"/>
                <a:gd name="T36" fmla="*/ 527 w 558"/>
                <a:gd name="T37" fmla="*/ 121 h 499"/>
                <a:gd name="T38" fmla="*/ 515 w 558"/>
                <a:gd name="T39" fmla="*/ 133 h 499"/>
                <a:gd name="T40" fmla="*/ 518 w 558"/>
                <a:gd name="T41" fmla="*/ 154 h 499"/>
                <a:gd name="T42" fmla="*/ 557 w 558"/>
                <a:gd name="T43" fmla="*/ 189 h 499"/>
                <a:gd name="T44" fmla="*/ 535 w 558"/>
                <a:gd name="T45" fmla="*/ 232 h 499"/>
                <a:gd name="T46" fmla="*/ 527 w 558"/>
                <a:gd name="T47" fmla="*/ 256 h 499"/>
                <a:gd name="T48" fmla="*/ 503 w 558"/>
                <a:gd name="T49" fmla="*/ 281 h 499"/>
                <a:gd name="T50" fmla="*/ 482 w 558"/>
                <a:gd name="T51" fmla="*/ 303 h 499"/>
                <a:gd name="T52" fmla="*/ 490 w 558"/>
                <a:gd name="T53" fmla="*/ 317 h 499"/>
                <a:gd name="T54" fmla="*/ 505 w 558"/>
                <a:gd name="T55" fmla="*/ 343 h 499"/>
                <a:gd name="T56" fmla="*/ 501 w 558"/>
                <a:gd name="T57" fmla="*/ 362 h 499"/>
                <a:gd name="T58" fmla="*/ 510 w 558"/>
                <a:gd name="T59" fmla="*/ 377 h 499"/>
                <a:gd name="T60" fmla="*/ 521 w 558"/>
                <a:gd name="T61" fmla="*/ 402 h 499"/>
                <a:gd name="T62" fmla="*/ 520 w 558"/>
                <a:gd name="T63" fmla="*/ 448 h 499"/>
                <a:gd name="T64" fmla="*/ 508 w 558"/>
                <a:gd name="T65" fmla="*/ 457 h 499"/>
                <a:gd name="T66" fmla="*/ 476 w 558"/>
                <a:gd name="T67" fmla="*/ 462 h 499"/>
                <a:gd name="T68" fmla="*/ 444 w 558"/>
                <a:gd name="T69" fmla="*/ 459 h 499"/>
                <a:gd name="T70" fmla="*/ 426 w 558"/>
                <a:gd name="T71" fmla="*/ 459 h 499"/>
                <a:gd name="T72" fmla="*/ 417 w 558"/>
                <a:gd name="T73" fmla="*/ 474 h 499"/>
                <a:gd name="T74" fmla="*/ 410 w 558"/>
                <a:gd name="T75" fmla="*/ 497 h 499"/>
                <a:gd name="T76" fmla="*/ 401 w 558"/>
                <a:gd name="T77" fmla="*/ 477 h 499"/>
                <a:gd name="T78" fmla="*/ 344 w 558"/>
                <a:gd name="T79" fmla="*/ 423 h 499"/>
                <a:gd name="T80" fmla="*/ 296 w 558"/>
                <a:gd name="T81" fmla="*/ 410 h 499"/>
                <a:gd name="T82" fmla="*/ 279 w 558"/>
                <a:gd name="T83" fmla="*/ 419 h 499"/>
                <a:gd name="T84" fmla="*/ 265 w 558"/>
                <a:gd name="T85" fmla="*/ 424 h 499"/>
                <a:gd name="T86" fmla="*/ 217 w 558"/>
                <a:gd name="T87" fmla="*/ 415 h 499"/>
                <a:gd name="T88" fmla="*/ 193 w 558"/>
                <a:gd name="T89" fmla="*/ 404 h 499"/>
                <a:gd name="T90" fmla="*/ 171 w 558"/>
                <a:gd name="T91" fmla="*/ 367 h 499"/>
                <a:gd name="T92" fmla="*/ 153 w 558"/>
                <a:gd name="T93" fmla="*/ 329 h 499"/>
                <a:gd name="T94" fmla="*/ 101 w 558"/>
                <a:gd name="T95" fmla="*/ 292 h 499"/>
                <a:gd name="T96" fmla="*/ 81 w 558"/>
                <a:gd name="T97" fmla="*/ 273 h 499"/>
                <a:gd name="T98" fmla="*/ 65 w 558"/>
                <a:gd name="T99" fmla="*/ 224 h 499"/>
                <a:gd name="T100" fmla="*/ 68 w 558"/>
                <a:gd name="T101" fmla="*/ 179 h 499"/>
                <a:gd name="T102" fmla="*/ 59 w 558"/>
                <a:gd name="T103" fmla="*/ 154 h 499"/>
                <a:gd name="T104" fmla="*/ 28 w 558"/>
                <a:gd name="T105" fmla="*/ 136 h 499"/>
                <a:gd name="T106" fmla="*/ 9 w 558"/>
                <a:gd name="T107" fmla="*/ 95 h 499"/>
                <a:gd name="T108" fmla="*/ 3 w 558"/>
                <a:gd name="T109" fmla="*/ 39 h 499"/>
                <a:gd name="T110" fmla="*/ 49 w 558"/>
                <a:gd name="T111" fmla="*/ 55 h 499"/>
                <a:gd name="T112" fmla="*/ 70 w 558"/>
                <a:gd name="T113" fmla="*/ 65 h 499"/>
                <a:gd name="T114" fmla="*/ 89 w 558"/>
                <a:gd name="T115" fmla="*/ 64 h 499"/>
                <a:gd name="T116" fmla="*/ 121 w 558"/>
                <a:gd name="T117" fmla="*/ 43 h 499"/>
                <a:gd name="T118" fmla="*/ 153 w 558"/>
                <a:gd name="T119" fmla="*/ 34 h 499"/>
                <a:gd name="T120" fmla="*/ 165 w 558"/>
                <a:gd name="T121" fmla="*/ 16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8" h="499">
                  <a:moveTo>
                    <a:pt x="168" y="14"/>
                  </a:moveTo>
                  <a:lnTo>
                    <a:pt x="168" y="15"/>
                  </a:lnTo>
                  <a:lnTo>
                    <a:pt x="168" y="16"/>
                  </a:lnTo>
                  <a:lnTo>
                    <a:pt x="168" y="17"/>
                  </a:lnTo>
                  <a:lnTo>
                    <a:pt x="169" y="20"/>
                  </a:lnTo>
                  <a:lnTo>
                    <a:pt x="171" y="22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8" y="28"/>
                  </a:lnTo>
                  <a:lnTo>
                    <a:pt x="181" y="30"/>
                  </a:lnTo>
                  <a:lnTo>
                    <a:pt x="184" y="30"/>
                  </a:lnTo>
                  <a:lnTo>
                    <a:pt x="187" y="30"/>
                  </a:lnTo>
                  <a:lnTo>
                    <a:pt x="191" y="31"/>
                  </a:lnTo>
                  <a:lnTo>
                    <a:pt x="195" y="30"/>
                  </a:lnTo>
                  <a:lnTo>
                    <a:pt x="201" y="29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7" y="27"/>
                  </a:lnTo>
                  <a:lnTo>
                    <a:pt x="236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49" y="23"/>
                  </a:lnTo>
                  <a:lnTo>
                    <a:pt x="251" y="24"/>
                  </a:lnTo>
                  <a:lnTo>
                    <a:pt x="256" y="25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6" y="27"/>
                  </a:lnTo>
                  <a:lnTo>
                    <a:pt x="273" y="28"/>
                  </a:lnTo>
                  <a:lnTo>
                    <a:pt x="276" y="28"/>
                  </a:lnTo>
                  <a:lnTo>
                    <a:pt x="277" y="29"/>
                  </a:lnTo>
                  <a:lnTo>
                    <a:pt x="278" y="30"/>
                  </a:lnTo>
                  <a:lnTo>
                    <a:pt x="280" y="30"/>
                  </a:lnTo>
                  <a:lnTo>
                    <a:pt x="283" y="34"/>
                  </a:lnTo>
                  <a:lnTo>
                    <a:pt x="286" y="35"/>
                  </a:lnTo>
                  <a:lnTo>
                    <a:pt x="287" y="36"/>
                  </a:lnTo>
                  <a:lnTo>
                    <a:pt x="288" y="37"/>
                  </a:lnTo>
                  <a:lnTo>
                    <a:pt x="290" y="36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3" y="33"/>
                  </a:lnTo>
                  <a:lnTo>
                    <a:pt x="294" y="31"/>
                  </a:lnTo>
                  <a:lnTo>
                    <a:pt x="296" y="23"/>
                  </a:lnTo>
                  <a:lnTo>
                    <a:pt x="298" y="20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3" y="10"/>
                  </a:lnTo>
                  <a:lnTo>
                    <a:pt x="306" y="8"/>
                  </a:lnTo>
                  <a:lnTo>
                    <a:pt x="306" y="7"/>
                  </a:lnTo>
                  <a:lnTo>
                    <a:pt x="308" y="5"/>
                  </a:lnTo>
                  <a:lnTo>
                    <a:pt x="309" y="5"/>
                  </a:lnTo>
                  <a:lnTo>
                    <a:pt x="311" y="4"/>
                  </a:lnTo>
                  <a:lnTo>
                    <a:pt x="313" y="3"/>
                  </a:lnTo>
                  <a:lnTo>
                    <a:pt x="314" y="2"/>
                  </a:lnTo>
                  <a:lnTo>
                    <a:pt x="319" y="1"/>
                  </a:lnTo>
                  <a:lnTo>
                    <a:pt x="322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31" y="0"/>
                  </a:lnTo>
                  <a:lnTo>
                    <a:pt x="338" y="0"/>
                  </a:lnTo>
                  <a:lnTo>
                    <a:pt x="351" y="2"/>
                  </a:lnTo>
                  <a:lnTo>
                    <a:pt x="355" y="2"/>
                  </a:lnTo>
                  <a:lnTo>
                    <a:pt x="361" y="2"/>
                  </a:lnTo>
                  <a:lnTo>
                    <a:pt x="368" y="1"/>
                  </a:lnTo>
                  <a:lnTo>
                    <a:pt x="371" y="0"/>
                  </a:lnTo>
                  <a:lnTo>
                    <a:pt x="375" y="1"/>
                  </a:lnTo>
                  <a:lnTo>
                    <a:pt x="379" y="1"/>
                  </a:lnTo>
                  <a:lnTo>
                    <a:pt x="383" y="2"/>
                  </a:lnTo>
                  <a:lnTo>
                    <a:pt x="387" y="3"/>
                  </a:lnTo>
                  <a:lnTo>
                    <a:pt x="392" y="5"/>
                  </a:lnTo>
                  <a:lnTo>
                    <a:pt x="395" y="7"/>
                  </a:lnTo>
                  <a:lnTo>
                    <a:pt x="398" y="10"/>
                  </a:lnTo>
                  <a:lnTo>
                    <a:pt x="400" y="12"/>
                  </a:lnTo>
                  <a:lnTo>
                    <a:pt x="401" y="12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2" y="15"/>
                  </a:lnTo>
                  <a:lnTo>
                    <a:pt x="402" y="17"/>
                  </a:lnTo>
                  <a:lnTo>
                    <a:pt x="402" y="18"/>
                  </a:lnTo>
                  <a:lnTo>
                    <a:pt x="401" y="20"/>
                  </a:lnTo>
                  <a:lnTo>
                    <a:pt x="402" y="22"/>
                  </a:lnTo>
                  <a:lnTo>
                    <a:pt x="403" y="32"/>
                  </a:lnTo>
                  <a:lnTo>
                    <a:pt x="404" y="36"/>
                  </a:lnTo>
                  <a:lnTo>
                    <a:pt x="404" y="41"/>
                  </a:lnTo>
                  <a:lnTo>
                    <a:pt x="403" y="48"/>
                  </a:lnTo>
                  <a:lnTo>
                    <a:pt x="403" y="50"/>
                  </a:lnTo>
                  <a:lnTo>
                    <a:pt x="404" y="52"/>
                  </a:lnTo>
                  <a:lnTo>
                    <a:pt x="405" y="53"/>
                  </a:lnTo>
                  <a:lnTo>
                    <a:pt x="405" y="54"/>
                  </a:lnTo>
                  <a:lnTo>
                    <a:pt x="406" y="55"/>
                  </a:lnTo>
                  <a:lnTo>
                    <a:pt x="408" y="55"/>
                  </a:lnTo>
                  <a:lnTo>
                    <a:pt x="408" y="55"/>
                  </a:lnTo>
                  <a:lnTo>
                    <a:pt x="410" y="54"/>
                  </a:lnTo>
                  <a:lnTo>
                    <a:pt x="410" y="53"/>
                  </a:lnTo>
                  <a:lnTo>
                    <a:pt x="413" y="51"/>
                  </a:lnTo>
                  <a:lnTo>
                    <a:pt x="421" y="42"/>
                  </a:lnTo>
                  <a:lnTo>
                    <a:pt x="425" y="40"/>
                  </a:lnTo>
                  <a:lnTo>
                    <a:pt x="428" y="37"/>
                  </a:lnTo>
                  <a:lnTo>
                    <a:pt x="431" y="35"/>
                  </a:lnTo>
                  <a:lnTo>
                    <a:pt x="434" y="33"/>
                  </a:lnTo>
                  <a:lnTo>
                    <a:pt x="436" y="32"/>
                  </a:lnTo>
                  <a:lnTo>
                    <a:pt x="439" y="31"/>
                  </a:lnTo>
                  <a:lnTo>
                    <a:pt x="443" y="30"/>
                  </a:lnTo>
                  <a:lnTo>
                    <a:pt x="447" y="28"/>
                  </a:lnTo>
                  <a:lnTo>
                    <a:pt x="450" y="27"/>
                  </a:lnTo>
                  <a:lnTo>
                    <a:pt x="454" y="27"/>
                  </a:lnTo>
                  <a:lnTo>
                    <a:pt x="458" y="26"/>
                  </a:lnTo>
                  <a:lnTo>
                    <a:pt x="461" y="26"/>
                  </a:lnTo>
                  <a:lnTo>
                    <a:pt x="464" y="26"/>
                  </a:lnTo>
                  <a:lnTo>
                    <a:pt x="471" y="26"/>
                  </a:lnTo>
                  <a:lnTo>
                    <a:pt x="476" y="27"/>
                  </a:lnTo>
                  <a:lnTo>
                    <a:pt x="480" y="27"/>
                  </a:lnTo>
                  <a:lnTo>
                    <a:pt x="482" y="28"/>
                  </a:lnTo>
                  <a:lnTo>
                    <a:pt x="483" y="29"/>
                  </a:lnTo>
                  <a:lnTo>
                    <a:pt x="490" y="35"/>
                  </a:lnTo>
                  <a:lnTo>
                    <a:pt x="492" y="35"/>
                  </a:lnTo>
                  <a:lnTo>
                    <a:pt x="495" y="39"/>
                  </a:lnTo>
                  <a:lnTo>
                    <a:pt x="499" y="42"/>
                  </a:lnTo>
                  <a:lnTo>
                    <a:pt x="502" y="45"/>
                  </a:lnTo>
                  <a:lnTo>
                    <a:pt x="510" y="50"/>
                  </a:lnTo>
                  <a:lnTo>
                    <a:pt x="512" y="52"/>
                  </a:lnTo>
                  <a:lnTo>
                    <a:pt x="514" y="55"/>
                  </a:lnTo>
                  <a:lnTo>
                    <a:pt x="516" y="57"/>
                  </a:lnTo>
                  <a:lnTo>
                    <a:pt x="518" y="60"/>
                  </a:lnTo>
                  <a:lnTo>
                    <a:pt x="525" y="77"/>
                  </a:lnTo>
                  <a:lnTo>
                    <a:pt x="527" y="80"/>
                  </a:lnTo>
                  <a:lnTo>
                    <a:pt x="528" y="82"/>
                  </a:lnTo>
                  <a:lnTo>
                    <a:pt x="529" y="85"/>
                  </a:lnTo>
                  <a:lnTo>
                    <a:pt x="534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7" y="96"/>
                  </a:lnTo>
                  <a:lnTo>
                    <a:pt x="538" y="98"/>
                  </a:lnTo>
                  <a:lnTo>
                    <a:pt x="538" y="100"/>
                  </a:lnTo>
                  <a:lnTo>
                    <a:pt x="538" y="102"/>
                  </a:lnTo>
                  <a:lnTo>
                    <a:pt x="538" y="104"/>
                  </a:lnTo>
                  <a:lnTo>
                    <a:pt x="538" y="105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6" y="110"/>
                  </a:lnTo>
                  <a:lnTo>
                    <a:pt x="535" y="112"/>
                  </a:lnTo>
                  <a:lnTo>
                    <a:pt x="535" y="114"/>
                  </a:lnTo>
                  <a:lnTo>
                    <a:pt x="533" y="115"/>
                  </a:lnTo>
                  <a:lnTo>
                    <a:pt x="531" y="117"/>
                  </a:lnTo>
                  <a:lnTo>
                    <a:pt x="529" y="120"/>
                  </a:lnTo>
                  <a:lnTo>
                    <a:pt x="527" y="121"/>
                  </a:lnTo>
                  <a:lnTo>
                    <a:pt x="522" y="124"/>
                  </a:lnTo>
                  <a:lnTo>
                    <a:pt x="519" y="126"/>
                  </a:lnTo>
                  <a:lnTo>
                    <a:pt x="518" y="127"/>
                  </a:lnTo>
                  <a:lnTo>
                    <a:pt x="517" y="128"/>
                  </a:lnTo>
                  <a:lnTo>
                    <a:pt x="516" y="130"/>
                  </a:lnTo>
                  <a:lnTo>
                    <a:pt x="515" y="130"/>
                  </a:lnTo>
                  <a:lnTo>
                    <a:pt x="515" y="132"/>
                  </a:lnTo>
                  <a:lnTo>
                    <a:pt x="515" y="133"/>
                  </a:lnTo>
                  <a:lnTo>
                    <a:pt x="515" y="135"/>
                  </a:lnTo>
                  <a:lnTo>
                    <a:pt x="515" y="139"/>
                  </a:lnTo>
                  <a:lnTo>
                    <a:pt x="516" y="140"/>
                  </a:lnTo>
                  <a:lnTo>
                    <a:pt x="516" y="142"/>
                  </a:lnTo>
                  <a:lnTo>
                    <a:pt x="515" y="145"/>
                  </a:lnTo>
                  <a:lnTo>
                    <a:pt x="515" y="147"/>
                  </a:lnTo>
                  <a:lnTo>
                    <a:pt x="516" y="151"/>
                  </a:lnTo>
                  <a:lnTo>
                    <a:pt x="518" y="154"/>
                  </a:lnTo>
                  <a:lnTo>
                    <a:pt x="519" y="158"/>
                  </a:lnTo>
                  <a:lnTo>
                    <a:pt x="520" y="160"/>
                  </a:lnTo>
                  <a:lnTo>
                    <a:pt x="523" y="163"/>
                  </a:lnTo>
                  <a:lnTo>
                    <a:pt x="525" y="166"/>
                  </a:lnTo>
                  <a:lnTo>
                    <a:pt x="528" y="168"/>
                  </a:lnTo>
                  <a:lnTo>
                    <a:pt x="532" y="171"/>
                  </a:lnTo>
                  <a:lnTo>
                    <a:pt x="544" y="179"/>
                  </a:lnTo>
                  <a:lnTo>
                    <a:pt x="557" y="189"/>
                  </a:lnTo>
                  <a:lnTo>
                    <a:pt x="558" y="189"/>
                  </a:lnTo>
                  <a:lnTo>
                    <a:pt x="558" y="189"/>
                  </a:lnTo>
                  <a:lnTo>
                    <a:pt x="554" y="196"/>
                  </a:lnTo>
                  <a:lnTo>
                    <a:pt x="544" y="213"/>
                  </a:lnTo>
                  <a:lnTo>
                    <a:pt x="540" y="219"/>
                  </a:lnTo>
                  <a:lnTo>
                    <a:pt x="538" y="225"/>
                  </a:lnTo>
                  <a:lnTo>
                    <a:pt x="535" y="229"/>
                  </a:lnTo>
                  <a:lnTo>
                    <a:pt x="535" y="232"/>
                  </a:lnTo>
                  <a:lnTo>
                    <a:pt x="534" y="234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2" y="244"/>
                  </a:lnTo>
                  <a:lnTo>
                    <a:pt x="531" y="247"/>
                  </a:lnTo>
                  <a:lnTo>
                    <a:pt x="530" y="249"/>
                  </a:lnTo>
                  <a:lnTo>
                    <a:pt x="528" y="254"/>
                  </a:lnTo>
                  <a:lnTo>
                    <a:pt x="527" y="256"/>
                  </a:lnTo>
                  <a:lnTo>
                    <a:pt x="525" y="258"/>
                  </a:lnTo>
                  <a:lnTo>
                    <a:pt x="523" y="259"/>
                  </a:lnTo>
                  <a:lnTo>
                    <a:pt x="521" y="262"/>
                  </a:lnTo>
                  <a:lnTo>
                    <a:pt x="515" y="265"/>
                  </a:lnTo>
                  <a:lnTo>
                    <a:pt x="509" y="271"/>
                  </a:lnTo>
                  <a:lnTo>
                    <a:pt x="507" y="273"/>
                  </a:lnTo>
                  <a:lnTo>
                    <a:pt x="504" y="279"/>
                  </a:lnTo>
                  <a:lnTo>
                    <a:pt x="503" y="281"/>
                  </a:lnTo>
                  <a:lnTo>
                    <a:pt x="501" y="282"/>
                  </a:lnTo>
                  <a:lnTo>
                    <a:pt x="500" y="284"/>
                  </a:lnTo>
                  <a:lnTo>
                    <a:pt x="495" y="288"/>
                  </a:lnTo>
                  <a:lnTo>
                    <a:pt x="491" y="291"/>
                  </a:lnTo>
                  <a:lnTo>
                    <a:pt x="486" y="296"/>
                  </a:lnTo>
                  <a:lnTo>
                    <a:pt x="484" y="299"/>
                  </a:lnTo>
                  <a:lnTo>
                    <a:pt x="483" y="301"/>
                  </a:lnTo>
                  <a:lnTo>
                    <a:pt x="482" y="303"/>
                  </a:lnTo>
                  <a:lnTo>
                    <a:pt x="481" y="304"/>
                  </a:lnTo>
                  <a:lnTo>
                    <a:pt x="481" y="306"/>
                  </a:lnTo>
                  <a:lnTo>
                    <a:pt x="481" y="307"/>
                  </a:lnTo>
                  <a:lnTo>
                    <a:pt x="482" y="309"/>
                  </a:lnTo>
                  <a:lnTo>
                    <a:pt x="483" y="311"/>
                  </a:lnTo>
                  <a:lnTo>
                    <a:pt x="484" y="312"/>
                  </a:lnTo>
                  <a:lnTo>
                    <a:pt x="485" y="313"/>
                  </a:lnTo>
                  <a:lnTo>
                    <a:pt x="490" y="317"/>
                  </a:lnTo>
                  <a:lnTo>
                    <a:pt x="491" y="319"/>
                  </a:lnTo>
                  <a:lnTo>
                    <a:pt x="493" y="320"/>
                  </a:lnTo>
                  <a:lnTo>
                    <a:pt x="494" y="322"/>
                  </a:lnTo>
                  <a:lnTo>
                    <a:pt x="496" y="325"/>
                  </a:lnTo>
                  <a:lnTo>
                    <a:pt x="499" y="329"/>
                  </a:lnTo>
                  <a:lnTo>
                    <a:pt x="503" y="336"/>
                  </a:lnTo>
                  <a:lnTo>
                    <a:pt x="504" y="339"/>
                  </a:lnTo>
                  <a:lnTo>
                    <a:pt x="505" y="343"/>
                  </a:lnTo>
                  <a:lnTo>
                    <a:pt x="506" y="346"/>
                  </a:lnTo>
                  <a:lnTo>
                    <a:pt x="506" y="349"/>
                  </a:lnTo>
                  <a:lnTo>
                    <a:pt x="506" y="352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4" y="357"/>
                  </a:lnTo>
                  <a:lnTo>
                    <a:pt x="502" y="361"/>
                  </a:lnTo>
                  <a:lnTo>
                    <a:pt x="501" y="362"/>
                  </a:lnTo>
                  <a:lnTo>
                    <a:pt x="500" y="364"/>
                  </a:lnTo>
                  <a:lnTo>
                    <a:pt x="500" y="365"/>
                  </a:lnTo>
                  <a:lnTo>
                    <a:pt x="500" y="366"/>
                  </a:lnTo>
                  <a:lnTo>
                    <a:pt x="501" y="368"/>
                  </a:lnTo>
                  <a:lnTo>
                    <a:pt x="503" y="370"/>
                  </a:lnTo>
                  <a:lnTo>
                    <a:pt x="504" y="372"/>
                  </a:lnTo>
                  <a:lnTo>
                    <a:pt x="508" y="375"/>
                  </a:lnTo>
                  <a:lnTo>
                    <a:pt x="510" y="377"/>
                  </a:lnTo>
                  <a:lnTo>
                    <a:pt x="512" y="380"/>
                  </a:lnTo>
                  <a:lnTo>
                    <a:pt x="514" y="382"/>
                  </a:lnTo>
                  <a:lnTo>
                    <a:pt x="515" y="385"/>
                  </a:lnTo>
                  <a:lnTo>
                    <a:pt x="518" y="390"/>
                  </a:lnTo>
                  <a:lnTo>
                    <a:pt x="519" y="394"/>
                  </a:lnTo>
                  <a:lnTo>
                    <a:pt x="520" y="397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2" y="408"/>
                  </a:lnTo>
                  <a:lnTo>
                    <a:pt x="522" y="411"/>
                  </a:lnTo>
                  <a:lnTo>
                    <a:pt x="522" y="422"/>
                  </a:lnTo>
                  <a:lnTo>
                    <a:pt x="522" y="435"/>
                  </a:lnTo>
                  <a:lnTo>
                    <a:pt x="522" y="439"/>
                  </a:lnTo>
                  <a:lnTo>
                    <a:pt x="521" y="443"/>
                  </a:lnTo>
                  <a:lnTo>
                    <a:pt x="521" y="446"/>
                  </a:lnTo>
                  <a:lnTo>
                    <a:pt x="520" y="448"/>
                  </a:lnTo>
                  <a:lnTo>
                    <a:pt x="519" y="449"/>
                  </a:lnTo>
                  <a:lnTo>
                    <a:pt x="518" y="451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4" y="455"/>
                  </a:lnTo>
                  <a:lnTo>
                    <a:pt x="512" y="456"/>
                  </a:lnTo>
                  <a:lnTo>
                    <a:pt x="510" y="456"/>
                  </a:lnTo>
                  <a:lnTo>
                    <a:pt x="508" y="457"/>
                  </a:lnTo>
                  <a:lnTo>
                    <a:pt x="506" y="458"/>
                  </a:lnTo>
                  <a:lnTo>
                    <a:pt x="503" y="459"/>
                  </a:lnTo>
                  <a:lnTo>
                    <a:pt x="500" y="459"/>
                  </a:lnTo>
                  <a:lnTo>
                    <a:pt x="494" y="459"/>
                  </a:lnTo>
                  <a:lnTo>
                    <a:pt x="491" y="459"/>
                  </a:lnTo>
                  <a:lnTo>
                    <a:pt x="488" y="460"/>
                  </a:lnTo>
                  <a:lnTo>
                    <a:pt x="481" y="461"/>
                  </a:lnTo>
                  <a:lnTo>
                    <a:pt x="476" y="462"/>
                  </a:lnTo>
                  <a:lnTo>
                    <a:pt x="473" y="463"/>
                  </a:lnTo>
                  <a:lnTo>
                    <a:pt x="467" y="463"/>
                  </a:lnTo>
                  <a:lnTo>
                    <a:pt x="460" y="463"/>
                  </a:lnTo>
                  <a:lnTo>
                    <a:pt x="458" y="463"/>
                  </a:lnTo>
                  <a:lnTo>
                    <a:pt x="456" y="463"/>
                  </a:lnTo>
                  <a:lnTo>
                    <a:pt x="454" y="462"/>
                  </a:lnTo>
                  <a:lnTo>
                    <a:pt x="451" y="461"/>
                  </a:lnTo>
                  <a:lnTo>
                    <a:pt x="444" y="459"/>
                  </a:lnTo>
                  <a:lnTo>
                    <a:pt x="440" y="459"/>
                  </a:lnTo>
                  <a:lnTo>
                    <a:pt x="438" y="458"/>
                  </a:lnTo>
                  <a:lnTo>
                    <a:pt x="435" y="458"/>
                  </a:lnTo>
                  <a:lnTo>
                    <a:pt x="433" y="457"/>
                  </a:lnTo>
                  <a:lnTo>
                    <a:pt x="431" y="458"/>
                  </a:lnTo>
                  <a:lnTo>
                    <a:pt x="429" y="458"/>
                  </a:lnTo>
                  <a:lnTo>
                    <a:pt x="427" y="459"/>
                  </a:lnTo>
                  <a:lnTo>
                    <a:pt x="426" y="459"/>
                  </a:lnTo>
                  <a:lnTo>
                    <a:pt x="425" y="460"/>
                  </a:lnTo>
                  <a:lnTo>
                    <a:pt x="423" y="461"/>
                  </a:lnTo>
                  <a:lnTo>
                    <a:pt x="423" y="462"/>
                  </a:lnTo>
                  <a:lnTo>
                    <a:pt x="421" y="464"/>
                  </a:lnTo>
                  <a:lnTo>
                    <a:pt x="420" y="465"/>
                  </a:lnTo>
                  <a:lnTo>
                    <a:pt x="418" y="468"/>
                  </a:lnTo>
                  <a:lnTo>
                    <a:pt x="418" y="470"/>
                  </a:lnTo>
                  <a:lnTo>
                    <a:pt x="417" y="474"/>
                  </a:lnTo>
                  <a:lnTo>
                    <a:pt x="414" y="486"/>
                  </a:lnTo>
                  <a:lnTo>
                    <a:pt x="411" y="495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10" y="497"/>
                  </a:lnTo>
                  <a:lnTo>
                    <a:pt x="410" y="495"/>
                  </a:lnTo>
                  <a:lnTo>
                    <a:pt x="410" y="492"/>
                  </a:lnTo>
                  <a:lnTo>
                    <a:pt x="409" y="490"/>
                  </a:lnTo>
                  <a:lnTo>
                    <a:pt x="408" y="487"/>
                  </a:lnTo>
                  <a:lnTo>
                    <a:pt x="407" y="486"/>
                  </a:lnTo>
                  <a:lnTo>
                    <a:pt x="406" y="484"/>
                  </a:lnTo>
                  <a:lnTo>
                    <a:pt x="404" y="481"/>
                  </a:lnTo>
                  <a:lnTo>
                    <a:pt x="401" y="477"/>
                  </a:lnTo>
                  <a:lnTo>
                    <a:pt x="385" y="459"/>
                  </a:lnTo>
                  <a:lnTo>
                    <a:pt x="375" y="447"/>
                  </a:lnTo>
                  <a:lnTo>
                    <a:pt x="371" y="444"/>
                  </a:lnTo>
                  <a:lnTo>
                    <a:pt x="366" y="439"/>
                  </a:lnTo>
                  <a:lnTo>
                    <a:pt x="361" y="434"/>
                  </a:lnTo>
                  <a:lnTo>
                    <a:pt x="357" y="431"/>
                  </a:lnTo>
                  <a:lnTo>
                    <a:pt x="351" y="427"/>
                  </a:lnTo>
                  <a:lnTo>
                    <a:pt x="344" y="423"/>
                  </a:lnTo>
                  <a:lnTo>
                    <a:pt x="338" y="420"/>
                  </a:lnTo>
                  <a:lnTo>
                    <a:pt x="335" y="419"/>
                  </a:lnTo>
                  <a:lnTo>
                    <a:pt x="331" y="417"/>
                  </a:lnTo>
                  <a:lnTo>
                    <a:pt x="325" y="416"/>
                  </a:lnTo>
                  <a:lnTo>
                    <a:pt x="318" y="414"/>
                  </a:lnTo>
                  <a:lnTo>
                    <a:pt x="305" y="411"/>
                  </a:lnTo>
                  <a:lnTo>
                    <a:pt x="301" y="411"/>
                  </a:lnTo>
                  <a:lnTo>
                    <a:pt x="296" y="410"/>
                  </a:lnTo>
                  <a:lnTo>
                    <a:pt x="291" y="410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3" y="412"/>
                  </a:lnTo>
                  <a:lnTo>
                    <a:pt x="283" y="414"/>
                  </a:lnTo>
                  <a:lnTo>
                    <a:pt x="282" y="415"/>
                  </a:lnTo>
                  <a:lnTo>
                    <a:pt x="279" y="419"/>
                  </a:lnTo>
                  <a:lnTo>
                    <a:pt x="278" y="421"/>
                  </a:lnTo>
                  <a:lnTo>
                    <a:pt x="277" y="422"/>
                  </a:lnTo>
                  <a:lnTo>
                    <a:pt x="276" y="423"/>
                  </a:lnTo>
                  <a:lnTo>
                    <a:pt x="274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4"/>
                  </a:lnTo>
                  <a:lnTo>
                    <a:pt x="265" y="424"/>
                  </a:lnTo>
                  <a:lnTo>
                    <a:pt x="262" y="423"/>
                  </a:lnTo>
                  <a:lnTo>
                    <a:pt x="255" y="421"/>
                  </a:lnTo>
                  <a:lnTo>
                    <a:pt x="248" y="419"/>
                  </a:lnTo>
                  <a:lnTo>
                    <a:pt x="245" y="419"/>
                  </a:lnTo>
                  <a:lnTo>
                    <a:pt x="241" y="418"/>
                  </a:lnTo>
                  <a:lnTo>
                    <a:pt x="231" y="417"/>
                  </a:lnTo>
                  <a:lnTo>
                    <a:pt x="223" y="416"/>
                  </a:lnTo>
                  <a:lnTo>
                    <a:pt x="217" y="415"/>
                  </a:lnTo>
                  <a:lnTo>
                    <a:pt x="211" y="414"/>
                  </a:lnTo>
                  <a:lnTo>
                    <a:pt x="208" y="413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0" y="409"/>
                  </a:lnTo>
                  <a:lnTo>
                    <a:pt x="197" y="407"/>
                  </a:lnTo>
                  <a:lnTo>
                    <a:pt x="195" y="406"/>
                  </a:lnTo>
                  <a:lnTo>
                    <a:pt x="193" y="404"/>
                  </a:lnTo>
                  <a:lnTo>
                    <a:pt x="191" y="402"/>
                  </a:lnTo>
                  <a:lnTo>
                    <a:pt x="189" y="399"/>
                  </a:lnTo>
                  <a:lnTo>
                    <a:pt x="187" y="396"/>
                  </a:lnTo>
                  <a:lnTo>
                    <a:pt x="183" y="389"/>
                  </a:lnTo>
                  <a:lnTo>
                    <a:pt x="177" y="379"/>
                  </a:lnTo>
                  <a:lnTo>
                    <a:pt x="174" y="374"/>
                  </a:lnTo>
                  <a:lnTo>
                    <a:pt x="173" y="371"/>
                  </a:lnTo>
                  <a:lnTo>
                    <a:pt x="171" y="367"/>
                  </a:lnTo>
                  <a:lnTo>
                    <a:pt x="168" y="357"/>
                  </a:lnTo>
                  <a:lnTo>
                    <a:pt x="166" y="351"/>
                  </a:lnTo>
                  <a:lnTo>
                    <a:pt x="165" y="347"/>
                  </a:lnTo>
                  <a:lnTo>
                    <a:pt x="163" y="343"/>
                  </a:lnTo>
                  <a:lnTo>
                    <a:pt x="161" y="339"/>
                  </a:lnTo>
                  <a:lnTo>
                    <a:pt x="158" y="336"/>
                  </a:lnTo>
                  <a:lnTo>
                    <a:pt x="156" y="332"/>
                  </a:lnTo>
                  <a:lnTo>
                    <a:pt x="153" y="329"/>
                  </a:lnTo>
                  <a:lnTo>
                    <a:pt x="148" y="324"/>
                  </a:lnTo>
                  <a:lnTo>
                    <a:pt x="143" y="319"/>
                  </a:lnTo>
                  <a:lnTo>
                    <a:pt x="128" y="307"/>
                  </a:lnTo>
                  <a:lnTo>
                    <a:pt x="125" y="305"/>
                  </a:lnTo>
                  <a:lnTo>
                    <a:pt x="122" y="303"/>
                  </a:lnTo>
                  <a:lnTo>
                    <a:pt x="118" y="300"/>
                  </a:lnTo>
                  <a:lnTo>
                    <a:pt x="113" y="298"/>
                  </a:lnTo>
                  <a:lnTo>
                    <a:pt x="101" y="292"/>
                  </a:lnTo>
                  <a:lnTo>
                    <a:pt x="97" y="291"/>
                  </a:lnTo>
                  <a:lnTo>
                    <a:pt x="94" y="289"/>
                  </a:lnTo>
                  <a:lnTo>
                    <a:pt x="90" y="286"/>
                  </a:lnTo>
                  <a:lnTo>
                    <a:pt x="88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2" y="277"/>
                  </a:lnTo>
                  <a:lnTo>
                    <a:pt x="81" y="273"/>
                  </a:lnTo>
                  <a:lnTo>
                    <a:pt x="79" y="269"/>
                  </a:lnTo>
                  <a:lnTo>
                    <a:pt x="78" y="265"/>
                  </a:lnTo>
                  <a:lnTo>
                    <a:pt x="76" y="255"/>
                  </a:lnTo>
                  <a:lnTo>
                    <a:pt x="74" y="249"/>
                  </a:lnTo>
                  <a:lnTo>
                    <a:pt x="71" y="242"/>
                  </a:lnTo>
                  <a:lnTo>
                    <a:pt x="67" y="231"/>
                  </a:lnTo>
                  <a:lnTo>
                    <a:pt x="66" y="227"/>
                  </a:lnTo>
                  <a:lnTo>
                    <a:pt x="65" y="224"/>
                  </a:lnTo>
                  <a:lnTo>
                    <a:pt x="65" y="222"/>
                  </a:lnTo>
                  <a:lnTo>
                    <a:pt x="65" y="219"/>
                  </a:lnTo>
                  <a:lnTo>
                    <a:pt x="66" y="217"/>
                  </a:lnTo>
                  <a:lnTo>
                    <a:pt x="66" y="209"/>
                  </a:lnTo>
                  <a:lnTo>
                    <a:pt x="67" y="202"/>
                  </a:lnTo>
                  <a:lnTo>
                    <a:pt x="68" y="198"/>
                  </a:lnTo>
                  <a:lnTo>
                    <a:pt x="68" y="189"/>
                  </a:lnTo>
                  <a:lnTo>
                    <a:pt x="68" y="179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7" y="167"/>
                  </a:lnTo>
                  <a:lnTo>
                    <a:pt x="66" y="163"/>
                  </a:lnTo>
                  <a:lnTo>
                    <a:pt x="65" y="160"/>
                  </a:lnTo>
                  <a:lnTo>
                    <a:pt x="63" y="158"/>
                  </a:lnTo>
                  <a:lnTo>
                    <a:pt x="61" y="155"/>
                  </a:lnTo>
                  <a:lnTo>
                    <a:pt x="59" y="154"/>
                  </a:lnTo>
                  <a:lnTo>
                    <a:pt x="56" y="152"/>
                  </a:lnTo>
                  <a:lnTo>
                    <a:pt x="48" y="149"/>
                  </a:lnTo>
                  <a:lnTo>
                    <a:pt x="44" y="147"/>
                  </a:lnTo>
                  <a:lnTo>
                    <a:pt x="41" y="145"/>
                  </a:lnTo>
                  <a:lnTo>
                    <a:pt x="36" y="142"/>
                  </a:lnTo>
                  <a:lnTo>
                    <a:pt x="33" y="141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1" y="127"/>
                  </a:lnTo>
                  <a:lnTo>
                    <a:pt x="18" y="121"/>
                  </a:lnTo>
                  <a:lnTo>
                    <a:pt x="16" y="116"/>
                  </a:lnTo>
                  <a:lnTo>
                    <a:pt x="13" y="110"/>
                  </a:lnTo>
                  <a:lnTo>
                    <a:pt x="11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91"/>
                  </a:lnTo>
                  <a:lnTo>
                    <a:pt x="7" y="72"/>
                  </a:lnTo>
                  <a:lnTo>
                    <a:pt x="6" y="65"/>
                  </a:lnTo>
                  <a:lnTo>
                    <a:pt x="5" y="58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27" y="48"/>
                  </a:lnTo>
                  <a:lnTo>
                    <a:pt x="38" y="52"/>
                  </a:lnTo>
                  <a:lnTo>
                    <a:pt x="41" y="54"/>
                  </a:lnTo>
                  <a:lnTo>
                    <a:pt x="44" y="55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60" y="5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1" y="65"/>
                  </a:lnTo>
                  <a:lnTo>
                    <a:pt x="74" y="66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7" y="65"/>
                  </a:lnTo>
                  <a:lnTo>
                    <a:pt x="89" y="64"/>
                  </a:lnTo>
                  <a:lnTo>
                    <a:pt x="91" y="63"/>
                  </a:lnTo>
                  <a:lnTo>
                    <a:pt x="100" y="57"/>
                  </a:lnTo>
                  <a:lnTo>
                    <a:pt x="102" y="56"/>
                  </a:lnTo>
                  <a:lnTo>
                    <a:pt x="106" y="52"/>
                  </a:lnTo>
                  <a:lnTo>
                    <a:pt x="109" y="50"/>
                  </a:lnTo>
                  <a:lnTo>
                    <a:pt x="111" y="48"/>
                  </a:lnTo>
                  <a:lnTo>
                    <a:pt x="114" y="47"/>
                  </a:lnTo>
                  <a:lnTo>
                    <a:pt x="121" y="43"/>
                  </a:lnTo>
                  <a:lnTo>
                    <a:pt x="126" y="42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2" y="39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51" y="35"/>
                  </a:lnTo>
                  <a:lnTo>
                    <a:pt x="153" y="34"/>
                  </a:lnTo>
                  <a:lnTo>
                    <a:pt x="154" y="33"/>
                  </a:lnTo>
                  <a:lnTo>
                    <a:pt x="156" y="32"/>
                  </a:lnTo>
                  <a:lnTo>
                    <a:pt x="156" y="30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62" y="20"/>
                  </a:lnTo>
                  <a:lnTo>
                    <a:pt x="163" y="17"/>
                  </a:lnTo>
                  <a:lnTo>
                    <a:pt x="165" y="16"/>
                  </a:lnTo>
                  <a:lnTo>
                    <a:pt x="166" y="15"/>
                  </a:lnTo>
                  <a:lnTo>
                    <a:pt x="167" y="14"/>
                  </a:lnTo>
                  <a:lnTo>
                    <a:pt x="168" y="14"/>
                  </a:lnTo>
                  <a:lnTo>
                    <a:pt x="168" y="14"/>
                  </a:lnTo>
                  <a:close/>
                </a:path>
              </a:pathLst>
            </a:custGeom>
            <a:solidFill>
              <a:srgbClr val="595959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06">
              <a:extLst>
                <a:ext uri="{FF2B5EF4-FFF2-40B4-BE49-F238E27FC236}">
                  <a16:creationId xmlns:a16="http://schemas.microsoft.com/office/drawing/2014/main" id="{64CBF82D-F04E-5D8D-E72E-415DE0A5B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474" y="781655"/>
              <a:ext cx="422275" cy="420688"/>
            </a:xfrm>
            <a:custGeom>
              <a:avLst/>
              <a:gdLst>
                <a:gd name="T0" fmla="*/ 103 w 266"/>
                <a:gd name="T1" fmla="*/ 7 h 265"/>
                <a:gd name="T2" fmla="*/ 112 w 266"/>
                <a:gd name="T3" fmla="*/ 13 h 265"/>
                <a:gd name="T4" fmla="*/ 120 w 266"/>
                <a:gd name="T5" fmla="*/ 26 h 265"/>
                <a:gd name="T6" fmla="*/ 127 w 266"/>
                <a:gd name="T7" fmla="*/ 40 h 265"/>
                <a:gd name="T8" fmla="*/ 135 w 266"/>
                <a:gd name="T9" fmla="*/ 39 h 265"/>
                <a:gd name="T10" fmla="*/ 140 w 266"/>
                <a:gd name="T11" fmla="*/ 42 h 265"/>
                <a:gd name="T12" fmla="*/ 145 w 266"/>
                <a:gd name="T13" fmla="*/ 48 h 265"/>
                <a:gd name="T14" fmla="*/ 150 w 266"/>
                <a:gd name="T15" fmla="*/ 47 h 265"/>
                <a:gd name="T16" fmla="*/ 169 w 266"/>
                <a:gd name="T17" fmla="*/ 23 h 265"/>
                <a:gd name="T18" fmla="*/ 194 w 266"/>
                <a:gd name="T19" fmla="*/ 5 h 265"/>
                <a:gd name="T20" fmla="*/ 202 w 266"/>
                <a:gd name="T21" fmla="*/ 0 h 265"/>
                <a:gd name="T22" fmla="*/ 205 w 266"/>
                <a:gd name="T23" fmla="*/ 7 h 265"/>
                <a:gd name="T24" fmla="*/ 211 w 266"/>
                <a:gd name="T25" fmla="*/ 30 h 265"/>
                <a:gd name="T26" fmla="*/ 226 w 266"/>
                <a:gd name="T27" fmla="*/ 46 h 265"/>
                <a:gd name="T28" fmla="*/ 229 w 266"/>
                <a:gd name="T29" fmla="*/ 57 h 265"/>
                <a:gd name="T30" fmla="*/ 217 w 266"/>
                <a:gd name="T31" fmla="*/ 73 h 265"/>
                <a:gd name="T32" fmla="*/ 204 w 266"/>
                <a:gd name="T33" fmla="*/ 90 h 265"/>
                <a:gd name="T34" fmla="*/ 202 w 266"/>
                <a:gd name="T35" fmla="*/ 100 h 265"/>
                <a:gd name="T36" fmla="*/ 213 w 266"/>
                <a:gd name="T37" fmla="*/ 111 h 265"/>
                <a:gd name="T38" fmla="*/ 239 w 266"/>
                <a:gd name="T39" fmla="*/ 134 h 265"/>
                <a:gd name="T40" fmla="*/ 239 w 266"/>
                <a:gd name="T41" fmla="*/ 139 h 265"/>
                <a:gd name="T42" fmla="*/ 234 w 266"/>
                <a:gd name="T43" fmla="*/ 149 h 265"/>
                <a:gd name="T44" fmla="*/ 240 w 266"/>
                <a:gd name="T45" fmla="*/ 159 h 265"/>
                <a:gd name="T46" fmla="*/ 259 w 266"/>
                <a:gd name="T47" fmla="*/ 169 h 265"/>
                <a:gd name="T48" fmla="*/ 263 w 266"/>
                <a:gd name="T49" fmla="*/ 177 h 265"/>
                <a:gd name="T50" fmla="*/ 249 w 266"/>
                <a:gd name="T51" fmla="*/ 203 h 265"/>
                <a:gd name="T52" fmla="*/ 245 w 266"/>
                <a:gd name="T53" fmla="*/ 220 h 265"/>
                <a:gd name="T54" fmla="*/ 232 w 266"/>
                <a:gd name="T55" fmla="*/ 238 h 265"/>
                <a:gd name="T56" fmla="*/ 207 w 266"/>
                <a:gd name="T57" fmla="*/ 256 h 265"/>
                <a:gd name="T58" fmla="*/ 189 w 266"/>
                <a:gd name="T59" fmla="*/ 263 h 265"/>
                <a:gd name="T60" fmla="*/ 177 w 266"/>
                <a:gd name="T61" fmla="*/ 265 h 265"/>
                <a:gd name="T62" fmla="*/ 164 w 266"/>
                <a:gd name="T63" fmla="*/ 257 h 265"/>
                <a:gd name="T64" fmla="*/ 143 w 266"/>
                <a:gd name="T65" fmla="*/ 238 h 265"/>
                <a:gd name="T66" fmla="*/ 122 w 266"/>
                <a:gd name="T67" fmla="*/ 230 h 265"/>
                <a:gd name="T68" fmla="*/ 116 w 266"/>
                <a:gd name="T69" fmla="*/ 222 h 265"/>
                <a:gd name="T70" fmla="*/ 121 w 266"/>
                <a:gd name="T71" fmla="*/ 212 h 265"/>
                <a:gd name="T72" fmla="*/ 126 w 266"/>
                <a:gd name="T73" fmla="*/ 202 h 265"/>
                <a:gd name="T74" fmla="*/ 126 w 266"/>
                <a:gd name="T75" fmla="*/ 189 h 265"/>
                <a:gd name="T76" fmla="*/ 120 w 266"/>
                <a:gd name="T77" fmla="*/ 180 h 265"/>
                <a:gd name="T78" fmla="*/ 102 w 266"/>
                <a:gd name="T79" fmla="*/ 171 h 265"/>
                <a:gd name="T80" fmla="*/ 80 w 266"/>
                <a:gd name="T81" fmla="*/ 174 h 265"/>
                <a:gd name="T82" fmla="*/ 49 w 266"/>
                <a:gd name="T83" fmla="*/ 176 h 265"/>
                <a:gd name="T84" fmla="*/ 32 w 266"/>
                <a:gd name="T85" fmla="*/ 171 h 265"/>
                <a:gd name="T86" fmla="*/ 25 w 266"/>
                <a:gd name="T87" fmla="*/ 163 h 265"/>
                <a:gd name="T88" fmla="*/ 21 w 266"/>
                <a:gd name="T89" fmla="*/ 154 h 265"/>
                <a:gd name="T90" fmla="*/ 20 w 266"/>
                <a:gd name="T91" fmla="*/ 141 h 265"/>
                <a:gd name="T92" fmla="*/ 20 w 266"/>
                <a:gd name="T93" fmla="*/ 107 h 265"/>
                <a:gd name="T94" fmla="*/ 14 w 266"/>
                <a:gd name="T95" fmla="*/ 97 h 265"/>
                <a:gd name="T96" fmla="*/ 10 w 266"/>
                <a:gd name="T97" fmla="*/ 84 h 265"/>
                <a:gd name="T98" fmla="*/ 7 w 266"/>
                <a:gd name="T99" fmla="*/ 60 h 265"/>
                <a:gd name="T100" fmla="*/ 0 w 266"/>
                <a:gd name="T101" fmla="*/ 46 h 265"/>
                <a:gd name="T102" fmla="*/ 1 w 266"/>
                <a:gd name="T103" fmla="*/ 37 h 265"/>
                <a:gd name="T104" fmla="*/ 8 w 266"/>
                <a:gd name="T105" fmla="*/ 27 h 265"/>
                <a:gd name="T106" fmla="*/ 17 w 266"/>
                <a:gd name="T107" fmla="*/ 26 h 265"/>
                <a:gd name="T108" fmla="*/ 41 w 266"/>
                <a:gd name="T109" fmla="*/ 37 h 265"/>
                <a:gd name="T110" fmla="*/ 59 w 266"/>
                <a:gd name="T111" fmla="*/ 41 h 265"/>
                <a:gd name="T112" fmla="*/ 69 w 266"/>
                <a:gd name="T113" fmla="*/ 36 h 265"/>
                <a:gd name="T114" fmla="*/ 80 w 266"/>
                <a:gd name="T115" fmla="*/ 19 h 265"/>
                <a:gd name="T116" fmla="*/ 91 w 266"/>
                <a:gd name="T117" fmla="*/ 1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265">
                  <a:moveTo>
                    <a:pt x="97" y="7"/>
                  </a:moveTo>
                  <a:lnTo>
                    <a:pt x="97" y="7"/>
                  </a:lnTo>
                  <a:lnTo>
                    <a:pt x="98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5" y="9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2"/>
                  </a:lnTo>
                  <a:lnTo>
                    <a:pt x="112" y="13"/>
                  </a:lnTo>
                  <a:lnTo>
                    <a:pt x="115" y="16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8" y="22"/>
                  </a:lnTo>
                  <a:lnTo>
                    <a:pt x="120" y="26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3" y="37"/>
                  </a:lnTo>
                  <a:lnTo>
                    <a:pt x="125" y="39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3" y="39"/>
                  </a:lnTo>
                  <a:lnTo>
                    <a:pt x="135" y="39"/>
                  </a:lnTo>
                  <a:lnTo>
                    <a:pt x="136" y="39"/>
                  </a:lnTo>
                  <a:lnTo>
                    <a:pt x="137" y="40"/>
                  </a:lnTo>
                  <a:lnTo>
                    <a:pt x="138" y="40"/>
                  </a:lnTo>
                  <a:lnTo>
                    <a:pt x="139" y="41"/>
                  </a:lnTo>
                  <a:lnTo>
                    <a:pt x="140" y="42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3" y="47"/>
                  </a:lnTo>
                  <a:lnTo>
                    <a:pt x="145" y="48"/>
                  </a:lnTo>
                  <a:lnTo>
                    <a:pt x="146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51" y="46"/>
                  </a:lnTo>
                  <a:lnTo>
                    <a:pt x="164" y="29"/>
                  </a:lnTo>
                  <a:lnTo>
                    <a:pt x="166" y="27"/>
                  </a:lnTo>
                  <a:lnTo>
                    <a:pt x="168" y="25"/>
                  </a:lnTo>
                  <a:lnTo>
                    <a:pt x="169" y="23"/>
                  </a:lnTo>
                  <a:lnTo>
                    <a:pt x="172" y="22"/>
                  </a:lnTo>
                  <a:lnTo>
                    <a:pt x="180" y="17"/>
                  </a:lnTo>
                  <a:lnTo>
                    <a:pt x="184" y="14"/>
                  </a:lnTo>
                  <a:lnTo>
                    <a:pt x="189" y="10"/>
                  </a:lnTo>
                  <a:lnTo>
                    <a:pt x="194" y="5"/>
                  </a:lnTo>
                  <a:lnTo>
                    <a:pt x="196" y="3"/>
                  </a:lnTo>
                  <a:lnTo>
                    <a:pt x="199" y="1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4" y="2"/>
                  </a:lnTo>
                  <a:lnTo>
                    <a:pt x="204" y="4"/>
                  </a:lnTo>
                  <a:lnTo>
                    <a:pt x="205" y="7"/>
                  </a:lnTo>
                  <a:lnTo>
                    <a:pt x="206" y="15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9" y="24"/>
                  </a:lnTo>
                  <a:lnTo>
                    <a:pt x="211" y="30"/>
                  </a:lnTo>
                  <a:lnTo>
                    <a:pt x="212" y="32"/>
                  </a:lnTo>
                  <a:lnTo>
                    <a:pt x="213" y="33"/>
                  </a:lnTo>
                  <a:lnTo>
                    <a:pt x="220" y="39"/>
                  </a:lnTo>
                  <a:lnTo>
                    <a:pt x="224" y="43"/>
                  </a:lnTo>
                  <a:lnTo>
                    <a:pt x="226" y="46"/>
                  </a:lnTo>
                  <a:lnTo>
                    <a:pt x="227" y="48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9" y="55"/>
                  </a:lnTo>
                  <a:lnTo>
                    <a:pt x="229" y="57"/>
                  </a:lnTo>
                  <a:lnTo>
                    <a:pt x="228" y="60"/>
                  </a:lnTo>
                  <a:lnTo>
                    <a:pt x="227" y="62"/>
                  </a:lnTo>
                  <a:lnTo>
                    <a:pt x="225" y="65"/>
                  </a:lnTo>
                  <a:lnTo>
                    <a:pt x="223" y="67"/>
                  </a:lnTo>
                  <a:lnTo>
                    <a:pt x="217" y="73"/>
                  </a:lnTo>
                  <a:lnTo>
                    <a:pt x="210" y="80"/>
                  </a:lnTo>
                  <a:lnTo>
                    <a:pt x="208" y="82"/>
                  </a:lnTo>
                  <a:lnTo>
                    <a:pt x="206" y="85"/>
                  </a:lnTo>
                  <a:lnTo>
                    <a:pt x="205" y="87"/>
                  </a:lnTo>
                  <a:lnTo>
                    <a:pt x="204" y="90"/>
                  </a:lnTo>
                  <a:lnTo>
                    <a:pt x="203" y="92"/>
                  </a:lnTo>
                  <a:lnTo>
                    <a:pt x="202" y="95"/>
                  </a:lnTo>
                  <a:lnTo>
                    <a:pt x="202" y="97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3" y="102"/>
                  </a:lnTo>
                  <a:lnTo>
                    <a:pt x="204" y="104"/>
                  </a:lnTo>
                  <a:lnTo>
                    <a:pt x="205" y="105"/>
                  </a:lnTo>
                  <a:lnTo>
                    <a:pt x="207" y="107"/>
                  </a:lnTo>
                  <a:lnTo>
                    <a:pt x="213" y="111"/>
                  </a:lnTo>
                  <a:lnTo>
                    <a:pt x="220" y="116"/>
                  </a:lnTo>
                  <a:lnTo>
                    <a:pt x="227" y="122"/>
                  </a:lnTo>
                  <a:lnTo>
                    <a:pt x="231" y="126"/>
                  </a:lnTo>
                  <a:lnTo>
                    <a:pt x="238" y="132"/>
                  </a:lnTo>
                  <a:lnTo>
                    <a:pt x="239" y="134"/>
                  </a:lnTo>
                  <a:lnTo>
                    <a:pt x="240" y="134"/>
                  </a:lnTo>
                  <a:lnTo>
                    <a:pt x="240" y="135"/>
                  </a:lnTo>
                  <a:lnTo>
                    <a:pt x="240" y="137"/>
                  </a:lnTo>
                  <a:lnTo>
                    <a:pt x="239" y="137"/>
                  </a:lnTo>
                  <a:lnTo>
                    <a:pt x="239" y="139"/>
                  </a:lnTo>
                  <a:lnTo>
                    <a:pt x="236" y="143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49"/>
                  </a:lnTo>
                  <a:lnTo>
                    <a:pt x="234" y="150"/>
                  </a:lnTo>
                  <a:lnTo>
                    <a:pt x="234" y="152"/>
                  </a:lnTo>
                  <a:lnTo>
                    <a:pt x="236" y="154"/>
                  </a:lnTo>
                  <a:lnTo>
                    <a:pt x="238" y="157"/>
                  </a:lnTo>
                  <a:lnTo>
                    <a:pt x="240" y="159"/>
                  </a:lnTo>
                  <a:lnTo>
                    <a:pt x="243" y="162"/>
                  </a:lnTo>
                  <a:lnTo>
                    <a:pt x="246" y="163"/>
                  </a:lnTo>
                  <a:lnTo>
                    <a:pt x="254" y="166"/>
                  </a:lnTo>
                  <a:lnTo>
                    <a:pt x="257" y="167"/>
                  </a:lnTo>
                  <a:lnTo>
                    <a:pt x="259" y="169"/>
                  </a:lnTo>
                  <a:lnTo>
                    <a:pt x="264" y="172"/>
                  </a:lnTo>
                  <a:lnTo>
                    <a:pt x="265" y="173"/>
                  </a:lnTo>
                  <a:lnTo>
                    <a:pt x="266" y="173"/>
                  </a:lnTo>
                  <a:lnTo>
                    <a:pt x="265" y="174"/>
                  </a:lnTo>
                  <a:lnTo>
                    <a:pt x="263" y="177"/>
                  </a:lnTo>
                  <a:lnTo>
                    <a:pt x="259" y="184"/>
                  </a:lnTo>
                  <a:lnTo>
                    <a:pt x="255" y="189"/>
                  </a:lnTo>
                  <a:lnTo>
                    <a:pt x="253" y="194"/>
                  </a:lnTo>
                  <a:lnTo>
                    <a:pt x="250" y="199"/>
                  </a:lnTo>
                  <a:lnTo>
                    <a:pt x="249" y="203"/>
                  </a:lnTo>
                  <a:lnTo>
                    <a:pt x="248" y="207"/>
                  </a:lnTo>
                  <a:lnTo>
                    <a:pt x="247" y="211"/>
                  </a:lnTo>
                  <a:lnTo>
                    <a:pt x="247" y="217"/>
                  </a:lnTo>
                  <a:lnTo>
                    <a:pt x="246" y="219"/>
                  </a:lnTo>
                  <a:lnTo>
                    <a:pt x="245" y="220"/>
                  </a:lnTo>
                  <a:lnTo>
                    <a:pt x="244" y="224"/>
                  </a:lnTo>
                  <a:lnTo>
                    <a:pt x="242" y="227"/>
                  </a:lnTo>
                  <a:lnTo>
                    <a:pt x="239" y="231"/>
                  </a:lnTo>
                  <a:lnTo>
                    <a:pt x="237" y="234"/>
                  </a:lnTo>
                  <a:lnTo>
                    <a:pt x="232" y="238"/>
                  </a:lnTo>
                  <a:lnTo>
                    <a:pt x="227" y="242"/>
                  </a:lnTo>
                  <a:lnTo>
                    <a:pt x="224" y="244"/>
                  </a:lnTo>
                  <a:lnTo>
                    <a:pt x="216" y="249"/>
                  </a:lnTo>
                  <a:lnTo>
                    <a:pt x="213" y="251"/>
                  </a:lnTo>
                  <a:lnTo>
                    <a:pt x="207" y="256"/>
                  </a:lnTo>
                  <a:lnTo>
                    <a:pt x="206" y="257"/>
                  </a:lnTo>
                  <a:lnTo>
                    <a:pt x="204" y="257"/>
                  </a:lnTo>
                  <a:lnTo>
                    <a:pt x="202" y="259"/>
                  </a:lnTo>
                  <a:lnTo>
                    <a:pt x="195" y="261"/>
                  </a:lnTo>
                  <a:lnTo>
                    <a:pt x="189" y="263"/>
                  </a:lnTo>
                  <a:lnTo>
                    <a:pt x="187" y="264"/>
                  </a:lnTo>
                  <a:lnTo>
                    <a:pt x="184" y="264"/>
                  </a:lnTo>
                  <a:lnTo>
                    <a:pt x="182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4"/>
                  </a:lnTo>
                  <a:lnTo>
                    <a:pt x="173" y="264"/>
                  </a:lnTo>
                  <a:lnTo>
                    <a:pt x="170" y="262"/>
                  </a:lnTo>
                  <a:lnTo>
                    <a:pt x="167" y="260"/>
                  </a:lnTo>
                  <a:lnTo>
                    <a:pt x="164" y="257"/>
                  </a:lnTo>
                  <a:lnTo>
                    <a:pt x="156" y="249"/>
                  </a:lnTo>
                  <a:lnTo>
                    <a:pt x="153" y="245"/>
                  </a:lnTo>
                  <a:lnTo>
                    <a:pt x="150" y="242"/>
                  </a:lnTo>
                  <a:lnTo>
                    <a:pt x="146" y="239"/>
                  </a:lnTo>
                  <a:lnTo>
                    <a:pt x="143" y="238"/>
                  </a:lnTo>
                  <a:lnTo>
                    <a:pt x="140" y="237"/>
                  </a:lnTo>
                  <a:lnTo>
                    <a:pt x="136" y="235"/>
                  </a:lnTo>
                  <a:lnTo>
                    <a:pt x="127" y="233"/>
                  </a:lnTo>
                  <a:lnTo>
                    <a:pt x="124" y="232"/>
                  </a:lnTo>
                  <a:lnTo>
                    <a:pt x="122" y="230"/>
                  </a:lnTo>
                  <a:lnTo>
                    <a:pt x="120" y="229"/>
                  </a:lnTo>
                  <a:lnTo>
                    <a:pt x="119" y="228"/>
                  </a:lnTo>
                  <a:lnTo>
                    <a:pt x="117" y="227"/>
                  </a:lnTo>
                  <a:lnTo>
                    <a:pt x="117" y="224"/>
                  </a:lnTo>
                  <a:lnTo>
                    <a:pt x="116" y="222"/>
                  </a:lnTo>
                  <a:lnTo>
                    <a:pt x="116" y="220"/>
                  </a:lnTo>
                  <a:lnTo>
                    <a:pt x="116" y="219"/>
                  </a:lnTo>
                  <a:lnTo>
                    <a:pt x="117" y="217"/>
                  </a:lnTo>
                  <a:lnTo>
                    <a:pt x="117" y="216"/>
                  </a:lnTo>
                  <a:lnTo>
                    <a:pt x="121" y="212"/>
                  </a:lnTo>
                  <a:lnTo>
                    <a:pt x="122" y="210"/>
                  </a:lnTo>
                  <a:lnTo>
                    <a:pt x="124" y="209"/>
                  </a:lnTo>
                  <a:lnTo>
                    <a:pt x="125" y="207"/>
                  </a:lnTo>
                  <a:lnTo>
                    <a:pt x="125" y="204"/>
                  </a:lnTo>
                  <a:lnTo>
                    <a:pt x="126" y="202"/>
                  </a:lnTo>
                  <a:lnTo>
                    <a:pt x="127" y="199"/>
                  </a:lnTo>
                  <a:lnTo>
                    <a:pt x="127" y="197"/>
                  </a:lnTo>
                  <a:lnTo>
                    <a:pt x="127" y="194"/>
                  </a:lnTo>
                  <a:lnTo>
                    <a:pt x="127" y="191"/>
                  </a:lnTo>
                  <a:lnTo>
                    <a:pt x="126" y="189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3" y="184"/>
                  </a:lnTo>
                  <a:lnTo>
                    <a:pt x="122" y="182"/>
                  </a:lnTo>
                  <a:lnTo>
                    <a:pt x="120" y="180"/>
                  </a:lnTo>
                  <a:lnTo>
                    <a:pt x="112" y="174"/>
                  </a:lnTo>
                  <a:lnTo>
                    <a:pt x="108" y="173"/>
                  </a:lnTo>
                  <a:lnTo>
                    <a:pt x="107" y="172"/>
                  </a:lnTo>
                  <a:lnTo>
                    <a:pt x="105" y="172"/>
                  </a:lnTo>
                  <a:lnTo>
                    <a:pt x="102" y="171"/>
                  </a:lnTo>
                  <a:lnTo>
                    <a:pt x="100" y="171"/>
                  </a:lnTo>
                  <a:lnTo>
                    <a:pt x="95" y="171"/>
                  </a:lnTo>
                  <a:lnTo>
                    <a:pt x="92" y="171"/>
                  </a:lnTo>
                  <a:lnTo>
                    <a:pt x="90" y="172"/>
                  </a:lnTo>
                  <a:lnTo>
                    <a:pt x="80" y="174"/>
                  </a:lnTo>
                  <a:lnTo>
                    <a:pt x="76" y="174"/>
                  </a:lnTo>
                  <a:lnTo>
                    <a:pt x="70" y="175"/>
                  </a:lnTo>
                  <a:lnTo>
                    <a:pt x="60" y="176"/>
                  </a:lnTo>
                  <a:lnTo>
                    <a:pt x="53" y="176"/>
                  </a:lnTo>
                  <a:lnTo>
                    <a:pt x="49" y="176"/>
                  </a:lnTo>
                  <a:lnTo>
                    <a:pt x="45" y="175"/>
                  </a:lnTo>
                  <a:lnTo>
                    <a:pt x="40" y="174"/>
                  </a:lnTo>
                  <a:lnTo>
                    <a:pt x="35" y="172"/>
                  </a:lnTo>
                  <a:lnTo>
                    <a:pt x="33" y="172"/>
                  </a:lnTo>
                  <a:lnTo>
                    <a:pt x="32" y="171"/>
                  </a:lnTo>
                  <a:lnTo>
                    <a:pt x="30" y="169"/>
                  </a:lnTo>
                  <a:lnTo>
                    <a:pt x="29" y="168"/>
                  </a:lnTo>
                  <a:lnTo>
                    <a:pt x="27" y="167"/>
                  </a:lnTo>
                  <a:lnTo>
                    <a:pt x="26" y="165"/>
                  </a:lnTo>
                  <a:lnTo>
                    <a:pt x="25" y="163"/>
                  </a:lnTo>
                  <a:lnTo>
                    <a:pt x="24" y="162"/>
                  </a:lnTo>
                  <a:lnTo>
                    <a:pt x="23" y="160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1" y="154"/>
                  </a:lnTo>
                  <a:lnTo>
                    <a:pt x="21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0" y="147"/>
                  </a:lnTo>
                  <a:lnTo>
                    <a:pt x="20" y="141"/>
                  </a:lnTo>
                  <a:lnTo>
                    <a:pt x="20" y="136"/>
                  </a:lnTo>
                  <a:lnTo>
                    <a:pt x="20" y="125"/>
                  </a:lnTo>
                  <a:lnTo>
                    <a:pt x="20" y="121"/>
                  </a:lnTo>
                  <a:lnTo>
                    <a:pt x="20" y="114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5" y="100"/>
                  </a:lnTo>
                  <a:lnTo>
                    <a:pt x="14" y="97"/>
                  </a:lnTo>
                  <a:lnTo>
                    <a:pt x="12" y="95"/>
                  </a:lnTo>
                  <a:lnTo>
                    <a:pt x="12" y="92"/>
                  </a:lnTo>
                  <a:lnTo>
                    <a:pt x="11" y="90"/>
                  </a:lnTo>
                  <a:lnTo>
                    <a:pt x="10" y="87"/>
                  </a:lnTo>
                  <a:lnTo>
                    <a:pt x="10" y="84"/>
                  </a:lnTo>
                  <a:lnTo>
                    <a:pt x="10" y="72"/>
                  </a:lnTo>
                  <a:lnTo>
                    <a:pt x="9" y="68"/>
                  </a:lnTo>
                  <a:lnTo>
                    <a:pt x="8" y="65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5" y="57"/>
                  </a:lnTo>
                  <a:lnTo>
                    <a:pt x="1" y="52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1" y="37"/>
                  </a:lnTo>
                  <a:lnTo>
                    <a:pt x="2" y="34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22" y="28"/>
                  </a:lnTo>
                  <a:lnTo>
                    <a:pt x="25" y="29"/>
                  </a:lnTo>
                  <a:lnTo>
                    <a:pt x="33" y="34"/>
                  </a:lnTo>
                  <a:lnTo>
                    <a:pt x="41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5" y="40"/>
                  </a:lnTo>
                  <a:lnTo>
                    <a:pt x="59" y="41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5" y="40"/>
                  </a:lnTo>
                  <a:lnTo>
                    <a:pt x="67" y="38"/>
                  </a:lnTo>
                  <a:lnTo>
                    <a:pt x="69" y="36"/>
                  </a:lnTo>
                  <a:lnTo>
                    <a:pt x="71" y="34"/>
                  </a:lnTo>
                  <a:lnTo>
                    <a:pt x="72" y="32"/>
                  </a:lnTo>
                  <a:lnTo>
                    <a:pt x="74" y="30"/>
                  </a:lnTo>
                  <a:lnTo>
                    <a:pt x="77" y="22"/>
                  </a:lnTo>
                  <a:lnTo>
                    <a:pt x="80" y="19"/>
                  </a:lnTo>
                  <a:lnTo>
                    <a:pt x="81" y="17"/>
                  </a:lnTo>
                  <a:lnTo>
                    <a:pt x="83" y="15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7" y="7"/>
                  </a:lnTo>
                  <a:close/>
                </a:path>
              </a:pathLst>
            </a:custGeom>
            <a:solidFill>
              <a:srgbClr val="828282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07">
              <a:extLst>
                <a:ext uri="{FF2B5EF4-FFF2-40B4-BE49-F238E27FC236}">
                  <a16:creationId xmlns:a16="http://schemas.microsoft.com/office/drawing/2014/main" id="{02C44DB4-8832-0835-EF5F-ED38CE2C4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187" y="1018192"/>
              <a:ext cx="1103313" cy="668338"/>
            </a:xfrm>
            <a:custGeom>
              <a:avLst/>
              <a:gdLst>
                <a:gd name="T0" fmla="*/ 154 w 695"/>
                <a:gd name="T1" fmla="*/ 13 h 421"/>
                <a:gd name="T2" fmla="*/ 177 w 695"/>
                <a:gd name="T3" fmla="*/ 28 h 421"/>
                <a:gd name="T4" fmla="*/ 202 w 695"/>
                <a:gd name="T5" fmla="*/ 43 h 421"/>
                <a:gd name="T6" fmla="*/ 234 w 695"/>
                <a:gd name="T7" fmla="*/ 36 h 421"/>
                <a:gd name="T8" fmla="*/ 271 w 695"/>
                <a:gd name="T9" fmla="*/ 7 h 421"/>
                <a:gd name="T10" fmla="*/ 284 w 695"/>
                <a:gd name="T11" fmla="*/ 23 h 421"/>
                <a:gd name="T12" fmla="*/ 344 w 695"/>
                <a:gd name="T13" fmla="*/ 22 h 421"/>
                <a:gd name="T14" fmla="*/ 374 w 695"/>
                <a:gd name="T15" fmla="*/ 38 h 421"/>
                <a:gd name="T16" fmla="*/ 370 w 695"/>
                <a:gd name="T17" fmla="*/ 63 h 421"/>
                <a:gd name="T18" fmla="*/ 373 w 695"/>
                <a:gd name="T19" fmla="*/ 83 h 421"/>
                <a:gd name="T20" fmla="*/ 419 w 695"/>
                <a:gd name="T21" fmla="*/ 113 h 421"/>
                <a:gd name="T22" fmla="*/ 453 w 695"/>
                <a:gd name="T23" fmla="*/ 108 h 421"/>
                <a:gd name="T24" fmla="*/ 493 w 695"/>
                <a:gd name="T25" fmla="*/ 75 h 421"/>
                <a:gd name="T26" fmla="*/ 512 w 695"/>
                <a:gd name="T27" fmla="*/ 28 h 421"/>
                <a:gd name="T28" fmla="*/ 525 w 695"/>
                <a:gd name="T29" fmla="*/ 25 h 421"/>
                <a:gd name="T30" fmla="*/ 521 w 695"/>
                <a:gd name="T31" fmla="*/ 63 h 421"/>
                <a:gd name="T32" fmla="*/ 537 w 695"/>
                <a:gd name="T33" fmla="*/ 78 h 421"/>
                <a:gd name="T34" fmla="*/ 571 w 695"/>
                <a:gd name="T35" fmla="*/ 88 h 421"/>
                <a:gd name="T36" fmla="*/ 583 w 695"/>
                <a:gd name="T37" fmla="*/ 78 h 421"/>
                <a:gd name="T38" fmla="*/ 629 w 695"/>
                <a:gd name="T39" fmla="*/ 100 h 421"/>
                <a:gd name="T40" fmla="*/ 630 w 695"/>
                <a:gd name="T41" fmla="*/ 113 h 421"/>
                <a:gd name="T42" fmla="*/ 664 w 695"/>
                <a:gd name="T43" fmla="*/ 120 h 421"/>
                <a:gd name="T44" fmla="*/ 669 w 695"/>
                <a:gd name="T45" fmla="*/ 154 h 421"/>
                <a:gd name="T46" fmla="*/ 663 w 695"/>
                <a:gd name="T47" fmla="*/ 217 h 421"/>
                <a:gd name="T48" fmla="*/ 682 w 695"/>
                <a:gd name="T49" fmla="*/ 237 h 421"/>
                <a:gd name="T50" fmla="*/ 682 w 695"/>
                <a:gd name="T51" fmla="*/ 270 h 421"/>
                <a:gd name="T52" fmla="*/ 671 w 695"/>
                <a:gd name="T53" fmla="*/ 301 h 421"/>
                <a:gd name="T54" fmla="*/ 681 w 695"/>
                <a:gd name="T55" fmla="*/ 327 h 421"/>
                <a:gd name="T56" fmla="*/ 695 w 695"/>
                <a:gd name="T57" fmla="*/ 379 h 421"/>
                <a:gd name="T58" fmla="*/ 673 w 695"/>
                <a:gd name="T59" fmla="*/ 421 h 421"/>
                <a:gd name="T60" fmla="*/ 622 w 695"/>
                <a:gd name="T61" fmla="*/ 405 h 421"/>
                <a:gd name="T62" fmla="*/ 574 w 695"/>
                <a:gd name="T63" fmla="*/ 395 h 421"/>
                <a:gd name="T64" fmla="*/ 533 w 695"/>
                <a:gd name="T65" fmla="*/ 377 h 421"/>
                <a:gd name="T66" fmla="*/ 510 w 695"/>
                <a:gd name="T67" fmla="*/ 375 h 421"/>
                <a:gd name="T68" fmla="*/ 469 w 695"/>
                <a:gd name="T69" fmla="*/ 373 h 421"/>
                <a:gd name="T70" fmla="*/ 422 w 695"/>
                <a:gd name="T71" fmla="*/ 367 h 421"/>
                <a:gd name="T72" fmla="*/ 403 w 695"/>
                <a:gd name="T73" fmla="*/ 337 h 421"/>
                <a:gd name="T74" fmla="*/ 411 w 695"/>
                <a:gd name="T75" fmla="*/ 315 h 421"/>
                <a:gd name="T76" fmla="*/ 392 w 695"/>
                <a:gd name="T77" fmla="*/ 287 h 421"/>
                <a:gd name="T78" fmla="*/ 353 w 695"/>
                <a:gd name="T79" fmla="*/ 280 h 421"/>
                <a:gd name="T80" fmla="*/ 339 w 695"/>
                <a:gd name="T81" fmla="*/ 302 h 421"/>
                <a:gd name="T82" fmla="*/ 319 w 695"/>
                <a:gd name="T83" fmla="*/ 310 h 421"/>
                <a:gd name="T84" fmla="*/ 298 w 695"/>
                <a:gd name="T85" fmla="*/ 280 h 421"/>
                <a:gd name="T86" fmla="*/ 274 w 695"/>
                <a:gd name="T87" fmla="*/ 261 h 421"/>
                <a:gd name="T88" fmla="*/ 255 w 695"/>
                <a:gd name="T89" fmla="*/ 253 h 421"/>
                <a:gd name="T90" fmla="*/ 239 w 695"/>
                <a:gd name="T91" fmla="*/ 232 h 421"/>
                <a:gd name="T92" fmla="*/ 203 w 695"/>
                <a:gd name="T93" fmla="*/ 239 h 421"/>
                <a:gd name="T94" fmla="*/ 182 w 695"/>
                <a:gd name="T95" fmla="*/ 252 h 421"/>
                <a:gd name="T96" fmla="*/ 157 w 695"/>
                <a:gd name="T97" fmla="*/ 262 h 421"/>
                <a:gd name="T98" fmla="*/ 114 w 695"/>
                <a:gd name="T99" fmla="*/ 220 h 421"/>
                <a:gd name="T100" fmla="*/ 117 w 695"/>
                <a:gd name="T101" fmla="*/ 200 h 421"/>
                <a:gd name="T102" fmla="*/ 137 w 695"/>
                <a:gd name="T103" fmla="*/ 179 h 421"/>
                <a:gd name="T104" fmla="*/ 127 w 695"/>
                <a:gd name="T105" fmla="*/ 155 h 421"/>
                <a:gd name="T106" fmla="*/ 91 w 695"/>
                <a:gd name="T107" fmla="*/ 108 h 421"/>
                <a:gd name="T108" fmla="*/ 49 w 695"/>
                <a:gd name="T109" fmla="*/ 100 h 421"/>
                <a:gd name="T110" fmla="*/ 9 w 695"/>
                <a:gd name="T111" fmla="*/ 126 h 421"/>
                <a:gd name="T112" fmla="*/ 3 w 695"/>
                <a:gd name="T113" fmla="*/ 109 h 421"/>
                <a:gd name="T114" fmla="*/ 7 w 695"/>
                <a:gd name="T115" fmla="*/ 81 h 421"/>
                <a:gd name="T116" fmla="*/ 29 w 695"/>
                <a:gd name="T117" fmla="*/ 74 h 421"/>
                <a:gd name="T118" fmla="*/ 42 w 695"/>
                <a:gd name="T119" fmla="*/ 47 h 421"/>
                <a:gd name="T120" fmla="*/ 59 w 695"/>
                <a:gd name="T121" fmla="*/ 47 h 421"/>
                <a:gd name="T122" fmla="*/ 79 w 695"/>
                <a:gd name="T123" fmla="*/ 46 h 421"/>
                <a:gd name="T124" fmla="*/ 100 w 695"/>
                <a:gd name="T125" fmla="*/ 2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421">
                  <a:moveTo>
                    <a:pt x="129" y="10"/>
                  </a:moveTo>
                  <a:lnTo>
                    <a:pt x="129" y="11"/>
                  </a:lnTo>
                  <a:lnTo>
                    <a:pt x="133" y="13"/>
                  </a:lnTo>
                  <a:lnTo>
                    <a:pt x="136" y="15"/>
                  </a:lnTo>
                  <a:lnTo>
                    <a:pt x="139" y="16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52" y="13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8" y="13"/>
                  </a:lnTo>
                  <a:lnTo>
                    <a:pt x="159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5" y="16"/>
                  </a:lnTo>
                  <a:lnTo>
                    <a:pt x="170" y="20"/>
                  </a:lnTo>
                  <a:lnTo>
                    <a:pt x="172" y="22"/>
                  </a:lnTo>
                  <a:lnTo>
                    <a:pt x="174" y="24"/>
                  </a:lnTo>
                  <a:lnTo>
                    <a:pt x="177" y="26"/>
                  </a:lnTo>
                  <a:lnTo>
                    <a:pt x="177" y="28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3" y="36"/>
                  </a:lnTo>
                  <a:lnTo>
                    <a:pt x="184" y="38"/>
                  </a:lnTo>
                  <a:lnTo>
                    <a:pt x="186" y="38"/>
                  </a:lnTo>
                  <a:lnTo>
                    <a:pt x="187" y="40"/>
                  </a:lnTo>
                  <a:lnTo>
                    <a:pt x="189" y="40"/>
                  </a:lnTo>
                  <a:lnTo>
                    <a:pt x="191" y="41"/>
                  </a:lnTo>
                  <a:lnTo>
                    <a:pt x="196" y="42"/>
                  </a:lnTo>
                  <a:lnTo>
                    <a:pt x="199" y="43"/>
                  </a:lnTo>
                  <a:lnTo>
                    <a:pt x="202" y="43"/>
                  </a:lnTo>
                  <a:lnTo>
                    <a:pt x="206" y="43"/>
                  </a:lnTo>
                  <a:lnTo>
                    <a:pt x="210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9" y="42"/>
                  </a:lnTo>
                  <a:lnTo>
                    <a:pt x="226" y="40"/>
                  </a:lnTo>
                  <a:lnTo>
                    <a:pt x="228" y="40"/>
                  </a:lnTo>
                  <a:lnTo>
                    <a:pt x="230" y="39"/>
                  </a:lnTo>
                  <a:lnTo>
                    <a:pt x="231" y="38"/>
                  </a:lnTo>
                  <a:lnTo>
                    <a:pt x="233" y="37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43" y="26"/>
                  </a:lnTo>
                  <a:lnTo>
                    <a:pt x="251" y="18"/>
                  </a:lnTo>
                  <a:lnTo>
                    <a:pt x="260" y="9"/>
                  </a:lnTo>
                  <a:lnTo>
                    <a:pt x="267" y="2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0" y="2"/>
                  </a:lnTo>
                  <a:lnTo>
                    <a:pt x="270" y="5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2" y="11"/>
                  </a:lnTo>
                  <a:lnTo>
                    <a:pt x="273" y="13"/>
                  </a:lnTo>
                  <a:lnTo>
                    <a:pt x="274" y="14"/>
                  </a:lnTo>
                  <a:lnTo>
                    <a:pt x="275" y="16"/>
                  </a:lnTo>
                  <a:lnTo>
                    <a:pt x="276" y="18"/>
                  </a:lnTo>
                  <a:lnTo>
                    <a:pt x="278" y="19"/>
                  </a:lnTo>
                  <a:lnTo>
                    <a:pt x="279" y="20"/>
                  </a:lnTo>
                  <a:lnTo>
                    <a:pt x="281" y="22"/>
                  </a:lnTo>
                  <a:lnTo>
                    <a:pt x="282" y="23"/>
                  </a:lnTo>
                  <a:lnTo>
                    <a:pt x="284" y="23"/>
                  </a:lnTo>
                  <a:lnTo>
                    <a:pt x="289" y="25"/>
                  </a:lnTo>
                  <a:lnTo>
                    <a:pt x="294" y="26"/>
                  </a:lnTo>
                  <a:lnTo>
                    <a:pt x="298" y="27"/>
                  </a:lnTo>
                  <a:lnTo>
                    <a:pt x="302" y="27"/>
                  </a:lnTo>
                  <a:lnTo>
                    <a:pt x="309" y="27"/>
                  </a:lnTo>
                  <a:lnTo>
                    <a:pt x="319" y="26"/>
                  </a:lnTo>
                  <a:lnTo>
                    <a:pt x="325" y="25"/>
                  </a:lnTo>
                  <a:lnTo>
                    <a:pt x="329" y="25"/>
                  </a:lnTo>
                  <a:lnTo>
                    <a:pt x="339" y="23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9" y="22"/>
                  </a:lnTo>
                  <a:lnTo>
                    <a:pt x="351" y="22"/>
                  </a:lnTo>
                  <a:lnTo>
                    <a:pt x="354" y="23"/>
                  </a:lnTo>
                  <a:lnTo>
                    <a:pt x="356" y="23"/>
                  </a:lnTo>
                  <a:lnTo>
                    <a:pt x="357" y="24"/>
                  </a:lnTo>
                  <a:lnTo>
                    <a:pt x="361" y="25"/>
                  </a:lnTo>
                  <a:lnTo>
                    <a:pt x="369" y="31"/>
                  </a:lnTo>
                  <a:lnTo>
                    <a:pt x="371" y="33"/>
                  </a:lnTo>
                  <a:lnTo>
                    <a:pt x="372" y="35"/>
                  </a:lnTo>
                  <a:lnTo>
                    <a:pt x="374" y="36"/>
                  </a:lnTo>
                  <a:lnTo>
                    <a:pt x="374" y="38"/>
                  </a:lnTo>
                  <a:lnTo>
                    <a:pt x="375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5" y="53"/>
                  </a:lnTo>
                  <a:lnTo>
                    <a:pt x="374" y="55"/>
                  </a:lnTo>
                  <a:lnTo>
                    <a:pt x="374" y="58"/>
                  </a:lnTo>
                  <a:lnTo>
                    <a:pt x="373" y="60"/>
                  </a:lnTo>
                  <a:lnTo>
                    <a:pt x="371" y="61"/>
                  </a:lnTo>
                  <a:lnTo>
                    <a:pt x="370" y="63"/>
                  </a:lnTo>
                  <a:lnTo>
                    <a:pt x="366" y="67"/>
                  </a:lnTo>
                  <a:lnTo>
                    <a:pt x="366" y="68"/>
                  </a:lnTo>
                  <a:lnTo>
                    <a:pt x="365" y="70"/>
                  </a:lnTo>
                  <a:lnTo>
                    <a:pt x="365" y="71"/>
                  </a:lnTo>
                  <a:lnTo>
                    <a:pt x="365" y="73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8" y="79"/>
                  </a:lnTo>
                  <a:lnTo>
                    <a:pt x="369" y="80"/>
                  </a:lnTo>
                  <a:lnTo>
                    <a:pt x="371" y="81"/>
                  </a:lnTo>
                  <a:lnTo>
                    <a:pt x="373" y="83"/>
                  </a:lnTo>
                  <a:lnTo>
                    <a:pt x="376" y="84"/>
                  </a:lnTo>
                  <a:lnTo>
                    <a:pt x="385" y="86"/>
                  </a:lnTo>
                  <a:lnTo>
                    <a:pt x="389" y="88"/>
                  </a:lnTo>
                  <a:lnTo>
                    <a:pt x="392" y="89"/>
                  </a:lnTo>
                  <a:lnTo>
                    <a:pt x="395" y="90"/>
                  </a:lnTo>
                  <a:lnTo>
                    <a:pt x="399" y="93"/>
                  </a:lnTo>
                  <a:lnTo>
                    <a:pt x="402" y="96"/>
                  </a:lnTo>
                  <a:lnTo>
                    <a:pt x="405" y="100"/>
                  </a:lnTo>
                  <a:lnTo>
                    <a:pt x="413" y="108"/>
                  </a:lnTo>
                  <a:lnTo>
                    <a:pt x="416" y="111"/>
                  </a:lnTo>
                  <a:lnTo>
                    <a:pt x="419" y="113"/>
                  </a:lnTo>
                  <a:lnTo>
                    <a:pt x="422" y="115"/>
                  </a:lnTo>
                  <a:lnTo>
                    <a:pt x="424" y="115"/>
                  </a:lnTo>
                  <a:lnTo>
                    <a:pt x="426" y="116"/>
                  </a:lnTo>
                  <a:lnTo>
                    <a:pt x="428" y="116"/>
                  </a:lnTo>
                  <a:lnTo>
                    <a:pt x="431" y="116"/>
                  </a:lnTo>
                  <a:lnTo>
                    <a:pt x="433" y="115"/>
                  </a:lnTo>
                  <a:lnTo>
                    <a:pt x="436" y="115"/>
                  </a:lnTo>
                  <a:lnTo>
                    <a:pt x="438" y="114"/>
                  </a:lnTo>
                  <a:lnTo>
                    <a:pt x="444" y="112"/>
                  </a:lnTo>
                  <a:lnTo>
                    <a:pt x="451" y="110"/>
                  </a:lnTo>
                  <a:lnTo>
                    <a:pt x="453" y="108"/>
                  </a:lnTo>
                  <a:lnTo>
                    <a:pt x="455" y="108"/>
                  </a:lnTo>
                  <a:lnTo>
                    <a:pt x="456" y="107"/>
                  </a:lnTo>
                  <a:lnTo>
                    <a:pt x="462" y="102"/>
                  </a:lnTo>
                  <a:lnTo>
                    <a:pt x="465" y="100"/>
                  </a:lnTo>
                  <a:lnTo>
                    <a:pt x="473" y="95"/>
                  </a:lnTo>
                  <a:lnTo>
                    <a:pt x="476" y="93"/>
                  </a:lnTo>
                  <a:lnTo>
                    <a:pt x="481" y="89"/>
                  </a:lnTo>
                  <a:lnTo>
                    <a:pt x="486" y="85"/>
                  </a:lnTo>
                  <a:lnTo>
                    <a:pt x="488" y="82"/>
                  </a:lnTo>
                  <a:lnTo>
                    <a:pt x="491" y="78"/>
                  </a:lnTo>
                  <a:lnTo>
                    <a:pt x="493" y="75"/>
                  </a:lnTo>
                  <a:lnTo>
                    <a:pt x="494" y="71"/>
                  </a:lnTo>
                  <a:lnTo>
                    <a:pt x="495" y="70"/>
                  </a:lnTo>
                  <a:lnTo>
                    <a:pt x="496" y="68"/>
                  </a:lnTo>
                  <a:lnTo>
                    <a:pt x="496" y="62"/>
                  </a:lnTo>
                  <a:lnTo>
                    <a:pt x="497" y="58"/>
                  </a:lnTo>
                  <a:lnTo>
                    <a:pt x="498" y="54"/>
                  </a:lnTo>
                  <a:lnTo>
                    <a:pt x="499" y="50"/>
                  </a:lnTo>
                  <a:lnTo>
                    <a:pt x="502" y="45"/>
                  </a:lnTo>
                  <a:lnTo>
                    <a:pt x="504" y="40"/>
                  </a:lnTo>
                  <a:lnTo>
                    <a:pt x="508" y="35"/>
                  </a:lnTo>
                  <a:lnTo>
                    <a:pt x="512" y="28"/>
                  </a:lnTo>
                  <a:lnTo>
                    <a:pt x="514" y="25"/>
                  </a:lnTo>
                  <a:lnTo>
                    <a:pt x="515" y="24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7" y="23"/>
                  </a:lnTo>
                  <a:lnTo>
                    <a:pt x="518" y="23"/>
                  </a:lnTo>
                  <a:lnTo>
                    <a:pt x="520" y="23"/>
                  </a:lnTo>
                  <a:lnTo>
                    <a:pt x="521" y="23"/>
                  </a:lnTo>
                  <a:lnTo>
                    <a:pt x="522" y="23"/>
                  </a:lnTo>
                  <a:lnTo>
                    <a:pt x="523" y="24"/>
                  </a:lnTo>
                  <a:lnTo>
                    <a:pt x="525" y="25"/>
                  </a:lnTo>
                  <a:lnTo>
                    <a:pt x="526" y="27"/>
                  </a:lnTo>
                  <a:lnTo>
                    <a:pt x="528" y="30"/>
                  </a:lnTo>
                  <a:lnTo>
                    <a:pt x="528" y="33"/>
                  </a:lnTo>
                  <a:lnTo>
                    <a:pt x="528" y="35"/>
                  </a:lnTo>
                  <a:lnTo>
                    <a:pt x="528" y="38"/>
                  </a:lnTo>
                  <a:lnTo>
                    <a:pt x="528" y="43"/>
                  </a:lnTo>
                  <a:lnTo>
                    <a:pt x="527" y="46"/>
                  </a:lnTo>
                  <a:lnTo>
                    <a:pt x="525" y="53"/>
                  </a:lnTo>
                  <a:lnTo>
                    <a:pt x="523" y="56"/>
                  </a:lnTo>
                  <a:lnTo>
                    <a:pt x="521" y="62"/>
                  </a:lnTo>
                  <a:lnTo>
                    <a:pt x="521" y="63"/>
                  </a:lnTo>
                  <a:lnTo>
                    <a:pt x="521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70"/>
                  </a:lnTo>
                  <a:lnTo>
                    <a:pt x="521" y="70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6" y="75"/>
                  </a:lnTo>
                  <a:lnTo>
                    <a:pt x="529" y="76"/>
                  </a:lnTo>
                  <a:lnTo>
                    <a:pt x="537" y="78"/>
                  </a:lnTo>
                  <a:lnTo>
                    <a:pt x="547" y="82"/>
                  </a:lnTo>
                  <a:lnTo>
                    <a:pt x="554" y="84"/>
                  </a:lnTo>
                  <a:lnTo>
                    <a:pt x="556" y="85"/>
                  </a:lnTo>
                  <a:lnTo>
                    <a:pt x="559" y="86"/>
                  </a:lnTo>
                  <a:lnTo>
                    <a:pt x="564" y="89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7" y="90"/>
                  </a:lnTo>
                  <a:lnTo>
                    <a:pt x="568" y="90"/>
                  </a:lnTo>
                  <a:lnTo>
                    <a:pt x="569" y="89"/>
                  </a:lnTo>
                  <a:lnTo>
                    <a:pt x="571" y="88"/>
                  </a:lnTo>
                  <a:lnTo>
                    <a:pt x="572" y="87"/>
                  </a:lnTo>
                  <a:lnTo>
                    <a:pt x="573" y="85"/>
                  </a:lnTo>
                  <a:lnTo>
                    <a:pt x="575" y="83"/>
                  </a:lnTo>
                  <a:lnTo>
                    <a:pt x="576" y="80"/>
                  </a:lnTo>
                  <a:lnTo>
                    <a:pt x="577" y="79"/>
                  </a:lnTo>
                  <a:lnTo>
                    <a:pt x="578" y="79"/>
                  </a:lnTo>
                  <a:lnTo>
                    <a:pt x="578" y="78"/>
                  </a:lnTo>
                  <a:lnTo>
                    <a:pt x="579" y="78"/>
                  </a:lnTo>
                  <a:lnTo>
                    <a:pt x="580" y="78"/>
                  </a:lnTo>
                  <a:lnTo>
                    <a:pt x="581" y="78"/>
                  </a:lnTo>
                  <a:lnTo>
                    <a:pt x="583" y="78"/>
                  </a:lnTo>
                  <a:lnTo>
                    <a:pt x="589" y="79"/>
                  </a:lnTo>
                  <a:lnTo>
                    <a:pt x="593" y="80"/>
                  </a:lnTo>
                  <a:lnTo>
                    <a:pt x="605" y="84"/>
                  </a:lnTo>
                  <a:lnTo>
                    <a:pt x="606" y="85"/>
                  </a:lnTo>
                  <a:lnTo>
                    <a:pt x="606" y="85"/>
                  </a:lnTo>
                  <a:lnTo>
                    <a:pt x="608" y="87"/>
                  </a:lnTo>
                  <a:lnTo>
                    <a:pt x="618" y="93"/>
                  </a:lnTo>
                  <a:lnTo>
                    <a:pt x="623" y="96"/>
                  </a:lnTo>
                  <a:lnTo>
                    <a:pt x="626" y="98"/>
                  </a:lnTo>
                  <a:lnTo>
                    <a:pt x="628" y="100"/>
                  </a:lnTo>
                  <a:lnTo>
                    <a:pt x="629" y="100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4"/>
                  </a:lnTo>
                  <a:lnTo>
                    <a:pt x="630" y="105"/>
                  </a:lnTo>
                  <a:lnTo>
                    <a:pt x="628" y="108"/>
                  </a:lnTo>
                  <a:lnTo>
                    <a:pt x="628" y="109"/>
                  </a:lnTo>
                  <a:lnTo>
                    <a:pt x="628" y="110"/>
                  </a:lnTo>
                  <a:lnTo>
                    <a:pt x="629" y="110"/>
                  </a:lnTo>
                  <a:lnTo>
                    <a:pt x="629" y="111"/>
                  </a:lnTo>
                  <a:lnTo>
                    <a:pt x="630" y="112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35" y="114"/>
                  </a:lnTo>
                  <a:lnTo>
                    <a:pt x="638" y="114"/>
                  </a:lnTo>
                  <a:lnTo>
                    <a:pt x="644" y="113"/>
                  </a:lnTo>
                  <a:lnTo>
                    <a:pt x="648" y="113"/>
                  </a:lnTo>
                  <a:lnTo>
                    <a:pt x="650" y="114"/>
                  </a:lnTo>
                  <a:lnTo>
                    <a:pt x="653" y="115"/>
                  </a:lnTo>
                  <a:lnTo>
                    <a:pt x="656" y="115"/>
                  </a:lnTo>
                  <a:lnTo>
                    <a:pt x="660" y="118"/>
                  </a:lnTo>
                  <a:lnTo>
                    <a:pt x="662" y="119"/>
                  </a:lnTo>
                  <a:lnTo>
                    <a:pt x="664" y="120"/>
                  </a:lnTo>
                  <a:lnTo>
                    <a:pt x="665" y="122"/>
                  </a:lnTo>
                  <a:lnTo>
                    <a:pt x="667" y="123"/>
                  </a:lnTo>
                  <a:lnTo>
                    <a:pt x="668" y="124"/>
                  </a:lnTo>
                  <a:lnTo>
                    <a:pt x="668" y="125"/>
                  </a:lnTo>
                  <a:lnTo>
                    <a:pt x="669" y="128"/>
                  </a:lnTo>
                  <a:lnTo>
                    <a:pt x="670" y="130"/>
                  </a:lnTo>
                  <a:lnTo>
                    <a:pt x="670" y="132"/>
                  </a:lnTo>
                  <a:lnTo>
                    <a:pt x="670" y="139"/>
                  </a:lnTo>
                  <a:lnTo>
                    <a:pt x="670" y="145"/>
                  </a:lnTo>
                  <a:lnTo>
                    <a:pt x="670" y="150"/>
                  </a:lnTo>
                  <a:lnTo>
                    <a:pt x="669" y="154"/>
                  </a:lnTo>
                  <a:lnTo>
                    <a:pt x="668" y="158"/>
                  </a:lnTo>
                  <a:lnTo>
                    <a:pt x="665" y="170"/>
                  </a:lnTo>
                  <a:lnTo>
                    <a:pt x="665" y="174"/>
                  </a:lnTo>
                  <a:lnTo>
                    <a:pt x="664" y="179"/>
                  </a:lnTo>
                  <a:lnTo>
                    <a:pt x="663" y="190"/>
                  </a:lnTo>
                  <a:lnTo>
                    <a:pt x="663" y="198"/>
                  </a:lnTo>
                  <a:lnTo>
                    <a:pt x="663" y="200"/>
                  </a:lnTo>
                  <a:lnTo>
                    <a:pt x="663" y="212"/>
                  </a:lnTo>
                  <a:lnTo>
                    <a:pt x="663" y="215"/>
                  </a:lnTo>
                  <a:lnTo>
                    <a:pt x="663" y="216"/>
                  </a:lnTo>
                  <a:lnTo>
                    <a:pt x="663" y="217"/>
                  </a:lnTo>
                  <a:lnTo>
                    <a:pt x="664" y="218"/>
                  </a:lnTo>
                  <a:lnTo>
                    <a:pt x="665" y="219"/>
                  </a:lnTo>
                  <a:lnTo>
                    <a:pt x="665" y="220"/>
                  </a:lnTo>
                  <a:lnTo>
                    <a:pt x="670" y="222"/>
                  </a:lnTo>
                  <a:lnTo>
                    <a:pt x="672" y="223"/>
                  </a:lnTo>
                  <a:lnTo>
                    <a:pt x="675" y="225"/>
                  </a:lnTo>
                  <a:lnTo>
                    <a:pt x="676" y="227"/>
                  </a:lnTo>
                  <a:lnTo>
                    <a:pt x="678" y="229"/>
                  </a:lnTo>
                  <a:lnTo>
                    <a:pt x="679" y="232"/>
                  </a:lnTo>
                  <a:lnTo>
                    <a:pt x="680" y="234"/>
                  </a:lnTo>
                  <a:lnTo>
                    <a:pt x="682" y="237"/>
                  </a:lnTo>
                  <a:lnTo>
                    <a:pt x="683" y="242"/>
                  </a:lnTo>
                  <a:lnTo>
                    <a:pt x="684" y="245"/>
                  </a:lnTo>
                  <a:lnTo>
                    <a:pt x="685" y="249"/>
                  </a:lnTo>
                  <a:lnTo>
                    <a:pt x="685" y="252"/>
                  </a:lnTo>
                  <a:lnTo>
                    <a:pt x="685" y="257"/>
                  </a:lnTo>
                  <a:lnTo>
                    <a:pt x="685" y="261"/>
                  </a:lnTo>
                  <a:lnTo>
                    <a:pt x="684" y="265"/>
                  </a:lnTo>
                  <a:lnTo>
                    <a:pt x="683" y="268"/>
                  </a:lnTo>
                  <a:lnTo>
                    <a:pt x="683" y="269"/>
                  </a:lnTo>
                  <a:lnTo>
                    <a:pt x="683" y="269"/>
                  </a:lnTo>
                  <a:lnTo>
                    <a:pt x="682" y="270"/>
                  </a:lnTo>
                  <a:lnTo>
                    <a:pt x="681" y="270"/>
                  </a:lnTo>
                  <a:lnTo>
                    <a:pt x="680" y="272"/>
                  </a:lnTo>
                  <a:lnTo>
                    <a:pt x="678" y="275"/>
                  </a:lnTo>
                  <a:lnTo>
                    <a:pt x="677" y="276"/>
                  </a:lnTo>
                  <a:lnTo>
                    <a:pt x="676" y="277"/>
                  </a:lnTo>
                  <a:lnTo>
                    <a:pt x="675" y="280"/>
                  </a:lnTo>
                  <a:lnTo>
                    <a:pt x="671" y="293"/>
                  </a:lnTo>
                  <a:lnTo>
                    <a:pt x="670" y="297"/>
                  </a:lnTo>
                  <a:lnTo>
                    <a:pt x="670" y="298"/>
                  </a:lnTo>
                  <a:lnTo>
                    <a:pt x="670" y="300"/>
                  </a:lnTo>
                  <a:lnTo>
                    <a:pt x="671" y="301"/>
                  </a:lnTo>
                  <a:lnTo>
                    <a:pt x="671" y="302"/>
                  </a:lnTo>
                  <a:lnTo>
                    <a:pt x="672" y="304"/>
                  </a:lnTo>
                  <a:lnTo>
                    <a:pt x="673" y="305"/>
                  </a:lnTo>
                  <a:lnTo>
                    <a:pt x="674" y="308"/>
                  </a:lnTo>
                  <a:lnTo>
                    <a:pt x="678" y="312"/>
                  </a:lnTo>
                  <a:lnTo>
                    <a:pt x="678" y="312"/>
                  </a:lnTo>
                  <a:lnTo>
                    <a:pt x="678" y="313"/>
                  </a:lnTo>
                  <a:lnTo>
                    <a:pt x="679" y="317"/>
                  </a:lnTo>
                  <a:lnTo>
                    <a:pt x="680" y="321"/>
                  </a:lnTo>
                  <a:lnTo>
                    <a:pt x="681" y="325"/>
                  </a:lnTo>
                  <a:lnTo>
                    <a:pt x="681" y="327"/>
                  </a:lnTo>
                  <a:lnTo>
                    <a:pt x="682" y="338"/>
                  </a:lnTo>
                  <a:lnTo>
                    <a:pt x="682" y="341"/>
                  </a:lnTo>
                  <a:lnTo>
                    <a:pt x="683" y="345"/>
                  </a:lnTo>
                  <a:lnTo>
                    <a:pt x="683" y="351"/>
                  </a:lnTo>
                  <a:lnTo>
                    <a:pt x="685" y="355"/>
                  </a:lnTo>
                  <a:lnTo>
                    <a:pt x="686" y="358"/>
                  </a:lnTo>
                  <a:lnTo>
                    <a:pt x="688" y="364"/>
                  </a:lnTo>
                  <a:lnTo>
                    <a:pt x="692" y="370"/>
                  </a:lnTo>
                  <a:lnTo>
                    <a:pt x="694" y="375"/>
                  </a:lnTo>
                  <a:lnTo>
                    <a:pt x="695" y="377"/>
                  </a:lnTo>
                  <a:lnTo>
                    <a:pt x="695" y="379"/>
                  </a:lnTo>
                  <a:lnTo>
                    <a:pt x="694" y="380"/>
                  </a:lnTo>
                  <a:lnTo>
                    <a:pt x="693" y="382"/>
                  </a:lnTo>
                  <a:lnTo>
                    <a:pt x="686" y="392"/>
                  </a:lnTo>
                  <a:lnTo>
                    <a:pt x="685" y="395"/>
                  </a:lnTo>
                  <a:lnTo>
                    <a:pt x="683" y="399"/>
                  </a:lnTo>
                  <a:lnTo>
                    <a:pt x="681" y="403"/>
                  </a:lnTo>
                  <a:lnTo>
                    <a:pt x="680" y="407"/>
                  </a:lnTo>
                  <a:lnTo>
                    <a:pt x="675" y="420"/>
                  </a:lnTo>
                  <a:lnTo>
                    <a:pt x="675" y="421"/>
                  </a:lnTo>
                  <a:lnTo>
                    <a:pt x="674" y="421"/>
                  </a:lnTo>
                  <a:lnTo>
                    <a:pt x="673" y="421"/>
                  </a:lnTo>
                  <a:lnTo>
                    <a:pt x="670" y="420"/>
                  </a:lnTo>
                  <a:lnTo>
                    <a:pt x="667" y="420"/>
                  </a:lnTo>
                  <a:lnTo>
                    <a:pt x="663" y="418"/>
                  </a:lnTo>
                  <a:lnTo>
                    <a:pt x="658" y="416"/>
                  </a:lnTo>
                  <a:lnTo>
                    <a:pt x="648" y="410"/>
                  </a:lnTo>
                  <a:lnTo>
                    <a:pt x="644" y="409"/>
                  </a:lnTo>
                  <a:lnTo>
                    <a:pt x="640" y="408"/>
                  </a:lnTo>
                  <a:lnTo>
                    <a:pt x="638" y="407"/>
                  </a:lnTo>
                  <a:lnTo>
                    <a:pt x="635" y="407"/>
                  </a:lnTo>
                  <a:lnTo>
                    <a:pt x="624" y="406"/>
                  </a:lnTo>
                  <a:lnTo>
                    <a:pt x="622" y="405"/>
                  </a:lnTo>
                  <a:lnTo>
                    <a:pt x="619" y="405"/>
                  </a:lnTo>
                  <a:lnTo>
                    <a:pt x="617" y="404"/>
                  </a:lnTo>
                  <a:lnTo>
                    <a:pt x="614" y="403"/>
                  </a:lnTo>
                  <a:lnTo>
                    <a:pt x="607" y="400"/>
                  </a:lnTo>
                  <a:lnTo>
                    <a:pt x="604" y="398"/>
                  </a:lnTo>
                  <a:lnTo>
                    <a:pt x="600" y="397"/>
                  </a:lnTo>
                  <a:lnTo>
                    <a:pt x="596" y="396"/>
                  </a:lnTo>
                  <a:lnTo>
                    <a:pt x="591" y="395"/>
                  </a:lnTo>
                  <a:lnTo>
                    <a:pt x="586" y="395"/>
                  </a:lnTo>
                  <a:lnTo>
                    <a:pt x="582" y="395"/>
                  </a:lnTo>
                  <a:lnTo>
                    <a:pt x="574" y="395"/>
                  </a:lnTo>
                  <a:lnTo>
                    <a:pt x="563" y="394"/>
                  </a:lnTo>
                  <a:lnTo>
                    <a:pt x="557" y="394"/>
                  </a:lnTo>
                  <a:lnTo>
                    <a:pt x="554" y="393"/>
                  </a:lnTo>
                  <a:lnTo>
                    <a:pt x="552" y="392"/>
                  </a:lnTo>
                  <a:lnTo>
                    <a:pt x="550" y="392"/>
                  </a:lnTo>
                  <a:lnTo>
                    <a:pt x="548" y="390"/>
                  </a:lnTo>
                  <a:lnTo>
                    <a:pt x="545" y="389"/>
                  </a:lnTo>
                  <a:lnTo>
                    <a:pt x="543" y="387"/>
                  </a:lnTo>
                  <a:lnTo>
                    <a:pt x="540" y="385"/>
                  </a:lnTo>
                  <a:lnTo>
                    <a:pt x="538" y="382"/>
                  </a:lnTo>
                  <a:lnTo>
                    <a:pt x="533" y="377"/>
                  </a:lnTo>
                  <a:lnTo>
                    <a:pt x="529" y="373"/>
                  </a:lnTo>
                  <a:lnTo>
                    <a:pt x="528" y="372"/>
                  </a:lnTo>
                  <a:lnTo>
                    <a:pt x="526" y="370"/>
                  </a:lnTo>
                  <a:lnTo>
                    <a:pt x="525" y="370"/>
                  </a:lnTo>
                  <a:lnTo>
                    <a:pt x="523" y="370"/>
                  </a:lnTo>
                  <a:lnTo>
                    <a:pt x="523" y="369"/>
                  </a:lnTo>
                  <a:lnTo>
                    <a:pt x="521" y="370"/>
                  </a:lnTo>
                  <a:lnTo>
                    <a:pt x="521" y="370"/>
                  </a:lnTo>
                  <a:lnTo>
                    <a:pt x="519" y="370"/>
                  </a:lnTo>
                  <a:lnTo>
                    <a:pt x="517" y="371"/>
                  </a:lnTo>
                  <a:lnTo>
                    <a:pt x="510" y="375"/>
                  </a:lnTo>
                  <a:lnTo>
                    <a:pt x="508" y="376"/>
                  </a:lnTo>
                  <a:lnTo>
                    <a:pt x="504" y="378"/>
                  </a:lnTo>
                  <a:lnTo>
                    <a:pt x="502" y="378"/>
                  </a:lnTo>
                  <a:lnTo>
                    <a:pt x="501" y="379"/>
                  </a:lnTo>
                  <a:lnTo>
                    <a:pt x="498" y="380"/>
                  </a:lnTo>
                  <a:lnTo>
                    <a:pt x="497" y="380"/>
                  </a:lnTo>
                  <a:lnTo>
                    <a:pt x="493" y="379"/>
                  </a:lnTo>
                  <a:lnTo>
                    <a:pt x="489" y="378"/>
                  </a:lnTo>
                  <a:lnTo>
                    <a:pt x="481" y="376"/>
                  </a:lnTo>
                  <a:lnTo>
                    <a:pt x="472" y="374"/>
                  </a:lnTo>
                  <a:lnTo>
                    <a:pt x="469" y="373"/>
                  </a:lnTo>
                  <a:lnTo>
                    <a:pt x="466" y="373"/>
                  </a:lnTo>
                  <a:lnTo>
                    <a:pt x="464" y="373"/>
                  </a:lnTo>
                  <a:lnTo>
                    <a:pt x="451" y="375"/>
                  </a:lnTo>
                  <a:lnTo>
                    <a:pt x="447" y="375"/>
                  </a:lnTo>
                  <a:lnTo>
                    <a:pt x="443" y="375"/>
                  </a:lnTo>
                  <a:lnTo>
                    <a:pt x="440" y="375"/>
                  </a:lnTo>
                  <a:lnTo>
                    <a:pt x="436" y="374"/>
                  </a:lnTo>
                  <a:lnTo>
                    <a:pt x="433" y="372"/>
                  </a:lnTo>
                  <a:lnTo>
                    <a:pt x="429" y="371"/>
                  </a:lnTo>
                  <a:lnTo>
                    <a:pt x="426" y="370"/>
                  </a:lnTo>
                  <a:lnTo>
                    <a:pt x="422" y="367"/>
                  </a:lnTo>
                  <a:lnTo>
                    <a:pt x="413" y="361"/>
                  </a:lnTo>
                  <a:lnTo>
                    <a:pt x="408" y="357"/>
                  </a:lnTo>
                  <a:lnTo>
                    <a:pt x="406" y="355"/>
                  </a:lnTo>
                  <a:lnTo>
                    <a:pt x="404" y="353"/>
                  </a:lnTo>
                  <a:lnTo>
                    <a:pt x="403" y="351"/>
                  </a:lnTo>
                  <a:lnTo>
                    <a:pt x="402" y="349"/>
                  </a:lnTo>
                  <a:lnTo>
                    <a:pt x="401" y="346"/>
                  </a:lnTo>
                  <a:lnTo>
                    <a:pt x="401" y="344"/>
                  </a:lnTo>
                  <a:lnTo>
                    <a:pt x="401" y="342"/>
                  </a:lnTo>
                  <a:lnTo>
                    <a:pt x="401" y="339"/>
                  </a:lnTo>
                  <a:lnTo>
                    <a:pt x="403" y="337"/>
                  </a:lnTo>
                  <a:lnTo>
                    <a:pt x="404" y="335"/>
                  </a:lnTo>
                  <a:lnTo>
                    <a:pt x="406" y="333"/>
                  </a:lnTo>
                  <a:lnTo>
                    <a:pt x="410" y="329"/>
                  </a:lnTo>
                  <a:lnTo>
                    <a:pt x="411" y="327"/>
                  </a:lnTo>
                  <a:lnTo>
                    <a:pt x="412" y="326"/>
                  </a:lnTo>
                  <a:lnTo>
                    <a:pt x="413" y="325"/>
                  </a:lnTo>
                  <a:lnTo>
                    <a:pt x="413" y="323"/>
                  </a:lnTo>
                  <a:lnTo>
                    <a:pt x="413" y="322"/>
                  </a:lnTo>
                  <a:lnTo>
                    <a:pt x="413" y="320"/>
                  </a:lnTo>
                  <a:lnTo>
                    <a:pt x="412" y="316"/>
                  </a:lnTo>
                  <a:lnTo>
                    <a:pt x="411" y="315"/>
                  </a:lnTo>
                  <a:lnTo>
                    <a:pt x="409" y="310"/>
                  </a:lnTo>
                  <a:lnTo>
                    <a:pt x="408" y="307"/>
                  </a:lnTo>
                  <a:lnTo>
                    <a:pt x="406" y="302"/>
                  </a:lnTo>
                  <a:lnTo>
                    <a:pt x="406" y="300"/>
                  </a:lnTo>
                  <a:lnTo>
                    <a:pt x="404" y="297"/>
                  </a:lnTo>
                  <a:lnTo>
                    <a:pt x="402" y="294"/>
                  </a:lnTo>
                  <a:lnTo>
                    <a:pt x="401" y="292"/>
                  </a:lnTo>
                  <a:lnTo>
                    <a:pt x="400" y="291"/>
                  </a:lnTo>
                  <a:lnTo>
                    <a:pt x="398" y="290"/>
                  </a:lnTo>
                  <a:lnTo>
                    <a:pt x="396" y="289"/>
                  </a:lnTo>
                  <a:lnTo>
                    <a:pt x="392" y="287"/>
                  </a:lnTo>
                  <a:lnTo>
                    <a:pt x="389" y="287"/>
                  </a:lnTo>
                  <a:lnTo>
                    <a:pt x="386" y="286"/>
                  </a:lnTo>
                  <a:lnTo>
                    <a:pt x="379" y="285"/>
                  </a:lnTo>
                  <a:lnTo>
                    <a:pt x="374" y="285"/>
                  </a:lnTo>
                  <a:lnTo>
                    <a:pt x="369" y="283"/>
                  </a:lnTo>
                  <a:lnTo>
                    <a:pt x="362" y="281"/>
                  </a:lnTo>
                  <a:lnTo>
                    <a:pt x="359" y="280"/>
                  </a:lnTo>
                  <a:lnTo>
                    <a:pt x="357" y="280"/>
                  </a:lnTo>
                  <a:lnTo>
                    <a:pt x="356" y="280"/>
                  </a:lnTo>
                  <a:lnTo>
                    <a:pt x="354" y="280"/>
                  </a:lnTo>
                  <a:lnTo>
                    <a:pt x="353" y="280"/>
                  </a:lnTo>
                  <a:lnTo>
                    <a:pt x="350" y="281"/>
                  </a:lnTo>
                  <a:lnTo>
                    <a:pt x="348" y="282"/>
                  </a:lnTo>
                  <a:lnTo>
                    <a:pt x="346" y="283"/>
                  </a:lnTo>
                  <a:lnTo>
                    <a:pt x="346" y="285"/>
                  </a:lnTo>
                  <a:lnTo>
                    <a:pt x="345" y="286"/>
                  </a:lnTo>
                  <a:lnTo>
                    <a:pt x="344" y="287"/>
                  </a:lnTo>
                  <a:lnTo>
                    <a:pt x="343" y="290"/>
                  </a:lnTo>
                  <a:lnTo>
                    <a:pt x="342" y="294"/>
                  </a:lnTo>
                  <a:lnTo>
                    <a:pt x="341" y="297"/>
                  </a:lnTo>
                  <a:lnTo>
                    <a:pt x="340" y="300"/>
                  </a:lnTo>
                  <a:lnTo>
                    <a:pt x="339" y="302"/>
                  </a:lnTo>
                  <a:lnTo>
                    <a:pt x="337" y="303"/>
                  </a:lnTo>
                  <a:lnTo>
                    <a:pt x="336" y="305"/>
                  </a:lnTo>
                  <a:lnTo>
                    <a:pt x="334" y="307"/>
                  </a:lnTo>
                  <a:lnTo>
                    <a:pt x="333" y="308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2" y="311"/>
                  </a:lnTo>
                  <a:lnTo>
                    <a:pt x="321" y="311"/>
                  </a:lnTo>
                  <a:lnTo>
                    <a:pt x="319" y="310"/>
                  </a:lnTo>
                  <a:lnTo>
                    <a:pt x="317" y="310"/>
                  </a:lnTo>
                  <a:lnTo>
                    <a:pt x="315" y="308"/>
                  </a:lnTo>
                  <a:lnTo>
                    <a:pt x="313" y="307"/>
                  </a:lnTo>
                  <a:lnTo>
                    <a:pt x="311" y="306"/>
                  </a:lnTo>
                  <a:lnTo>
                    <a:pt x="309" y="303"/>
                  </a:lnTo>
                  <a:lnTo>
                    <a:pt x="307" y="302"/>
                  </a:lnTo>
                  <a:lnTo>
                    <a:pt x="306" y="300"/>
                  </a:lnTo>
                  <a:lnTo>
                    <a:pt x="305" y="298"/>
                  </a:lnTo>
                  <a:lnTo>
                    <a:pt x="304" y="295"/>
                  </a:lnTo>
                  <a:lnTo>
                    <a:pt x="299" y="282"/>
                  </a:lnTo>
                  <a:lnTo>
                    <a:pt x="298" y="280"/>
                  </a:lnTo>
                  <a:lnTo>
                    <a:pt x="297" y="278"/>
                  </a:lnTo>
                  <a:lnTo>
                    <a:pt x="296" y="276"/>
                  </a:lnTo>
                  <a:lnTo>
                    <a:pt x="294" y="274"/>
                  </a:lnTo>
                  <a:lnTo>
                    <a:pt x="292" y="272"/>
                  </a:lnTo>
                  <a:lnTo>
                    <a:pt x="290" y="270"/>
                  </a:lnTo>
                  <a:lnTo>
                    <a:pt x="286" y="267"/>
                  </a:lnTo>
                  <a:lnTo>
                    <a:pt x="283" y="264"/>
                  </a:lnTo>
                  <a:lnTo>
                    <a:pt x="281" y="262"/>
                  </a:lnTo>
                  <a:lnTo>
                    <a:pt x="278" y="262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1" y="261"/>
                  </a:lnTo>
                  <a:lnTo>
                    <a:pt x="267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59" y="260"/>
                  </a:lnTo>
                  <a:lnTo>
                    <a:pt x="259" y="259"/>
                  </a:lnTo>
                  <a:lnTo>
                    <a:pt x="257" y="258"/>
                  </a:lnTo>
                  <a:lnTo>
                    <a:pt x="256" y="257"/>
                  </a:lnTo>
                  <a:lnTo>
                    <a:pt x="256" y="256"/>
                  </a:lnTo>
                  <a:lnTo>
                    <a:pt x="256" y="255"/>
                  </a:lnTo>
                  <a:lnTo>
                    <a:pt x="255" y="253"/>
                  </a:lnTo>
                  <a:lnTo>
                    <a:pt x="254" y="250"/>
                  </a:lnTo>
                  <a:lnTo>
                    <a:pt x="254" y="241"/>
                  </a:lnTo>
                  <a:lnTo>
                    <a:pt x="253" y="240"/>
                  </a:lnTo>
                  <a:lnTo>
                    <a:pt x="252" y="238"/>
                  </a:lnTo>
                  <a:lnTo>
                    <a:pt x="251" y="236"/>
                  </a:lnTo>
                  <a:lnTo>
                    <a:pt x="250" y="235"/>
                  </a:lnTo>
                  <a:lnTo>
                    <a:pt x="249" y="234"/>
                  </a:lnTo>
                  <a:lnTo>
                    <a:pt x="246" y="233"/>
                  </a:lnTo>
                  <a:lnTo>
                    <a:pt x="244" y="232"/>
                  </a:lnTo>
                  <a:lnTo>
                    <a:pt x="241" y="232"/>
                  </a:lnTo>
                  <a:lnTo>
                    <a:pt x="239" y="232"/>
                  </a:lnTo>
                  <a:lnTo>
                    <a:pt x="236" y="232"/>
                  </a:lnTo>
                  <a:lnTo>
                    <a:pt x="234" y="233"/>
                  </a:lnTo>
                  <a:lnTo>
                    <a:pt x="232" y="234"/>
                  </a:lnTo>
                  <a:lnTo>
                    <a:pt x="225" y="237"/>
                  </a:lnTo>
                  <a:lnTo>
                    <a:pt x="220" y="238"/>
                  </a:lnTo>
                  <a:lnTo>
                    <a:pt x="216" y="239"/>
                  </a:lnTo>
                  <a:lnTo>
                    <a:pt x="212" y="240"/>
                  </a:lnTo>
                  <a:lnTo>
                    <a:pt x="209" y="240"/>
                  </a:lnTo>
                  <a:lnTo>
                    <a:pt x="208" y="240"/>
                  </a:lnTo>
                  <a:lnTo>
                    <a:pt x="206" y="240"/>
                  </a:lnTo>
                  <a:lnTo>
                    <a:pt x="203" y="239"/>
                  </a:lnTo>
                  <a:lnTo>
                    <a:pt x="201" y="239"/>
                  </a:lnTo>
                  <a:lnTo>
                    <a:pt x="200" y="239"/>
                  </a:lnTo>
                  <a:lnTo>
                    <a:pt x="199" y="240"/>
                  </a:lnTo>
                  <a:lnTo>
                    <a:pt x="197" y="240"/>
                  </a:lnTo>
                  <a:lnTo>
                    <a:pt x="193" y="242"/>
                  </a:lnTo>
                  <a:lnTo>
                    <a:pt x="189" y="244"/>
                  </a:lnTo>
                  <a:lnTo>
                    <a:pt x="187" y="245"/>
                  </a:lnTo>
                  <a:lnTo>
                    <a:pt x="186" y="246"/>
                  </a:lnTo>
                  <a:lnTo>
                    <a:pt x="186" y="247"/>
                  </a:lnTo>
                  <a:lnTo>
                    <a:pt x="184" y="247"/>
                  </a:lnTo>
                  <a:lnTo>
                    <a:pt x="182" y="252"/>
                  </a:lnTo>
                  <a:lnTo>
                    <a:pt x="180" y="255"/>
                  </a:lnTo>
                  <a:lnTo>
                    <a:pt x="179" y="257"/>
                  </a:lnTo>
                  <a:lnTo>
                    <a:pt x="177" y="260"/>
                  </a:lnTo>
                  <a:lnTo>
                    <a:pt x="176" y="260"/>
                  </a:lnTo>
                  <a:lnTo>
                    <a:pt x="174" y="262"/>
                  </a:lnTo>
                  <a:lnTo>
                    <a:pt x="172" y="262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1" y="262"/>
                  </a:lnTo>
                  <a:lnTo>
                    <a:pt x="159" y="262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43" y="252"/>
                  </a:lnTo>
                  <a:lnTo>
                    <a:pt x="131" y="244"/>
                  </a:lnTo>
                  <a:lnTo>
                    <a:pt x="127" y="241"/>
                  </a:lnTo>
                  <a:lnTo>
                    <a:pt x="124" y="239"/>
                  </a:lnTo>
                  <a:lnTo>
                    <a:pt x="122" y="236"/>
                  </a:lnTo>
                  <a:lnTo>
                    <a:pt x="119" y="233"/>
                  </a:lnTo>
                  <a:lnTo>
                    <a:pt x="118" y="231"/>
                  </a:lnTo>
                  <a:lnTo>
                    <a:pt x="117" y="227"/>
                  </a:lnTo>
                  <a:lnTo>
                    <a:pt x="115" y="224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5" y="215"/>
                  </a:lnTo>
                  <a:lnTo>
                    <a:pt x="115" y="213"/>
                  </a:lnTo>
                  <a:lnTo>
                    <a:pt x="114" y="212"/>
                  </a:lnTo>
                  <a:lnTo>
                    <a:pt x="114" y="208"/>
                  </a:lnTo>
                  <a:lnTo>
                    <a:pt x="114" y="206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5" y="203"/>
                  </a:lnTo>
                  <a:lnTo>
                    <a:pt x="116" y="201"/>
                  </a:lnTo>
                  <a:lnTo>
                    <a:pt x="117" y="200"/>
                  </a:lnTo>
                  <a:lnTo>
                    <a:pt x="118" y="199"/>
                  </a:lnTo>
                  <a:lnTo>
                    <a:pt x="121" y="197"/>
                  </a:lnTo>
                  <a:lnTo>
                    <a:pt x="126" y="194"/>
                  </a:lnTo>
                  <a:lnTo>
                    <a:pt x="128" y="193"/>
                  </a:lnTo>
                  <a:lnTo>
                    <a:pt x="130" y="190"/>
                  </a:lnTo>
                  <a:lnTo>
                    <a:pt x="132" y="188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5" y="183"/>
                  </a:lnTo>
                  <a:lnTo>
                    <a:pt x="137" y="181"/>
                  </a:lnTo>
                  <a:lnTo>
                    <a:pt x="137" y="179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7" y="175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6" y="169"/>
                  </a:lnTo>
                  <a:lnTo>
                    <a:pt x="134" y="166"/>
                  </a:lnTo>
                  <a:lnTo>
                    <a:pt x="134" y="165"/>
                  </a:lnTo>
                  <a:lnTo>
                    <a:pt x="133" y="163"/>
                  </a:lnTo>
                  <a:lnTo>
                    <a:pt x="128" y="158"/>
                  </a:lnTo>
                  <a:lnTo>
                    <a:pt x="127" y="155"/>
                  </a:lnTo>
                  <a:lnTo>
                    <a:pt x="126" y="153"/>
                  </a:lnTo>
                  <a:lnTo>
                    <a:pt x="124" y="150"/>
                  </a:lnTo>
                  <a:lnTo>
                    <a:pt x="117" y="133"/>
                  </a:lnTo>
                  <a:lnTo>
                    <a:pt x="115" y="130"/>
                  </a:lnTo>
                  <a:lnTo>
                    <a:pt x="113" y="128"/>
                  </a:lnTo>
                  <a:lnTo>
                    <a:pt x="111" y="125"/>
                  </a:lnTo>
                  <a:lnTo>
                    <a:pt x="109" y="123"/>
                  </a:lnTo>
                  <a:lnTo>
                    <a:pt x="101" y="118"/>
                  </a:lnTo>
                  <a:lnTo>
                    <a:pt x="98" y="115"/>
                  </a:lnTo>
                  <a:lnTo>
                    <a:pt x="94" y="112"/>
                  </a:lnTo>
                  <a:lnTo>
                    <a:pt x="91" y="108"/>
                  </a:lnTo>
                  <a:lnTo>
                    <a:pt x="89" y="108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79" y="100"/>
                  </a:lnTo>
                  <a:lnTo>
                    <a:pt x="75" y="100"/>
                  </a:lnTo>
                  <a:lnTo>
                    <a:pt x="70" y="99"/>
                  </a:lnTo>
                  <a:lnTo>
                    <a:pt x="63" y="99"/>
                  </a:lnTo>
                  <a:lnTo>
                    <a:pt x="60" y="99"/>
                  </a:lnTo>
                  <a:lnTo>
                    <a:pt x="57" y="99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6" y="101"/>
                  </a:lnTo>
                  <a:lnTo>
                    <a:pt x="42" y="103"/>
                  </a:lnTo>
                  <a:lnTo>
                    <a:pt x="38" y="104"/>
                  </a:lnTo>
                  <a:lnTo>
                    <a:pt x="35" y="105"/>
                  </a:lnTo>
                  <a:lnTo>
                    <a:pt x="33" y="106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4" y="113"/>
                  </a:lnTo>
                  <a:lnTo>
                    <a:pt x="20" y="115"/>
                  </a:lnTo>
                  <a:lnTo>
                    <a:pt x="12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3" y="114"/>
                  </a:lnTo>
                  <a:lnTo>
                    <a:pt x="3" y="109"/>
                  </a:lnTo>
                  <a:lnTo>
                    <a:pt x="2" y="105"/>
                  </a:lnTo>
                  <a:lnTo>
                    <a:pt x="1" y="9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4"/>
                  </a:lnTo>
                  <a:lnTo>
                    <a:pt x="5" y="83"/>
                  </a:lnTo>
                  <a:lnTo>
                    <a:pt x="7" y="81"/>
                  </a:lnTo>
                  <a:lnTo>
                    <a:pt x="8" y="80"/>
                  </a:lnTo>
                  <a:lnTo>
                    <a:pt x="10" y="78"/>
                  </a:lnTo>
                  <a:lnTo>
                    <a:pt x="15" y="77"/>
                  </a:lnTo>
                  <a:lnTo>
                    <a:pt x="17" y="76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4" y="76"/>
                  </a:lnTo>
                  <a:lnTo>
                    <a:pt x="27" y="76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1" y="72"/>
                  </a:lnTo>
                  <a:lnTo>
                    <a:pt x="32" y="68"/>
                  </a:lnTo>
                  <a:lnTo>
                    <a:pt x="34" y="65"/>
                  </a:lnTo>
                  <a:lnTo>
                    <a:pt x="35" y="63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6"/>
                  </a:lnTo>
                  <a:lnTo>
                    <a:pt x="41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6" y="43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9" y="47"/>
                  </a:lnTo>
                  <a:lnTo>
                    <a:pt x="62" y="48"/>
                  </a:lnTo>
                  <a:lnTo>
                    <a:pt x="64" y="49"/>
                  </a:lnTo>
                  <a:lnTo>
                    <a:pt x="69" y="51"/>
                  </a:lnTo>
                  <a:lnTo>
                    <a:pt x="71" y="52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6" y="51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81" y="45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2" y="38"/>
                  </a:lnTo>
                  <a:lnTo>
                    <a:pt x="94" y="36"/>
                  </a:lnTo>
                  <a:lnTo>
                    <a:pt x="95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100" y="25"/>
                  </a:lnTo>
                  <a:lnTo>
                    <a:pt x="102" y="23"/>
                  </a:lnTo>
                  <a:lnTo>
                    <a:pt x="104" y="22"/>
                  </a:lnTo>
                  <a:lnTo>
                    <a:pt x="109" y="19"/>
                  </a:lnTo>
                  <a:lnTo>
                    <a:pt x="117" y="17"/>
                  </a:lnTo>
                  <a:lnTo>
                    <a:pt x="119" y="16"/>
                  </a:lnTo>
                  <a:lnTo>
                    <a:pt x="120" y="15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8" y="10"/>
                  </a:lnTo>
                  <a:lnTo>
                    <a:pt x="129" y="10"/>
                  </a:lnTo>
                  <a:close/>
                </a:path>
              </a:pathLst>
            </a:custGeom>
            <a:solidFill>
              <a:srgbClr val="D1D1D1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08">
              <a:extLst>
                <a:ext uri="{FF2B5EF4-FFF2-40B4-BE49-F238E27FC236}">
                  <a16:creationId xmlns:a16="http://schemas.microsoft.com/office/drawing/2014/main" id="{785810C6-9D0B-876A-A3BA-08D025C00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974" y="133955"/>
              <a:ext cx="1055688" cy="968375"/>
            </a:xfrm>
            <a:custGeom>
              <a:avLst/>
              <a:gdLst>
                <a:gd name="T0" fmla="*/ 341 w 665"/>
                <a:gd name="T1" fmla="*/ 17 h 610"/>
                <a:gd name="T2" fmla="*/ 362 w 665"/>
                <a:gd name="T3" fmla="*/ 7 h 610"/>
                <a:gd name="T4" fmla="*/ 385 w 665"/>
                <a:gd name="T5" fmla="*/ 33 h 610"/>
                <a:gd name="T6" fmla="*/ 416 w 665"/>
                <a:gd name="T7" fmla="*/ 36 h 610"/>
                <a:gd name="T8" fmla="*/ 408 w 665"/>
                <a:gd name="T9" fmla="*/ 73 h 610"/>
                <a:gd name="T10" fmla="*/ 407 w 665"/>
                <a:gd name="T11" fmla="*/ 97 h 610"/>
                <a:gd name="T12" fmla="*/ 458 w 665"/>
                <a:gd name="T13" fmla="*/ 92 h 610"/>
                <a:gd name="T14" fmla="*/ 510 w 665"/>
                <a:gd name="T15" fmla="*/ 100 h 610"/>
                <a:gd name="T16" fmla="*/ 499 w 665"/>
                <a:gd name="T17" fmla="*/ 113 h 610"/>
                <a:gd name="T18" fmla="*/ 532 w 665"/>
                <a:gd name="T19" fmla="*/ 138 h 610"/>
                <a:gd name="T20" fmla="*/ 584 w 665"/>
                <a:gd name="T21" fmla="*/ 157 h 610"/>
                <a:gd name="T22" fmla="*/ 627 w 665"/>
                <a:gd name="T23" fmla="*/ 153 h 610"/>
                <a:gd name="T24" fmla="*/ 665 w 665"/>
                <a:gd name="T25" fmla="*/ 201 h 610"/>
                <a:gd name="T26" fmla="*/ 632 w 665"/>
                <a:gd name="T27" fmla="*/ 221 h 610"/>
                <a:gd name="T28" fmla="*/ 596 w 665"/>
                <a:gd name="T29" fmla="*/ 233 h 610"/>
                <a:gd name="T30" fmla="*/ 572 w 665"/>
                <a:gd name="T31" fmla="*/ 238 h 610"/>
                <a:gd name="T32" fmla="*/ 562 w 665"/>
                <a:gd name="T33" fmla="*/ 256 h 610"/>
                <a:gd name="T34" fmla="*/ 522 w 665"/>
                <a:gd name="T35" fmla="*/ 263 h 610"/>
                <a:gd name="T36" fmla="*/ 516 w 665"/>
                <a:gd name="T37" fmla="*/ 290 h 610"/>
                <a:gd name="T38" fmla="*/ 500 w 665"/>
                <a:gd name="T39" fmla="*/ 374 h 610"/>
                <a:gd name="T40" fmla="*/ 492 w 665"/>
                <a:gd name="T41" fmla="*/ 405 h 610"/>
                <a:gd name="T42" fmla="*/ 449 w 665"/>
                <a:gd name="T43" fmla="*/ 431 h 610"/>
                <a:gd name="T44" fmla="*/ 422 w 665"/>
                <a:gd name="T45" fmla="*/ 453 h 610"/>
                <a:gd name="T46" fmla="*/ 405 w 665"/>
                <a:gd name="T47" fmla="*/ 447 h 610"/>
                <a:gd name="T48" fmla="*/ 385 w 665"/>
                <a:gd name="T49" fmla="*/ 417 h 610"/>
                <a:gd name="T50" fmla="*/ 361 w 665"/>
                <a:gd name="T51" fmla="*/ 425 h 610"/>
                <a:gd name="T52" fmla="*/ 330 w 665"/>
                <a:gd name="T53" fmla="*/ 448 h 610"/>
                <a:gd name="T54" fmla="*/ 288 w 665"/>
                <a:gd name="T55" fmla="*/ 435 h 610"/>
                <a:gd name="T56" fmla="*/ 281 w 665"/>
                <a:gd name="T57" fmla="*/ 460 h 610"/>
                <a:gd name="T58" fmla="*/ 295 w 665"/>
                <a:gd name="T59" fmla="*/ 508 h 610"/>
                <a:gd name="T60" fmla="*/ 300 w 665"/>
                <a:gd name="T61" fmla="*/ 558 h 610"/>
                <a:gd name="T62" fmla="*/ 247 w 665"/>
                <a:gd name="T63" fmla="*/ 600 h 610"/>
                <a:gd name="T64" fmla="*/ 213 w 665"/>
                <a:gd name="T65" fmla="*/ 591 h 610"/>
                <a:gd name="T66" fmla="*/ 185 w 665"/>
                <a:gd name="T67" fmla="*/ 570 h 610"/>
                <a:gd name="T68" fmla="*/ 157 w 665"/>
                <a:gd name="T69" fmla="*/ 569 h 610"/>
                <a:gd name="T70" fmla="*/ 125 w 665"/>
                <a:gd name="T71" fmla="*/ 593 h 610"/>
                <a:gd name="T72" fmla="*/ 100 w 665"/>
                <a:gd name="T73" fmla="*/ 608 h 610"/>
                <a:gd name="T74" fmla="*/ 77 w 665"/>
                <a:gd name="T75" fmla="*/ 594 h 610"/>
                <a:gd name="T76" fmla="*/ 92 w 665"/>
                <a:gd name="T77" fmla="*/ 553 h 610"/>
                <a:gd name="T78" fmla="*/ 83 w 665"/>
                <a:gd name="T79" fmla="*/ 527 h 610"/>
                <a:gd name="T80" fmla="*/ 122 w 665"/>
                <a:gd name="T81" fmla="*/ 495 h 610"/>
                <a:gd name="T82" fmla="*/ 107 w 665"/>
                <a:gd name="T83" fmla="*/ 465 h 610"/>
                <a:gd name="T84" fmla="*/ 106 w 665"/>
                <a:gd name="T85" fmla="*/ 427 h 610"/>
                <a:gd name="T86" fmla="*/ 95 w 665"/>
                <a:gd name="T87" fmla="*/ 378 h 610"/>
                <a:gd name="T88" fmla="*/ 61 w 665"/>
                <a:gd name="T89" fmla="*/ 356 h 610"/>
                <a:gd name="T90" fmla="*/ 68 w 665"/>
                <a:gd name="T91" fmla="*/ 315 h 610"/>
                <a:gd name="T92" fmla="*/ 43 w 665"/>
                <a:gd name="T93" fmla="*/ 261 h 610"/>
                <a:gd name="T94" fmla="*/ 4 w 665"/>
                <a:gd name="T95" fmla="*/ 215 h 610"/>
                <a:gd name="T96" fmla="*/ 8 w 665"/>
                <a:gd name="T97" fmla="*/ 199 h 610"/>
                <a:gd name="T98" fmla="*/ 0 w 665"/>
                <a:gd name="T99" fmla="*/ 173 h 610"/>
                <a:gd name="T100" fmla="*/ 57 w 665"/>
                <a:gd name="T101" fmla="*/ 149 h 610"/>
                <a:gd name="T102" fmla="*/ 120 w 665"/>
                <a:gd name="T103" fmla="*/ 101 h 610"/>
                <a:gd name="T104" fmla="*/ 181 w 665"/>
                <a:gd name="T105" fmla="*/ 108 h 610"/>
                <a:gd name="T106" fmla="*/ 228 w 665"/>
                <a:gd name="T107" fmla="*/ 139 h 610"/>
                <a:gd name="T108" fmla="*/ 252 w 665"/>
                <a:gd name="T109" fmla="*/ 110 h 610"/>
                <a:gd name="T110" fmla="*/ 266 w 665"/>
                <a:gd name="T111" fmla="*/ 74 h 610"/>
                <a:gd name="T112" fmla="*/ 303 w 665"/>
                <a:gd name="T113" fmla="*/ 51 h 610"/>
                <a:gd name="T114" fmla="*/ 297 w 665"/>
                <a:gd name="T115" fmla="*/ 24 h 610"/>
                <a:gd name="T116" fmla="*/ 317 w 665"/>
                <a:gd name="T117" fmla="*/ 4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5" h="610">
                  <a:moveTo>
                    <a:pt x="332" y="1"/>
                  </a:moveTo>
                  <a:lnTo>
                    <a:pt x="333" y="1"/>
                  </a:lnTo>
                  <a:lnTo>
                    <a:pt x="333" y="1"/>
                  </a:lnTo>
                  <a:lnTo>
                    <a:pt x="333" y="2"/>
                  </a:lnTo>
                  <a:lnTo>
                    <a:pt x="333" y="5"/>
                  </a:lnTo>
                  <a:lnTo>
                    <a:pt x="334" y="9"/>
                  </a:lnTo>
                  <a:lnTo>
                    <a:pt x="334" y="11"/>
                  </a:lnTo>
                  <a:lnTo>
                    <a:pt x="335" y="14"/>
                  </a:lnTo>
                  <a:lnTo>
                    <a:pt x="336" y="15"/>
                  </a:lnTo>
                  <a:lnTo>
                    <a:pt x="337" y="16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1" y="17"/>
                  </a:lnTo>
                  <a:lnTo>
                    <a:pt x="342" y="16"/>
                  </a:lnTo>
                  <a:lnTo>
                    <a:pt x="343" y="16"/>
                  </a:lnTo>
                  <a:lnTo>
                    <a:pt x="345" y="15"/>
                  </a:lnTo>
                  <a:lnTo>
                    <a:pt x="347" y="13"/>
                  </a:lnTo>
                  <a:lnTo>
                    <a:pt x="350" y="8"/>
                  </a:lnTo>
                  <a:lnTo>
                    <a:pt x="352" y="6"/>
                  </a:lnTo>
                  <a:lnTo>
                    <a:pt x="353" y="6"/>
                  </a:lnTo>
                  <a:lnTo>
                    <a:pt x="355" y="4"/>
                  </a:lnTo>
                  <a:lnTo>
                    <a:pt x="357" y="4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0" y="4"/>
                  </a:lnTo>
                  <a:lnTo>
                    <a:pt x="362" y="7"/>
                  </a:lnTo>
                  <a:lnTo>
                    <a:pt x="365" y="12"/>
                  </a:lnTo>
                  <a:lnTo>
                    <a:pt x="369" y="17"/>
                  </a:lnTo>
                  <a:lnTo>
                    <a:pt x="371" y="21"/>
                  </a:lnTo>
                  <a:lnTo>
                    <a:pt x="372" y="23"/>
                  </a:lnTo>
                  <a:lnTo>
                    <a:pt x="374" y="28"/>
                  </a:lnTo>
                  <a:lnTo>
                    <a:pt x="375" y="31"/>
                  </a:lnTo>
                  <a:lnTo>
                    <a:pt x="376" y="32"/>
                  </a:lnTo>
                  <a:lnTo>
                    <a:pt x="377" y="33"/>
                  </a:lnTo>
                  <a:lnTo>
                    <a:pt x="377" y="33"/>
                  </a:lnTo>
                  <a:lnTo>
                    <a:pt x="379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5" y="33"/>
                  </a:lnTo>
                  <a:lnTo>
                    <a:pt x="392" y="32"/>
                  </a:lnTo>
                  <a:lnTo>
                    <a:pt x="393" y="32"/>
                  </a:lnTo>
                  <a:lnTo>
                    <a:pt x="395" y="31"/>
                  </a:lnTo>
                  <a:lnTo>
                    <a:pt x="399" y="29"/>
                  </a:lnTo>
                  <a:lnTo>
                    <a:pt x="402" y="26"/>
                  </a:lnTo>
                  <a:lnTo>
                    <a:pt x="403" y="25"/>
                  </a:lnTo>
                  <a:lnTo>
                    <a:pt x="405" y="23"/>
                  </a:lnTo>
                  <a:lnTo>
                    <a:pt x="407" y="21"/>
                  </a:lnTo>
                  <a:lnTo>
                    <a:pt x="407" y="22"/>
                  </a:lnTo>
                  <a:lnTo>
                    <a:pt x="408" y="24"/>
                  </a:lnTo>
                  <a:lnTo>
                    <a:pt x="412" y="30"/>
                  </a:lnTo>
                  <a:lnTo>
                    <a:pt x="414" y="32"/>
                  </a:lnTo>
                  <a:lnTo>
                    <a:pt x="416" y="36"/>
                  </a:lnTo>
                  <a:lnTo>
                    <a:pt x="418" y="39"/>
                  </a:lnTo>
                  <a:lnTo>
                    <a:pt x="419" y="42"/>
                  </a:lnTo>
                  <a:lnTo>
                    <a:pt x="420" y="45"/>
                  </a:lnTo>
                  <a:lnTo>
                    <a:pt x="420" y="48"/>
                  </a:lnTo>
                  <a:lnTo>
                    <a:pt x="420" y="50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0" y="56"/>
                  </a:lnTo>
                  <a:lnTo>
                    <a:pt x="419" y="57"/>
                  </a:lnTo>
                  <a:lnTo>
                    <a:pt x="417" y="59"/>
                  </a:lnTo>
                  <a:lnTo>
                    <a:pt x="413" y="65"/>
                  </a:lnTo>
                  <a:lnTo>
                    <a:pt x="410" y="69"/>
                  </a:lnTo>
                  <a:lnTo>
                    <a:pt x="408" y="73"/>
                  </a:lnTo>
                  <a:lnTo>
                    <a:pt x="405" y="80"/>
                  </a:lnTo>
                  <a:lnTo>
                    <a:pt x="404" y="82"/>
                  </a:lnTo>
                  <a:lnTo>
                    <a:pt x="403" y="83"/>
                  </a:lnTo>
                  <a:lnTo>
                    <a:pt x="402" y="86"/>
                  </a:lnTo>
                  <a:lnTo>
                    <a:pt x="402" y="88"/>
                  </a:lnTo>
                  <a:lnTo>
                    <a:pt x="402" y="90"/>
                  </a:lnTo>
                  <a:lnTo>
                    <a:pt x="402" y="92"/>
                  </a:lnTo>
                  <a:lnTo>
                    <a:pt x="402" y="93"/>
                  </a:lnTo>
                  <a:lnTo>
                    <a:pt x="402" y="94"/>
                  </a:lnTo>
                  <a:lnTo>
                    <a:pt x="403" y="96"/>
                  </a:lnTo>
                  <a:lnTo>
                    <a:pt x="404" y="96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10" y="98"/>
                  </a:lnTo>
                  <a:lnTo>
                    <a:pt x="419" y="101"/>
                  </a:lnTo>
                  <a:lnTo>
                    <a:pt x="421" y="101"/>
                  </a:lnTo>
                  <a:lnTo>
                    <a:pt x="422" y="101"/>
                  </a:lnTo>
                  <a:lnTo>
                    <a:pt x="424" y="101"/>
                  </a:lnTo>
                  <a:lnTo>
                    <a:pt x="426" y="101"/>
                  </a:lnTo>
                  <a:lnTo>
                    <a:pt x="429" y="100"/>
                  </a:lnTo>
                  <a:lnTo>
                    <a:pt x="432" y="98"/>
                  </a:lnTo>
                  <a:lnTo>
                    <a:pt x="439" y="95"/>
                  </a:lnTo>
                  <a:lnTo>
                    <a:pt x="443" y="94"/>
                  </a:lnTo>
                  <a:lnTo>
                    <a:pt x="447" y="93"/>
                  </a:lnTo>
                  <a:lnTo>
                    <a:pt x="453" y="92"/>
                  </a:lnTo>
                  <a:lnTo>
                    <a:pt x="458" y="92"/>
                  </a:lnTo>
                  <a:lnTo>
                    <a:pt x="462" y="93"/>
                  </a:lnTo>
                  <a:lnTo>
                    <a:pt x="467" y="93"/>
                  </a:lnTo>
                  <a:lnTo>
                    <a:pt x="474" y="95"/>
                  </a:lnTo>
                  <a:lnTo>
                    <a:pt x="477" y="95"/>
                  </a:lnTo>
                  <a:lnTo>
                    <a:pt x="482" y="95"/>
                  </a:lnTo>
                  <a:lnTo>
                    <a:pt x="489" y="94"/>
                  </a:lnTo>
                  <a:lnTo>
                    <a:pt x="494" y="94"/>
                  </a:lnTo>
                  <a:lnTo>
                    <a:pt x="497" y="94"/>
                  </a:lnTo>
                  <a:lnTo>
                    <a:pt x="499" y="94"/>
                  </a:lnTo>
                  <a:lnTo>
                    <a:pt x="502" y="95"/>
                  </a:lnTo>
                  <a:lnTo>
                    <a:pt x="503" y="96"/>
                  </a:lnTo>
                  <a:lnTo>
                    <a:pt x="506" y="97"/>
                  </a:lnTo>
                  <a:lnTo>
                    <a:pt x="510" y="100"/>
                  </a:lnTo>
                  <a:lnTo>
                    <a:pt x="511" y="101"/>
                  </a:lnTo>
                  <a:lnTo>
                    <a:pt x="512" y="101"/>
                  </a:lnTo>
                  <a:lnTo>
                    <a:pt x="512" y="101"/>
                  </a:lnTo>
                  <a:lnTo>
                    <a:pt x="512" y="102"/>
                  </a:lnTo>
                  <a:lnTo>
                    <a:pt x="512" y="103"/>
                  </a:lnTo>
                  <a:lnTo>
                    <a:pt x="511" y="103"/>
                  </a:lnTo>
                  <a:lnTo>
                    <a:pt x="505" y="106"/>
                  </a:lnTo>
                  <a:lnTo>
                    <a:pt x="503" y="107"/>
                  </a:lnTo>
                  <a:lnTo>
                    <a:pt x="502" y="108"/>
                  </a:lnTo>
                  <a:lnTo>
                    <a:pt x="500" y="110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3"/>
                  </a:lnTo>
                  <a:lnTo>
                    <a:pt x="499" y="113"/>
                  </a:lnTo>
                  <a:lnTo>
                    <a:pt x="499" y="114"/>
                  </a:lnTo>
                  <a:lnTo>
                    <a:pt x="499" y="116"/>
                  </a:lnTo>
                  <a:lnTo>
                    <a:pt x="500" y="116"/>
                  </a:lnTo>
                  <a:lnTo>
                    <a:pt x="501" y="118"/>
                  </a:lnTo>
                  <a:lnTo>
                    <a:pt x="502" y="119"/>
                  </a:lnTo>
                  <a:lnTo>
                    <a:pt x="505" y="121"/>
                  </a:lnTo>
                  <a:lnTo>
                    <a:pt x="507" y="123"/>
                  </a:lnTo>
                  <a:lnTo>
                    <a:pt x="509" y="124"/>
                  </a:lnTo>
                  <a:lnTo>
                    <a:pt x="512" y="126"/>
                  </a:lnTo>
                  <a:lnTo>
                    <a:pt x="522" y="131"/>
                  </a:lnTo>
                  <a:lnTo>
                    <a:pt x="527" y="134"/>
                  </a:lnTo>
                  <a:lnTo>
                    <a:pt x="532" y="138"/>
                  </a:lnTo>
                  <a:lnTo>
                    <a:pt x="539" y="143"/>
                  </a:lnTo>
                  <a:lnTo>
                    <a:pt x="544" y="147"/>
                  </a:lnTo>
                  <a:lnTo>
                    <a:pt x="549" y="150"/>
                  </a:lnTo>
                  <a:lnTo>
                    <a:pt x="552" y="152"/>
                  </a:lnTo>
                  <a:lnTo>
                    <a:pt x="555" y="153"/>
                  </a:lnTo>
                  <a:lnTo>
                    <a:pt x="557" y="153"/>
                  </a:lnTo>
                  <a:lnTo>
                    <a:pt x="560" y="154"/>
                  </a:lnTo>
                  <a:lnTo>
                    <a:pt x="563" y="155"/>
                  </a:lnTo>
                  <a:lnTo>
                    <a:pt x="567" y="156"/>
                  </a:lnTo>
                  <a:lnTo>
                    <a:pt x="569" y="156"/>
                  </a:lnTo>
                  <a:lnTo>
                    <a:pt x="576" y="157"/>
                  </a:lnTo>
                  <a:lnTo>
                    <a:pt x="580" y="157"/>
                  </a:lnTo>
                  <a:lnTo>
                    <a:pt x="584" y="157"/>
                  </a:lnTo>
                  <a:lnTo>
                    <a:pt x="587" y="156"/>
                  </a:lnTo>
                  <a:lnTo>
                    <a:pt x="591" y="156"/>
                  </a:lnTo>
                  <a:lnTo>
                    <a:pt x="594" y="156"/>
                  </a:lnTo>
                  <a:lnTo>
                    <a:pt x="597" y="155"/>
                  </a:lnTo>
                  <a:lnTo>
                    <a:pt x="608" y="152"/>
                  </a:lnTo>
                  <a:lnTo>
                    <a:pt x="612" y="151"/>
                  </a:lnTo>
                  <a:lnTo>
                    <a:pt x="617" y="151"/>
                  </a:lnTo>
                  <a:lnTo>
                    <a:pt x="619" y="151"/>
                  </a:lnTo>
                  <a:lnTo>
                    <a:pt x="620" y="151"/>
                  </a:lnTo>
                  <a:lnTo>
                    <a:pt x="622" y="151"/>
                  </a:lnTo>
                  <a:lnTo>
                    <a:pt x="624" y="152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31" y="156"/>
                  </a:lnTo>
                  <a:lnTo>
                    <a:pt x="632" y="156"/>
                  </a:lnTo>
                  <a:lnTo>
                    <a:pt x="634" y="158"/>
                  </a:lnTo>
                  <a:lnTo>
                    <a:pt x="636" y="160"/>
                  </a:lnTo>
                  <a:lnTo>
                    <a:pt x="637" y="161"/>
                  </a:lnTo>
                  <a:lnTo>
                    <a:pt x="647" y="175"/>
                  </a:lnTo>
                  <a:lnTo>
                    <a:pt x="656" y="186"/>
                  </a:lnTo>
                  <a:lnTo>
                    <a:pt x="659" y="189"/>
                  </a:lnTo>
                  <a:lnTo>
                    <a:pt x="661" y="193"/>
                  </a:lnTo>
                  <a:lnTo>
                    <a:pt x="663" y="196"/>
                  </a:lnTo>
                  <a:lnTo>
                    <a:pt x="664" y="197"/>
                  </a:lnTo>
                  <a:lnTo>
                    <a:pt x="664" y="199"/>
                  </a:lnTo>
                  <a:lnTo>
                    <a:pt x="665" y="201"/>
                  </a:lnTo>
                  <a:lnTo>
                    <a:pt x="665" y="202"/>
                  </a:lnTo>
                  <a:lnTo>
                    <a:pt x="665" y="203"/>
                  </a:lnTo>
                  <a:lnTo>
                    <a:pt x="664" y="203"/>
                  </a:lnTo>
                  <a:lnTo>
                    <a:pt x="661" y="203"/>
                  </a:lnTo>
                  <a:lnTo>
                    <a:pt x="658" y="204"/>
                  </a:lnTo>
                  <a:lnTo>
                    <a:pt x="656" y="205"/>
                  </a:lnTo>
                  <a:lnTo>
                    <a:pt x="653" y="206"/>
                  </a:lnTo>
                  <a:lnTo>
                    <a:pt x="650" y="207"/>
                  </a:lnTo>
                  <a:lnTo>
                    <a:pt x="647" y="208"/>
                  </a:lnTo>
                  <a:lnTo>
                    <a:pt x="645" y="210"/>
                  </a:lnTo>
                  <a:lnTo>
                    <a:pt x="640" y="213"/>
                  </a:lnTo>
                  <a:lnTo>
                    <a:pt x="637" y="216"/>
                  </a:lnTo>
                  <a:lnTo>
                    <a:pt x="632" y="221"/>
                  </a:lnTo>
                  <a:lnTo>
                    <a:pt x="624" y="228"/>
                  </a:lnTo>
                  <a:lnTo>
                    <a:pt x="620" y="231"/>
                  </a:lnTo>
                  <a:lnTo>
                    <a:pt x="618" y="233"/>
                  </a:lnTo>
                  <a:lnTo>
                    <a:pt x="617" y="233"/>
                  </a:lnTo>
                  <a:lnTo>
                    <a:pt x="615" y="235"/>
                  </a:lnTo>
                  <a:lnTo>
                    <a:pt x="613" y="236"/>
                  </a:lnTo>
                  <a:lnTo>
                    <a:pt x="611" y="236"/>
                  </a:lnTo>
                  <a:lnTo>
                    <a:pt x="609" y="236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2" y="235"/>
                  </a:lnTo>
                  <a:lnTo>
                    <a:pt x="599" y="234"/>
                  </a:lnTo>
                  <a:lnTo>
                    <a:pt x="596" y="233"/>
                  </a:lnTo>
                  <a:lnTo>
                    <a:pt x="589" y="230"/>
                  </a:lnTo>
                  <a:lnTo>
                    <a:pt x="587" y="229"/>
                  </a:lnTo>
                  <a:lnTo>
                    <a:pt x="584" y="228"/>
                  </a:lnTo>
                  <a:lnTo>
                    <a:pt x="582" y="228"/>
                  </a:lnTo>
                  <a:lnTo>
                    <a:pt x="580" y="228"/>
                  </a:lnTo>
                  <a:lnTo>
                    <a:pt x="578" y="228"/>
                  </a:lnTo>
                  <a:lnTo>
                    <a:pt x="577" y="228"/>
                  </a:lnTo>
                  <a:lnTo>
                    <a:pt x="574" y="230"/>
                  </a:lnTo>
                  <a:lnTo>
                    <a:pt x="574" y="231"/>
                  </a:lnTo>
                  <a:lnTo>
                    <a:pt x="572" y="232"/>
                  </a:lnTo>
                  <a:lnTo>
                    <a:pt x="572" y="234"/>
                  </a:lnTo>
                  <a:lnTo>
                    <a:pt x="572" y="236"/>
                  </a:lnTo>
                  <a:lnTo>
                    <a:pt x="572" y="238"/>
                  </a:lnTo>
                  <a:lnTo>
                    <a:pt x="572" y="241"/>
                  </a:lnTo>
                  <a:lnTo>
                    <a:pt x="574" y="246"/>
                  </a:lnTo>
                  <a:lnTo>
                    <a:pt x="574" y="247"/>
                  </a:lnTo>
                  <a:lnTo>
                    <a:pt x="574" y="248"/>
                  </a:lnTo>
                  <a:lnTo>
                    <a:pt x="574" y="250"/>
                  </a:lnTo>
                  <a:lnTo>
                    <a:pt x="573" y="251"/>
                  </a:lnTo>
                  <a:lnTo>
                    <a:pt x="572" y="253"/>
                  </a:lnTo>
                  <a:lnTo>
                    <a:pt x="571" y="254"/>
                  </a:lnTo>
                  <a:lnTo>
                    <a:pt x="570" y="254"/>
                  </a:lnTo>
                  <a:lnTo>
                    <a:pt x="568" y="255"/>
                  </a:lnTo>
                  <a:lnTo>
                    <a:pt x="566" y="255"/>
                  </a:lnTo>
                  <a:lnTo>
                    <a:pt x="564" y="256"/>
                  </a:lnTo>
                  <a:lnTo>
                    <a:pt x="562" y="256"/>
                  </a:lnTo>
                  <a:lnTo>
                    <a:pt x="559" y="255"/>
                  </a:lnTo>
                  <a:lnTo>
                    <a:pt x="552" y="253"/>
                  </a:lnTo>
                  <a:lnTo>
                    <a:pt x="547" y="253"/>
                  </a:lnTo>
                  <a:lnTo>
                    <a:pt x="544" y="253"/>
                  </a:lnTo>
                  <a:lnTo>
                    <a:pt x="542" y="253"/>
                  </a:lnTo>
                  <a:lnTo>
                    <a:pt x="540" y="253"/>
                  </a:lnTo>
                  <a:lnTo>
                    <a:pt x="539" y="254"/>
                  </a:lnTo>
                  <a:lnTo>
                    <a:pt x="537" y="255"/>
                  </a:lnTo>
                  <a:lnTo>
                    <a:pt x="535" y="256"/>
                  </a:lnTo>
                  <a:lnTo>
                    <a:pt x="533" y="257"/>
                  </a:lnTo>
                  <a:lnTo>
                    <a:pt x="526" y="261"/>
                  </a:lnTo>
                  <a:lnTo>
                    <a:pt x="524" y="262"/>
                  </a:lnTo>
                  <a:lnTo>
                    <a:pt x="522" y="263"/>
                  </a:lnTo>
                  <a:lnTo>
                    <a:pt x="522" y="264"/>
                  </a:lnTo>
                  <a:lnTo>
                    <a:pt x="521" y="265"/>
                  </a:lnTo>
                  <a:lnTo>
                    <a:pt x="520" y="267"/>
                  </a:lnTo>
                  <a:lnTo>
                    <a:pt x="520" y="268"/>
                  </a:lnTo>
                  <a:lnTo>
                    <a:pt x="520" y="269"/>
                  </a:lnTo>
                  <a:lnTo>
                    <a:pt x="520" y="270"/>
                  </a:lnTo>
                  <a:lnTo>
                    <a:pt x="521" y="275"/>
                  </a:lnTo>
                  <a:lnTo>
                    <a:pt x="521" y="276"/>
                  </a:lnTo>
                  <a:lnTo>
                    <a:pt x="521" y="279"/>
                  </a:lnTo>
                  <a:lnTo>
                    <a:pt x="520" y="282"/>
                  </a:lnTo>
                  <a:lnTo>
                    <a:pt x="519" y="285"/>
                  </a:lnTo>
                  <a:lnTo>
                    <a:pt x="517" y="287"/>
                  </a:lnTo>
                  <a:lnTo>
                    <a:pt x="516" y="290"/>
                  </a:lnTo>
                  <a:lnTo>
                    <a:pt x="512" y="295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9" y="302"/>
                  </a:lnTo>
                  <a:lnTo>
                    <a:pt x="508" y="304"/>
                  </a:lnTo>
                  <a:lnTo>
                    <a:pt x="507" y="306"/>
                  </a:lnTo>
                  <a:lnTo>
                    <a:pt x="507" y="310"/>
                  </a:lnTo>
                  <a:lnTo>
                    <a:pt x="507" y="320"/>
                  </a:lnTo>
                  <a:lnTo>
                    <a:pt x="506" y="325"/>
                  </a:lnTo>
                  <a:lnTo>
                    <a:pt x="504" y="338"/>
                  </a:lnTo>
                  <a:lnTo>
                    <a:pt x="502" y="358"/>
                  </a:lnTo>
                  <a:lnTo>
                    <a:pt x="500" y="370"/>
                  </a:lnTo>
                  <a:lnTo>
                    <a:pt x="500" y="374"/>
                  </a:lnTo>
                  <a:lnTo>
                    <a:pt x="500" y="378"/>
                  </a:lnTo>
                  <a:lnTo>
                    <a:pt x="500" y="380"/>
                  </a:lnTo>
                  <a:lnTo>
                    <a:pt x="500" y="383"/>
                  </a:lnTo>
                  <a:lnTo>
                    <a:pt x="502" y="387"/>
                  </a:lnTo>
                  <a:lnTo>
                    <a:pt x="502" y="389"/>
                  </a:lnTo>
                  <a:lnTo>
                    <a:pt x="502" y="393"/>
                  </a:lnTo>
                  <a:lnTo>
                    <a:pt x="501" y="395"/>
                  </a:lnTo>
                  <a:lnTo>
                    <a:pt x="500" y="398"/>
                  </a:lnTo>
                  <a:lnTo>
                    <a:pt x="499" y="400"/>
                  </a:lnTo>
                  <a:lnTo>
                    <a:pt x="497" y="402"/>
                  </a:lnTo>
                  <a:lnTo>
                    <a:pt x="495" y="403"/>
                  </a:lnTo>
                  <a:lnTo>
                    <a:pt x="494" y="404"/>
                  </a:lnTo>
                  <a:lnTo>
                    <a:pt x="492" y="405"/>
                  </a:lnTo>
                  <a:lnTo>
                    <a:pt x="489" y="405"/>
                  </a:lnTo>
                  <a:lnTo>
                    <a:pt x="483" y="407"/>
                  </a:lnTo>
                  <a:lnTo>
                    <a:pt x="482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79" y="409"/>
                  </a:lnTo>
                  <a:lnTo>
                    <a:pt x="476" y="411"/>
                  </a:lnTo>
                  <a:lnTo>
                    <a:pt x="474" y="413"/>
                  </a:lnTo>
                  <a:lnTo>
                    <a:pt x="469" y="418"/>
                  </a:lnTo>
                  <a:lnTo>
                    <a:pt x="464" y="422"/>
                  </a:lnTo>
                  <a:lnTo>
                    <a:pt x="460" y="425"/>
                  </a:lnTo>
                  <a:lnTo>
                    <a:pt x="452" y="430"/>
                  </a:lnTo>
                  <a:lnTo>
                    <a:pt x="449" y="431"/>
                  </a:lnTo>
                  <a:lnTo>
                    <a:pt x="448" y="433"/>
                  </a:lnTo>
                  <a:lnTo>
                    <a:pt x="446" y="435"/>
                  </a:lnTo>
                  <a:lnTo>
                    <a:pt x="444" y="437"/>
                  </a:lnTo>
                  <a:lnTo>
                    <a:pt x="431" y="454"/>
                  </a:lnTo>
                  <a:lnTo>
                    <a:pt x="430" y="455"/>
                  </a:lnTo>
                  <a:lnTo>
                    <a:pt x="430" y="455"/>
                  </a:lnTo>
                  <a:lnTo>
                    <a:pt x="428" y="456"/>
                  </a:lnTo>
                  <a:lnTo>
                    <a:pt x="427" y="456"/>
                  </a:lnTo>
                  <a:lnTo>
                    <a:pt x="426" y="456"/>
                  </a:lnTo>
                  <a:lnTo>
                    <a:pt x="425" y="456"/>
                  </a:lnTo>
                  <a:lnTo>
                    <a:pt x="423" y="455"/>
                  </a:lnTo>
                  <a:lnTo>
                    <a:pt x="422" y="454"/>
                  </a:lnTo>
                  <a:lnTo>
                    <a:pt x="422" y="453"/>
                  </a:lnTo>
                  <a:lnTo>
                    <a:pt x="421" y="453"/>
                  </a:lnTo>
                  <a:lnTo>
                    <a:pt x="420" y="450"/>
                  </a:lnTo>
                  <a:lnTo>
                    <a:pt x="419" y="449"/>
                  </a:lnTo>
                  <a:lnTo>
                    <a:pt x="418" y="448"/>
                  </a:lnTo>
                  <a:lnTo>
                    <a:pt x="417" y="448"/>
                  </a:lnTo>
                  <a:lnTo>
                    <a:pt x="416" y="447"/>
                  </a:lnTo>
                  <a:lnTo>
                    <a:pt x="415" y="447"/>
                  </a:lnTo>
                  <a:lnTo>
                    <a:pt x="413" y="447"/>
                  </a:lnTo>
                  <a:lnTo>
                    <a:pt x="410" y="448"/>
                  </a:lnTo>
                  <a:lnTo>
                    <a:pt x="408" y="448"/>
                  </a:lnTo>
                  <a:lnTo>
                    <a:pt x="407" y="448"/>
                  </a:lnTo>
                  <a:lnTo>
                    <a:pt x="407" y="448"/>
                  </a:lnTo>
                  <a:lnTo>
                    <a:pt x="405" y="447"/>
                  </a:lnTo>
                  <a:lnTo>
                    <a:pt x="403" y="445"/>
                  </a:lnTo>
                  <a:lnTo>
                    <a:pt x="402" y="443"/>
                  </a:lnTo>
                  <a:lnTo>
                    <a:pt x="402" y="440"/>
                  </a:lnTo>
                  <a:lnTo>
                    <a:pt x="400" y="434"/>
                  </a:lnTo>
                  <a:lnTo>
                    <a:pt x="398" y="430"/>
                  </a:lnTo>
                  <a:lnTo>
                    <a:pt x="397" y="428"/>
                  </a:lnTo>
                  <a:lnTo>
                    <a:pt x="395" y="426"/>
                  </a:lnTo>
                  <a:lnTo>
                    <a:pt x="395" y="424"/>
                  </a:lnTo>
                  <a:lnTo>
                    <a:pt x="392" y="421"/>
                  </a:lnTo>
                  <a:lnTo>
                    <a:pt x="391" y="420"/>
                  </a:lnTo>
                  <a:lnTo>
                    <a:pt x="389" y="418"/>
                  </a:lnTo>
                  <a:lnTo>
                    <a:pt x="387" y="418"/>
                  </a:lnTo>
                  <a:lnTo>
                    <a:pt x="385" y="417"/>
                  </a:lnTo>
                  <a:lnTo>
                    <a:pt x="383" y="415"/>
                  </a:lnTo>
                  <a:lnTo>
                    <a:pt x="381" y="415"/>
                  </a:lnTo>
                  <a:lnTo>
                    <a:pt x="378" y="415"/>
                  </a:lnTo>
                  <a:lnTo>
                    <a:pt x="377" y="415"/>
                  </a:lnTo>
                  <a:lnTo>
                    <a:pt x="377" y="415"/>
                  </a:lnTo>
                  <a:lnTo>
                    <a:pt x="376" y="415"/>
                  </a:lnTo>
                  <a:lnTo>
                    <a:pt x="375" y="415"/>
                  </a:lnTo>
                  <a:lnTo>
                    <a:pt x="373" y="416"/>
                  </a:lnTo>
                  <a:lnTo>
                    <a:pt x="371" y="418"/>
                  </a:lnTo>
                  <a:lnTo>
                    <a:pt x="368" y="418"/>
                  </a:lnTo>
                  <a:lnTo>
                    <a:pt x="366" y="420"/>
                  </a:lnTo>
                  <a:lnTo>
                    <a:pt x="363" y="423"/>
                  </a:lnTo>
                  <a:lnTo>
                    <a:pt x="361" y="425"/>
                  </a:lnTo>
                  <a:lnTo>
                    <a:pt x="360" y="427"/>
                  </a:lnTo>
                  <a:lnTo>
                    <a:pt x="357" y="430"/>
                  </a:lnTo>
                  <a:lnTo>
                    <a:pt x="354" y="438"/>
                  </a:lnTo>
                  <a:lnTo>
                    <a:pt x="352" y="440"/>
                  </a:lnTo>
                  <a:lnTo>
                    <a:pt x="351" y="442"/>
                  </a:lnTo>
                  <a:lnTo>
                    <a:pt x="349" y="444"/>
                  </a:lnTo>
                  <a:lnTo>
                    <a:pt x="347" y="446"/>
                  </a:lnTo>
                  <a:lnTo>
                    <a:pt x="345" y="448"/>
                  </a:lnTo>
                  <a:lnTo>
                    <a:pt x="342" y="448"/>
                  </a:lnTo>
                  <a:lnTo>
                    <a:pt x="341" y="448"/>
                  </a:lnTo>
                  <a:lnTo>
                    <a:pt x="339" y="449"/>
                  </a:lnTo>
                  <a:lnTo>
                    <a:pt x="335" y="448"/>
                  </a:lnTo>
                  <a:lnTo>
                    <a:pt x="330" y="448"/>
                  </a:lnTo>
                  <a:lnTo>
                    <a:pt x="327" y="448"/>
                  </a:lnTo>
                  <a:lnTo>
                    <a:pt x="325" y="447"/>
                  </a:lnTo>
                  <a:lnTo>
                    <a:pt x="321" y="445"/>
                  </a:lnTo>
                  <a:lnTo>
                    <a:pt x="313" y="442"/>
                  </a:lnTo>
                  <a:lnTo>
                    <a:pt x="305" y="437"/>
                  </a:lnTo>
                  <a:lnTo>
                    <a:pt x="302" y="436"/>
                  </a:lnTo>
                  <a:lnTo>
                    <a:pt x="298" y="435"/>
                  </a:lnTo>
                  <a:lnTo>
                    <a:pt x="297" y="434"/>
                  </a:lnTo>
                  <a:lnTo>
                    <a:pt x="295" y="434"/>
                  </a:lnTo>
                  <a:lnTo>
                    <a:pt x="293" y="434"/>
                  </a:lnTo>
                  <a:lnTo>
                    <a:pt x="292" y="434"/>
                  </a:lnTo>
                  <a:lnTo>
                    <a:pt x="290" y="435"/>
                  </a:lnTo>
                  <a:lnTo>
                    <a:pt x="288" y="435"/>
                  </a:lnTo>
                  <a:lnTo>
                    <a:pt x="287" y="437"/>
                  </a:lnTo>
                  <a:lnTo>
                    <a:pt x="285" y="438"/>
                  </a:lnTo>
                  <a:lnTo>
                    <a:pt x="284" y="440"/>
                  </a:lnTo>
                  <a:lnTo>
                    <a:pt x="282" y="442"/>
                  </a:lnTo>
                  <a:lnTo>
                    <a:pt x="281" y="445"/>
                  </a:lnTo>
                  <a:lnTo>
                    <a:pt x="280" y="448"/>
                  </a:lnTo>
                  <a:lnTo>
                    <a:pt x="280" y="449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0" y="454"/>
                  </a:lnTo>
                  <a:lnTo>
                    <a:pt x="280" y="455"/>
                  </a:lnTo>
                  <a:lnTo>
                    <a:pt x="280" y="458"/>
                  </a:lnTo>
                  <a:lnTo>
                    <a:pt x="281" y="460"/>
                  </a:lnTo>
                  <a:lnTo>
                    <a:pt x="285" y="465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8" y="473"/>
                  </a:lnTo>
                  <a:lnTo>
                    <a:pt x="289" y="476"/>
                  </a:lnTo>
                  <a:lnTo>
                    <a:pt x="290" y="480"/>
                  </a:lnTo>
                  <a:lnTo>
                    <a:pt x="290" y="492"/>
                  </a:lnTo>
                  <a:lnTo>
                    <a:pt x="290" y="495"/>
                  </a:lnTo>
                  <a:lnTo>
                    <a:pt x="291" y="498"/>
                  </a:lnTo>
                  <a:lnTo>
                    <a:pt x="292" y="500"/>
                  </a:lnTo>
                  <a:lnTo>
                    <a:pt x="292" y="503"/>
                  </a:lnTo>
                  <a:lnTo>
                    <a:pt x="294" y="505"/>
                  </a:lnTo>
                  <a:lnTo>
                    <a:pt x="295" y="508"/>
                  </a:lnTo>
                  <a:lnTo>
                    <a:pt x="298" y="510"/>
                  </a:lnTo>
                  <a:lnTo>
                    <a:pt x="299" y="512"/>
                  </a:lnTo>
                  <a:lnTo>
                    <a:pt x="300" y="513"/>
                  </a:lnTo>
                  <a:lnTo>
                    <a:pt x="300" y="515"/>
                  </a:lnTo>
                  <a:lnTo>
                    <a:pt x="300" y="522"/>
                  </a:lnTo>
                  <a:lnTo>
                    <a:pt x="300" y="529"/>
                  </a:lnTo>
                  <a:lnTo>
                    <a:pt x="300" y="533"/>
                  </a:lnTo>
                  <a:lnTo>
                    <a:pt x="300" y="544"/>
                  </a:lnTo>
                  <a:lnTo>
                    <a:pt x="300" y="549"/>
                  </a:lnTo>
                  <a:lnTo>
                    <a:pt x="300" y="555"/>
                  </a:lnTo>
                  <a:lnTo>
                    <a:pt x="301" y="557"/>
                  </a:lnTo>
                  <a:lnTo>
                    <a:pt x="300" y="557"/>
                  </a:lnTo>
                  <a:lnTo>
                    <a:pt x="300" y="558"/>
                  </a:lnTo>
                  <a:lnTo>
                    <a:pt x="298" y="559"/>
                  </a:lnTo>
                  <a:lnTo>
                    <a:pt x="291" y="566"/>
                  </a:lnTo>
                  <a:lnTo>
                    <a:pt x="282" y="575"/>
                  </a:lnTo>
                  <a:lnTo>
                    <a:pt x="274" y="583"/>
                  </a:lnTo>
                  <a:lnTo>
                    <a:pt x="267" y="591"/>
                  </a:lnTo>
                  <a:lnTo>
                    <a:pt x="265" y="593"/>
                  </a:lnTo>
                  <a:lnTo>
                    <a:pt x="264" y="594"/>
                  </a:lnTo>
                  <a:lnTo>
                    <a:pt x="262" y="595"/>
                  </a:lnTo>
                  <a:lnTo>
                    <a:pt x="261" y="596"/>
                  </a:lnTo>
                  <a:lnTo>
                    <a:pt x="259" y="597"/>
                  </a:lnTo>
                  <a:lnTo>
                    <a:pt x="257" y="597"/>
                  </a:lnTo>
                  <a:lnTo>
                    <a:pt x="250" y="599"/>
                  </a:lnTo>
                  <a:lnTo>
                    <a:pt x="247" y="600"/>
                  </a:lnTo>
                  <a:lnTo>
                    <a:pt x="245" y="600"/>
                  </a:lnTo>
                  <a:lnTo>
                    <a:pt x="241" y="600"/>
                  </a:lnTo>
                  <a:lnTo>
                    <a:pt x="237" y="600"/>
                  </a:lnTo>
                  <a:lnTo>
                    <a:pt x="233" y="600"/>
                  </a:lnTo>
                  <a:lnTo>
                    <a:pt x="230" y="600"/>
                  </a:lnTo>
                  <a:lnTo>
                    <a:pt x="227" y="599"/>
                  </a:lnTo>
                  <a:lnTo>
                    <a:pt x="222" y="598"/>
                  </a:lnTo>
                  <a:lnTo>
                    <a:pt x="220" y="597"/>
                  </a:lnTo>
                  <a:lnTo>
                    <a:pt x="218" y="597"/>
                  </a:lnTo>
                  <a:lnTo>
                    <a:pt x="217" y="595"/>
                  </a:lnTo>
                  <a:lnTo>
                    <a:pt x="215" y="595"/>
                  </a:lnTo>
                  <a:lnTo>
                    <a:pt x="214" y="593"/>
                  </a:lnTo>
                  <a:lnTo>
                    <a:pt x="213" y="591"/>
                  </a:lnTo>
                  <a:lnTo>
                    <a:pt x="211" y="589"/>
                  </a:lnTo>
                  <a:lnTo>
                    <a:pt x="208" y="585"/>
                  </a:lnTo>
                  <a:lnTo>
                    <a:pt x="208" y="583"/>
                  </a:lnTo>
                  <a:lnTo>
                    <a:pt x="205" y="581"/>
                  </a:lnTo>
                  <a:lnTo>
                    <a:pt x="203" y="579"/>
                  </a:lnTo>
                  <a:lnTo>
                    <a:pt x="201" y="577"/>
                  </a:lnTo>
                  <a:lnTo>
                    <a:pt x="196" y="573"/>
                  </a:lnTo>
                  <a:lnTo>
                    <a:pt x="194" y="572"/>
                  </a:lnTo>
                  <a:lnTo>
                    <a:pt x="192" y="571"/>
                  </a:lnTo>
                  <a:lnTo>
                    <a:pt x="190" y="570"/>
                  </a:lnTo>
                  <a:lnTo>
                    <a:pt x="189" y="570"/>
                  </a:lnTo>
                  <a:lnTo>
                    <a:pt x="187" y="570"/>
                  </a:lnTo>
                  <a:lnTo>
                    <a:pt x="185" y="570"/>
                  </a:lnTo>
                  <a:lnTo>
                    <a:pt x="183" y="570"/>
                  </a:lnTo>
                  <a:lnTo>
                    <a:pt x="178" y="572"/>
                  </a:lnTo>
                  <a:lnTo>
                    <a:pt x="176" y="573"/>
                  </a:lnTo>
                  <a:lnTo>
                    <a:pt x="174" y="573"/>
                  </a:lnTo>
                  <a:lnTo>
                    <a:pt x="172" y="573"/>
                  </a:lnTo>
                  <a:lnTo>
                    <a:pt x="170" y="573"/>
                  </a:lnTo>
                  <a:lnTo>
                    <a:pt x="167" y="572"/>
                  </a:lnTo>
                  <a:lnTo>
                    <a:pt x="164" y="570"/>
                  </a:lnTo>
                  <a:lnTo>
                    <a:pt x="160" y="568"/>
                  </a:lnTo>
                  <a:lnTo>
                    <a:pt x="160" y="567"/>
                  </a:lnTo>
                  <a:lnTo>
                    <a:pt x="159" y="567"/>
                  </a:lnTo>
                  <a:lnTo>
                    <a:pt x="158" y="568"/>
                  </a:lnTo>
                  <a:lnTo>
                    <a:pt x="157" y="569"/>
                  </a:lnTo>
                  <a:lnTo>
                    <a:pt x="151" y="572"/>
                  </a:lnTo>
                  <a:lnTo>
                    <a:pt x="150" y="573"/>
                  </a:lnTo>
                  <a:lnTo>
                    <a:pt x="148" y="574"/>
                  </a:lnTo>
                  <a:lnTo>
                    <a:pt x="140" y="576"/>
                  </a:lnTo>
                  <a:lnTo>
                    <a:pt x="135" y="579"/>
                  </a:lnTo>
                  <a:lnTo>
                    <a:pt x="133" y="580"/>
                  </a:lnTo>
                  <a:lnTo>
                    <a:pt x="131" y="582"/>
                  </a:lnTo>
                  <a:lnTo>
                    <a:pt x="130" y="584"/>
                  </a:lnTo>
                  <a:lnTo>
                    <a:pt x="129" y="585"/>
                  </a:lnTo>
                  <a:lnTo>
                    <a:pt x="128" y="590"/>
                  </a:lnTo>
                  <a:lnTo>
                    <a:pt x="127" y="590"/>
                  </a:lnTo>
                  <a:lnTo>
                    <a:pt x="126" y="592"/>
                  </a:lnTo>
                  <a:lnTo>
                    <a:pt x="125" y="593"/>
                  </a:lnTo>
                  <a:lnTo>
                    <a:pt x="123" y="595"/>
                  </a:lnTo>
                  <a:lnTo>
                    <a:pt x="116" y="598"/>
                  </a:lnTo>
                  <a:lnTo>
                    <a:pt x="113" y="600"/>
                  </a:lnTo>
                  <a:lnTo>
                    <a:pt x="112" y="602"/>
                  </a:lnTo>
                  <a:lnTo>
                    <a:pt x="110" y="603"/>
                  </a:lnTo>
                  <a:lnTo>
                    <a:pt x="110" y="605"/>
                  </a:lnTo>
                  <a:lnTo>
                    <a:pt x="108" y="607"/>
                  </a:lnTo>
                  <a:lnTo>
                    <a:pt x="107" y="608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0"/>
                  </a:lnTo>
                  <a:lnTo>
                    <a:pt x="102" y="609"/>
                  </a:lnTo>
                  <a:lnTo>
                    <a:pt x="100" y="608"/>
                  </a:lnTo>
                  <a:lnTo>
                    <a:pt x="95" y="606"/>
                  </a:lnTo>
                  <a:lnTo>
                    <a:pt x="93" y="605"/>
                  </a:lnTo>
                  <a:lnTo>
                    <a:pt x="90" y="604"/>
                  </a:lnTo>
                  <a:lnTo>
                    <a:pt x="85" y="602"/>
                  </a:lnTo>
                  <a:lnTo>
                    <a:pt x="81" y="602"/>
                  </a:lnTo>
                  <a:lnTo>
                    <a:pt x="80" y="601"/>
                  </a:lnTo>
                  <a:lnTo>
                    <a:pt x="79" y="600"/>
                  </a:lnTo>
                  <a:lnTo>
                    <a:pt x="78" y="600"/>
                  </a:lnTo>
                  <a:lnTo>
                    <a:pt x="78" y="599"/>
                  </a:lnTo>
                  <a:lnTo>
                    <a:pt x="78" y="599"/>
                  </a:lnTo>
                  <a:lnTo>
                    <a:pt x="78" y="597"/>
                  </a:lnTo>
                  <a:lnTo>
                    <a:pt x="77" y="595"/>
                  </a:lnTo>
                  <a:lnTo>
                    <a:pt x="77" y="594"/>
                  </a:lnTo>
                  <a:lnTo>
                    <a:pt x="77" y="592"/>
                  </a:lnTo>
                  <a:lnTo>
                    <a:pt x="78" y="590"/>
                  </a:lnTo>
                  <a:lnTo>
                    <a:pt x="78" y="589"/>
                  </a:lnTo>
                  <a:lnTo>
                    <a:pt x="79" y="587"/>
                  </a:lnTo>
                  <a:lnTo>
                    <a:pt x="82" y="581"/>
                  </a:lnTo>
                  <a:lnTo>
                    <a:pt x="83" y="578"/>
                  </a:lnTo>
                  <a:lnTo>
                    <a:pt x="84" y="575"/>
                  </a:lnTo>
                  <a:lnTo>
                    <a:pt x="85" y="568"/>
                  </a:lnTo>
                  <a:lnTo>
                    <a:pt x="86" y="565"/>
                  </a:lnTo>
                  <a:lnTo>
                    <a:pt x="88" y="563"/>
                  </a:lnTo>
                  <a:lnTo>
                    <a:pt x="88" y="561"/>
                  </a:lnTo>
                  <a:lnTo>
                    <a:pt x="92" y="555"/>
                  </a:lnTo>
                  <a:lnTo>
                    <a:pt x="92" y="553"/>
                  </a:lnTo>
                  <a:lnTo>
                    <a:pt x="93" y="552"/>
                  </a:lnTo>
                  <a:lnTo>
                    <a:pt x="93" y="550"/>
                  </a:lnTo>
                  <a:lnTo>
                    <a:pt x="93" y="549"/>
                  </a:lnTo>
                  <a:lnTo>
                    <a:pt x="92" y="548"/>
                  </a:lnTo>
                  <a:lnTo>
                    <a:pt x="91" y="547"/>
                  </a:lnTo>
                  <a:lnTo>
                    <a:pt x="88" y="543"/>
                  </a:lnTo>
                  <a:lnTo>
                    <a:pt x="85" y="537"/>
                  </a:lnTo>
                  <a:lnTo>
                    <a:pt x="83" y="536"/>
                  </a:lnTo>
                  <a:lnTo>
                    <a:pt x="83" y="535"/>
                  </a:lnTo>
                  <a:lnTo>
                    <a:pt x="82" y="532"/>
                  </a:lnTo>
                  <a:lnTo>
                    <a:pt x="82" y="530"/>
                  </a:lnTo>
                  <a:lnTo>
                    <a:pt x="82" y="529"/>
                  </a:lnTo>
                  <a:lnTo>
                    <a:pt x="83" y="527"/>
                  </a:lnTo>
                  <a:lnTo>
                    <a:pt x="83" y="525"/>
                  </a:lnTo>
                  <a:lnTo>
                    <a:pt x="85" y="523"/>
                  </a:lnTo>
                  <a:lnTo>
                    <a:pt x="86" y="521"/>
                  </a:lnTo>
                  <a:lnTo>
                    <a:pt x="88" y="519"/>
                  </a:lnTo>
                  <a:lnTo>
                    <a:pt x="93" y="513"/>
                  </a:lnTo>
                  <a:lnTo>
                    <a:pt x="95" y="510"/>
                  </a:lnTo>
                  <a:lnTo>
                    <a:pt x="98" y="509"/>
                  </a:lnTo>
                  <a:lnTo>
                    <a:pt x="100" y="507"/>
                  </a:lnTo>
                  <a:lnTo>
                    <a:pt x="103" y="505"/>
                  </a:lnTo>
                  <a:lnTo>
                    <a:pt x="108" y="502"/>
                  </a:lnTo>
                  <a:lnTo>
                    <a:pt x="111" y="500"/>
                  </a:lnTo>
                  <a:lnTo>
                    <a:pt x="119" y="496"/>
                  </a:lnTo>
                  <a:lnTo>
                    <a:pt x="122" y="495"/>
                  </a:lnTo>
                  <a:lnTo>
                    <a:pt x="123" y="494"/>
                  </a:lnTo>
                  <a:lnTo>
                    <a:pt x="124" y="493"/>
                  </a:lnTo>
                  <a:lnTo>
                    <a:pt x="125" y="492"/>
                  </a:lnTo>
                  <a:lnTo>
                    <a:pt x="125" y="491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3" y="487"/>
                  </a:lnTo>
                  <a:lnTo>
                    <a:pt x="122" y="485"/>
                  </a:lnTo>
                  <a:lnTo>
                    <a:pt x="120" y="482"/>
                  </a:lnTo>
                  <a:lnTo>
                    <a:pt x="115" y="477"/>
                  </a:lnTo>
                  <a:lnTo>
                    <a:pt x="113" y="473"/>
                  </a:lnTo>
                  <a:lnTo>
                    <a:pt x="110" y="471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0" y="458"/>
                  </a:lnTo>
                  <a:lnTo>
                    <a:pt x="99" y="456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98" y="451"/>
                  </a:lnTo>
                  <a:lnTo>
                    <a:pt x="97" y="449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8" y="441"/>
                  </a:lnTo>
                  <a:lnTo>
                    <a:pt x="100" y="438"/>
                  </a:lnTo>
                  <a:lnTo>
                    <a:pt x="102" y="435"/>
                  </a:lnTo>
                  <a:lnTo>
                    <a:pt x="106" y="427"/>
                  </a:lnTo>
                  <a:lnTo>
                    <a:pt x="110" y="420"/>
                  </a:lnTo>
                  <a:lnTo>
                    <a:pt x="112" y="418"/>
                  </a:lnTo>
                  <a:lnTo>
                    <a:pt x="113" y="415"/>
                  </a:lnTo>
                  <a:lnTo>
                    <a:pt x="113" y="413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2" y="405"/>
                  </a:lnTo>
                  <a:lnTo>
                    <a:pt x="110" y="401"/>
                  </a:lnTo>
                  <a:lnTo>
                    <a:pt x="108" y="398"/>
                  </a:lnTo>
                  <a:lnTo>
                    <a:pt x="105" y="392"/>
                  </a:lnTo>
                  <a:lnTo>
                    <a:pt x="102" y="387"/>
                  </a:lnTo>
                  <a:lnTo>
                    <a:pt x="98" y="383"/>
                  </a:lnTo>
                  <a:lnTo>
                    <a:pt x="95" y="378"/>
                  </a:lnTo>
                  <a:lnTo>
                    <a:pt x="92" y="374"/>
                  </a:lnTo>
                  <a:lnTo>
                    <a:pt x="90" y="373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6" y="365"/>
                  </a:lnTo>
                  <a:lnTo>
                    <a:pt x="68" y="363"/>
                  </a:lnTo>
                  <a:lnTo>
                    <a:pt x="65" y="361"/>
                  </a:lnTo>
                  <a:lnTo>
                    <a:pt x="65" y="360"/>
                  </a:lnTo>
                  <a:lnTo>
                    <a:pt x="63" y="360"/>
                  </a:lnTo>
                  <a:lnTo>
                    <a:pt x="63" y="359"/>
                  </a:lnTo>
                  <a:lnTo>
                    <a:pt x="62" y="358"/>
                  </a:lnTo>
                  <a:lnTo>
                    <a:pt x="61" y="356"/>
                  </a:lnTo>
                  <a:lnTo>
                    <a:pt x="61" y="355"/>
                  </a:lnTo>
                  <a:lnTo>
                    <a:pt x="61" y="352"/>
                  </a:lnTo>
                  <a:lnTo>
                    <a:pt x="61" y="350"/>
                  </a:lnTo>
                  <a:lnTo>
                    <a:pt x="62" y="347"/>
                  </a:lnTo>
                  <a:lnTo>
                    <a:pt x="63" y="345"/>
                  </a:lnTo>
                  <a:lnTo>
                    <a:pt x="66" y="338"/>
                  </a:lnTo>
                  <a:lnTo>
                    <a:pt x="68" y="334"/>
                  </a:lnTo>
                  <a:lnTo>
                    <a:pt x="68" y="329"/>
                  </a:lnTo>
                  <a:lnTo>
                    <a:pt x="69" y="325"/>
                  </a:lnTo>
                  <a:lnTo>
                    <a:pt x="69" y="323"/>
                  </a:lnTo>
                  <a:lnTo>
                    <a:pt x="69" y="320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8" y="313"/>
                  </a:lnTo>
                  <a:lnTo>
                    <a:pt x="68" y="310"/>
                  </a:lnTo>
                  <a:lnTo>
                    <a:pt x="67" y="307"/>
                  </a:lnTo>
                  <a:lnTo>
                    <a:pt x="66" y="305"/>
                  </a:lnTo>
                  <a:lnTo>
                    <a:pt x="65" y="303"/>
                  </a:lnTo>
                  <a:lnTo>
                    <a:pt x="64" y="302"/>
                  </a:lnTo>
                  <a:lnTo>
                    <a:pt x="59" y="295"/>
                  </a:lnTo>
                  <a:lnTo>
                    <a:pt x="57" y="292"/>
                  </a:lnTo>
                  <a:lnTo>
                    <a:pt x="55" y="287"/>
                  </a:lnTo>
                  <a:lnTo>
                    <a:pt x="50" y="276"/>
                  </a:lnTo>
                  <a:lnTo>
                    <a:pt x="48" y="270"/>
                  </a:lnTo>
                  <a:lnTo>
                    <a:pt x="44" y="263"/>
                  </a:lnTo>
                  <a:lnTo>
                    <a:pt x="43" y="261"/>
                  </a:lnTo>
                  <a:lnTo>
                    <a:pt x="40" y="258"/>
                  </a:lnTo>
                  <a:lnTo>
                    <a:pt x="37" y="253"/>
                  </a:lnTo>
                  <a:lnTo>
                    <a:pt x="35" y="251"/>
                  </a:lnTo>
                  <a:lnTo>
                    <a:pt x="27" y="243"/>
                  </a:lnTo>
                  <a:lnTo>
                    <a:pt x="18" y="234"/>
                  </a:lnTo>
                  <a:lnTo>
                    <a:pt x="12" y="228"/>
                  </a:lnTo>
                  <a:lnTo>
                    <a:pt x="9" y="225"/>
                  </a:lnTo>
                  <a:lnTo>
                    <a:pt x="6" y="223"/>
                  </a:lnTo>
                  <a:lnTo>
                    <a:pt x="3" y="220"/>
                  </a:lnTo>
                  <a:lnTo>
                    <a:pt x="1" y="219"/>
                  </a:lnTo>
                  <a:lnTo>
                    <a:pt x="0" y="219"/>
                  </a:lnTo>
                  <a:lnTo>
                    <a:pt x="3" y="217"/>
                  </a:lnTo>
                  <a:lnTo>
                    <a:pt x="4" y="215"/>
                  </a:lnTo>
                  <a:lnTo>
                    <a:pt x="5" y="213"/>
                  </a:lnTo>
                  <a:lnTo>
                    <a:pt x="5" y="212"/>
                  </a:lnTo>
                  <a:lnTo>
                    <a:pt x="5" y="211"/>
                  </a:lnTo>
                  <a:lnTo>
                    <a:pt x="5" y="209"/>
                  </a:lnTo>
                  <a:lnTo>
                    <a:pt x="5" y="208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5" y="201"/>
                  </a:lnTo>
                  <a:lnTo>
                    <a:pt x="8" y="199"/>
                  </a:lnTo>
                  <a:lnTo>
                    <a:pt x="8" y="198"/>
                  </a:lnTo>
                  <a:lnTo>
                    <a:pt x="9" y="197"/>
                  </a:lnTo>
                  <a:lnTo>
                    <a:pt x="10" y="193"/>
                  </a:lnTo>
                  <a:lnTo>
                    <a:pt x="9" y="192"/>
                  </a:lnTo>
                  <a:lnTo>
                    <a:pt x="8" y="190"/>
                  </a:lnTo>
                  <a:lnTo>
                    <a:pt x="6" y="187"/>
                  </a:lnTo>
                  <a:lnTo>
                    <a:pt x="3" y="182"/>
                  </a:lnTo>
                  <a:lnTo>
                    <a:pt x="2" y="180"/>
                  </a:lnTo>
                  <a:lnTo>
                    <a:pt x="1" y="178"/>
                  </a:lnTo>
                  <a:lnTo>
                    <a:pt x="1" y="177"/>
                  </a:lnTo>
                  <a:lnTo>
                    <a:pt x="0" y="17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2"/>
                  </a:lnTo>
                  <a:lnTo>
                    <a:pt x="3" y="171"/>
                  </a:lnTo>
                  <a:lnTo>
                    <a:pt x="15" y="168"/>
                  </a:lnTo>
                  <a:lnTo>
                    <a:pt x="21" y="167"/>
                  </a:lnTo>
                  <a:lnTo>
                    <a:pt x="31" y="163"/>
                  </a:lnTo>
                  <a:lnTo>
                    <a:pt x="34" y="162"/>
                  </a:lnTo>
                  <a:lnTo>
                    <a:pt x="36" y="161"/>
                  </a:lnTo>
                  <a:lnTo>
                    <a:pt x="38" y="160"/>
                  </a:lnTo>
                  <a:lnTo>
                    <a:pt x="43" y="156"/>
                  </a:lnTo>
                  <a:lnTo>
                    <a:pt x="45" y="155"/>
                  </a:lnTo>
                  <a:lnTo>
                    <a:pt x="48" y="153"/>
                  </a:lnTo>
                  <a:lnTo>
                    <a:pt x="54" y="151"/>
                  </a:lnTo>
                  <a:lnTo>
                    <a:pt x="57" y="149"/>
                  </a:lnTo>
                  <a:lnTo>
                    <a:pt x="63" y="144"/>
                  </a:lnTo>
                  <a:lnTo>
                    <a:pt x="71" y="139"/>
                  </a:lnTo>
                  <a:lnTo>
                    <a:pt x="77" y="135"/>
                  </a:lnTo>
                  <a:lnTo>
                    <a:pt x="83" y="132"/>
                  </a:lnTo>
                  <a:lnTo>
                    <a:pt x="88" y="128"/>
                  </a:lnTo>
                  <a:lnTo>
                    <a:pt x="97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5" y="114"/>
                  </a:lnTo>
                  <a:lnTo>
                    <a:pt x="112" y="108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0" y="101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8" y="101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58" y="103"/>
                  </a:lnTo>
                  <a:lnTo>
                    <a:pt x="168" y="104"/>
                  </a:lnTo>
                  <a:lnTo>
                    <a:pt x="170" y="104"/>
                  </a:lnTo>
                  <a:lnTo>
                    <a:pt x="175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5" y="109"/>
                  </a:lnTo>
                  <a:lnTo>
                    <a:pt x="188" y="111"/>
                  </a:lnTo>
                  <a:lnTo>
                    <a:pt x="191" y="113"/>
                  </a:lnTo>
                  <a:lnTo>
                    <a:pt x="195" y="116"/>
                  </a:lnTo>
                  <a:lnTo>
                    <a:pt x="201" y="121"/>
                  </a:lnTo>
                  <a:lnTo>
                    <a:pt x="203" y="122"/>
                  </a:lnTo>
                  <a:lnTo>
                    <a:pt x="207" y="125"/>
                  </a:lnTo>
                  <a:lnTo>
                    <a:pt x="215" y="131"/>
                  </a:lnTo>
                  <a:lnTo>
                    <a:pt x="220" y="134"/>
                  </a:lnTo>
                  <a:lnTo>
                    <a:pt x="223" y="136"/>
                  </a:lnTo>
                  <a:lnTo>
                    <a:pt x="226" y="138"/>
                  </a:lnTo>
                  <a:lnTo>
                    <a:pt x="228" y="139"/>
                  </a:lnTo>
                  <a:lnTo>
                    <a:pt x="231" y="140"/>
                  </a:lnTo>
                  <a:lnTo>
                    <a:pt x="233" y="140"/>
                  </a:lnTo>
                  <a:lnTo>
                    <a:pt x="235" y="140"/>
                  </a:lnTo>
                  <a:lnTo>
                    <a:pt x="237" y="140"/>
                  </a:lnTo>
                  <a:lnTo>
                    <a:pt x="239" y="140"/>
                  </a:lnTo>
                  <a:lnTo>
                    <a:pt x="241" y="139"/>
                  </a:lnTo>
                  <a:lnTo>
                    <a:pt x="242" y="138"/>
                  </a:lnTo>
                  <a:lnTo>
                    <a:pt x="243" y="137"/>
                  </a:lnTo>
                  <a:lnTo>
                    <a:pt x="245" y="136"/>
                  </a:lnTo>
                  <a:lnTo>
                    <a:pt x="245" y="133"/>
                  </a:lnTo>
                  <a:lnTo>
                    <a:pt x="246" y="131"/>
                  </a:lnTo>
                  <a:lnTo>
                    <a:pt x="247" y="128"/>
                  </a:lnTo>
                  <a:lnTo>
                    <a:pt x="252" y="110"/>
                  </a:lnTo>
                  <a:lnTo>
                    <a:pt x="252" y="106"/>
                  </a:lnTo>
                  <a:lnTo>
                    <a:pt x="252" y="100"/>
                  </a:lnTo>
                  <a:lnTo>
                    <a:pt x="252" y="93"/>
                  </a:lnTo>
                  <a:lnTo>
                    <a:pt x="252" y="86"/>
                  </a:lnTo>
                  <a:lnTo>
                    <a:pt x="252" y="84"/>
                  </a:lnTo>
                  <a:lnTo>
                    <a:pt x="252" y="82"/>
                  </a:lnTo>
                  <a:lnTo>
                    <a:pt x="253" y="80"/>
                  </a:lnTo>
                  <a:lnTo>
                    <a:pt x="254" y="79"/>
                  </a:lnTo>
                  <a:lnTo>
                    <a:pt x="255" y="78"/>
                  </a:lnTo>
                  <a:lnTo>
                    <a:pt x="256" y="77"/>
                  </a:lnTo>
                  <a:lnTo>
                    <a:pt x="257" y="76"/>
                  </a:lnTo>
                  <a:lnTo>
                    <a:pt x="262" y="75"/>
                  </a:lnTo>
                  <a:lnTo>
                    <a:pt x="266" y="74"/>
                  </a:lnTo>
                  <a:lnTo>
                    <a:pt x="268" y="73"/>
                  </a:lnTo>
                  <a:lnTo>
                    <a:pt x="273" y="71"/>
                  </a:lnTo>
                  <a:lnTo>
                    <a:pt x="282" y="68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92" y="62"/>
                  </a:lnTo>
                  <a:lnTo>
                    <a:pt x="295" y="61"/>
                  </a:lnTo>
                  <a:lnTo>
                    <a:pt x="297" y="59"/>
                  </a:lnTo>
                  <a:lnTo>
                    <a:pt x="299" y="58"/>
                  </a:lnTo>
                  <a:lnTo>
                    <a:pt x="300" y="56"/>
                  </a:lnTo>
                  <a:lnTo>
                    <a:pt x="302" y="53"/>
                  </a:lnTo>
                  <a:lnTo>
                    <a:pt x="302" y="52"/>
                  </a:lnTo>
                  <a:lnTo>
                    <a:pt x="303" y="51"/>
                  </a:lnTo>
                  <a:lnTo>
                    <a:pt x="304" y="48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3" y="43"/>
                  </a:lnTo>
                  <a:lnTo>
                    <a:pt x="302" y="41"/>
                  </a:lnTo>
                  <a:lnTo>
                    <a:pt x="302" y="39"/>
                  </a:lnTo>
                  <a:lnTo>
                    <a:pt x="299" y="36"/>
                  </a:lnTo>
                  <a:lnTo>
                    <a:pt x="297" y="34"/>
                  </a:lnTo>
                  <a:lnTo>
                    <a:pt x="297" y="33"/>
                  </a:lnTo>
                  <a:lnTo>
                    <a:pt x="297" y="31"/>
                  </a:lnTo>
                  <a:lnTo>
                    <a:pt x="297" y="28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9" y="20"/>
                  </a:lnTo>
                  <a:lnTo>
                    <a:pt x="300" y="16"/>
                  </a:lnTo>
                  <a:lnTo>
                    <a:pt x="302" y="12"/>
                  </a:lnTo>
                  <a:lnTo>
                    <a:pt x="303" y="10"/>
                  </a:lnTo>
                  <a:lnTo>
                    <a:pt x="304" y="9"/>
                  </a:lnTo>
                  <a:lnTo>
                    <a:pt x="305" y="8"/>
                  </a:lnTo>
                  <a:lnTo>
                    <a:pt x="307" y="6"/>
                  </a:lnTo>
                  <a:lnTo>
                    <a:pt x="310" y="6"/>
                  </a:lnTo>
                  <a:lnTo>
                    <a:pt x="313" y="5"/>
                  </a:lnTo>
                  <a:lnTo>
                    <a:pt x="314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2" y="1"/>
                  </a:lnTo>
                  <a:lnTo>
                    <a:pt x="332" y="0"/>
                  </a:lnTo>
                  <a:lnTo>
                    <a:pt x="332" y="1"/>
                  </a:lnTo>
                  <a:close/>
                </a:path>
              </a:pathLst>
            </a:custGeom>
            <a:solidFill>
              <a:srgbClr val="A8A8A8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10">
              <a:extLst>
                <a:ext uri="{FF2B5EF4-FFF2-40B4-BE49-F238E27FC236}">
                  <a16:creationId xmlns:a16="http://schemas.microsoft.com/office/drawing/2014/main" id="{0AE0C08A-D49C-D11B-842E-0A82B14A5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462" y="473680"/>
              <a:ext cx="996950" cy="766763"/>
            </a:xfrm>
            <a:custGeom>
              <a:avLst/>
              <a:gdLst>
                <a:gd name="T0" fmla="*/ 395 w 628"/>
                <a:gd name="T1" fmla="*/ 13 h 483"/>
                <a:gd name="T2" fmla="*/ 429 w 628"/>
                <a:gd name="T3" fmla="*/ 19 h 483"/>
                <a:gd name="T4" fmla="*/ 453 w 628"/>
                <a:gd name="T5" fmla="*/ 17 h 483"/>
                <a:gd name="T6" fmla="*/ 479 w 628"/>
                <a:gd name="T7" fmla="*/ 24 h 483"/>
                <a:gd name="T8" fmla="*/ 509 w 628"/>
                <a:gd name="T9" fmla="*/ 9 h 483"/>
                <a:gd name="T10" fmla="*/ 547 w 628"/>
                <a:gd name="T11" fmla="*/ 49 h 483"/>
                <a:gd name="T12" fmla="*/ 570 w 628"/>
                <a:gd name="T13" fmla="*/ 93 h 483"/>
                <a:gd name="T14" fmla="*/ 571 w 628"/>
                <a:gd name="T15" fmla="*/ 120 h 483"/>
                <a:gd name="T16" fmla="*/ 566 w 628"/>
                <a:gd name="T17" fmla="*/ 145 h 483"/>
                <a:gd name="T18" fmla="*/ 593 w 628"/>
                <a:gd name="T19" fmla="*/ 159 h 483"/>
                <a:gd name="T20" fmla="*/ 616 w 628"/>
                <a:gd name="T21" fmla="*/ 195 h 483"/>
                <a:gd name="T22" fmla="*/ 601 w 628"/>
                <a:gd name="T23" fmla="*/ 227 h 483"/>
                <a:gd name="T24" fmla="*/ 605 w 628"/>
                <a:gd name="T25" fmla="*/ 246 h 483"/>
                <a:gd name="T26" fmla="*/ 628 w 628"/>
                <a:gd name="T27" fmla="*/ 276 h 483"/>
                <a:gd name="T28" fmla="*/ 606 w 628"/>
                <a:gd name="T29" fmla="*/ 291 h 483"/>
                <a:gd name="T30" fmla="*/ 586 w 628"/>
                <a:gd name="T31" fmla="*/ 313 h 483"/>
                <a:gd name="T32" fmla="*/ 595 w 628"/>
                <a:gd name="T33" fmla="*/ 334 h 483"/>
                <a:gd name="T34" fmla="*/ 588 w 628"/>
                <a:gd name="T35" fmla="*/ 354 h 483"/>
                <a:gd name="T36" fmla="*/ 580 w 628"/>
                <a:gd name="T37" fmla="*/ 381 h 483"/>
                <a:gd name="T38" fmla="*/ 576 w 628"/>
                <a:gd name="T39" fmla="*/ 391 h 483"/>
                <a:gd name="T40" fmla="*/ 565 w 628"/>
                <a:gd name="T41" fmla="*/ 415 h 483"/>
                <a:gd name="T42" fmla="*/ 549 w 628"/>
                <a:gd name="T43" fmla="*/ 420 h 483"/>
                <a:gd name="T44" fmla="*/ 535 w 628"/>
                <a:gd name="T45" fmla="*/ 430 h 483"/>
                <a:gd name="T46" fmla="*/ 508 w 628"/>
                <a:gd name="T47" fmla="*/ 417 h 483"/>
                <a:gd name="T48" fmla="*/ 459 w 628"/>
                <a:gd name="T49" fmla="*/ 416 h 483"/>
                <a:gd name="T50" fmla="*/ 439 w 628"/>
                <a:gd name="T51" fmla="*/ 424 h 483"/>
                <a:gd name="T52" fmla="*/ 424 w 628"/>
                <a:gd name="T53" fmla="*/ 452 h 483"/>
                <a:gd name="T54" fmla="*/ 409 w 628"/>
                <a:gd name="T55" fmla="*/ 444 h 483"/>
                <a:gd name="T56" fmla="*/ 378 w 628"/>
                <a:gd name="T57" fmla="*/ 439 h 483"/>
                <a:gd name="T58" fmla="*/ 339 w 628"/>
                <a:gd name="T59" fmla="*/ 445 h 483"/>
                <a:gd name="T60" fmla="*/ 306 w 628"/>
                <a:gd name="T61" fmla="*/ 441 h 483"/>
                <a:gd name="T62" fmla="*/ 298 w 628"/>
                <a:gd name="T63" fmla="*/ 432 h 483"/>
                <a:gd name="T64" fmla="*/ 284 w 628"/>
                <a:gd name="T65" fmla="*/ 451 h 483"/>
                <a:gd name="T66" fmla="*/ 244 w 628"/>
                <a:gd name="T67" fmla="*/ 464 h 483"/>
                <a:gd name="T68" fmla="*/ 214 w 628"/>
                <a:gd name="T69" fmla="*/ 482 h 483"/>
                <a:gd name="T70" fmla="*/ 190 w 628"/>
                <a:gd name="T71" fmla="*/ 471 h 483"/>
                <a:gd name="T72" fmla="*/ 160 w 628"/>
                <a:gd name="T73" fmla="*/ 464 h 483"/>
                <a:gd name="T74" fmla="*/ 130 w 628"/>
                <a:gd name="T75" fmla="*/ 448 h 483"/>
                <a:gd name="T76" fmla="*/ 105 w 628"/>
                <a:gd name="T77" fmla="*/ 431 h 483"/>
                <a:gd name="T78" fmla="*/ 99 w 628"/>
                <a:gd name="T79" fmla="*/ 402 h 483"/>
                <a:gd name="T80" fmla="*/ 103 w 628"/>
                <a:gd name="T81" fmla="*/ 366 h 483"/>
                <a:gd name="T82" fmla="*/ 92 w 628"/>
                <a:gd name="T83" fmla="*/ 348 h 483"/>
                <a:gd name="T84" fmla="*/ 40 w 628"/>
                <a:gd name="T85" fmla="*/ 320 h 483"/>
                <a:gd name="T86" fmla="*/ 7 w 628"/>
                <a:gd name="T87" fmla="*/ 277 h 483"/>
                <a:gd name="T88" fmla="*/ 0 w 628"/>
                <a:gd name="T89" fmla="*/ 254 h 483"/>
                <a:gd name="T90" fmla="*/ 10 w 628"/>
                <a:gd name="T91" fmla="*/ 233 h 483"/>
                <a:gd name="T92" fmla="*/ 52 w 628"/>
                <a:gd name="T93" fmla="*/ 202 h 483"/>
                <a:gd name="T94" fmla="*/ 66 w 628"/>
                <a:gd name="T95" fmla="*/ 148 h 483"/>
                <a:gd name="T96" fmla="*/ 85 w 628"/>
                <a:gd name="T97" fmla="*/ 121 h 483"/>
                <a:gd name="T98" fmla="*/ 120 w 628"/>
                <a:gd name="T99" fmla="*/ 64 h 483"/>
                <a:gd name="T100" fmla="*/ 168 w 628"/>
                <a:gd name="T101" fmla="*/ 51 h 483"/>
                <a:gd name="T102" fmla="*/ 192 w 628"/>
                <a:gd name="T103" fmla="*/ 42 h 483"/>
                <a:gd name="T104" fmla="*/ 222 w 628"/>
                <a:gd name="T105" fmla="*/ 35 h 483"/>
                <a:gd name="T106" fmla="*/ 246 w 628"/>
                <a:gd name="T107" fmla="*/ 56 h 483"/>
                <a:gd name="T108" fmla="*/ 254 w 628"/>
                <a:gd name="T109" fmla="*/ 47 h 483"/>
                <a:gd name="T110" fmla="*/ 276 w 628"/>
                <a:gd name="T111" fmla="*/ 30 h 483"/>
                <a:gd name="T112" fmla="*/ 301 w 628"/>
                <a:gd name="T113" fmla="*/ 17 h 483"/>
                <a:gd name="T114" fmla="*/ 349 w 628"/>
                <a:gd name="T115" fmla="*/ 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483">
                  <a:moveTo>
                    <a:pt x="357" y="1"/>
                  </a:moveTo>
                  <a:lnTo>
                    <a:pt x="363" y="2"/>
                  </a:lnTo>
                  <a:lnTo>
                    <a:pt x="366" y="3"/>
                  </a:lnTo>
                  <a:lnTo>
                    <a:pt x="369" y="4"/>
                  </a:lnTo>
                  <a:lnTo>
                    <a:pt x="374" y="7"/>
                  </a:lnTo>
                  <a:lnTo>
                    <a:pt x="379" y="9"/>
                  </a:lnTo>
                  <a:lnTo>
                    <a:pt x="381" y="10"/>
                  </a:lnTo>
                  <a:lnTo>
                    <a:pt x="392" y="12"/>
                  </a:lnTo>
                  <a:lnTo>
                    <a:pt x="395" y="13"/>
                  </a:lnTo>
                  <a:lnTo>
                    <a:pt x="399" y="15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0" y="20"/>
                  </a:lnTo>
                  <a:lnTo>
                    <a:pt x="412" y="20"/>
                  </a:lnTo>
                  <a:lnTo>
                    <a:pt x="416" y="20"/>
                  </a:lnTo>
                  <a:lnTo>
                    <a:pt x="422" y="20"/>
                  </a:lnTo>
                  <a:lnTo>
                    <a:pt x="426" y="20"/>
                  </a:lnTo>
                  <a:lnTo>
                    <a:pt x="429" y="19"/>
                  </a:lnTo>
                  <a:lnTo>
                    <a:pt x="430" y="19"/>
                  </a:lnTo>
                  <a:lnTo>
                    <a:pt x="437" y="17"/>
                  </a:lnTo>
                  <a:lnTo>
                    <a:pt x="440" y="16"/>
                  </a:lnTo>
                  <a:lnTo>
                    <a:pt x="444" y="15"/>
                  </a:lnTo>
                  <a:lnTo>
                    <a:pt x="446" y="15"/>
                  </a:lnTo>
                  <a:lnTo>
                    <a:pt x="447" y="16"/>
                  </a:lnTo>
                  <a:lnTo>
                    <a:pt x="449" y="16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5" y="19"/>
                  </a:lnTo>
                  <a:lnTo>
                    <a:pt x="462" y="22"/>
                  </a:lnTo>
                  <a:lnTo>
                    <a:pt x="466" y="24"/>
                  </a:lnTo>
                  <a:lnTo>
                    <a:pt x="469" y="25"/>
                  </a:lnTo>
                  <a:lnTo>
                    <a:pt x="470" y="25"/>
                  </a:lnTo>
                  <a:lnTo>
                    <a:pt x="471" y="26"/>
                  </a:lnTo>
                  <a:lnTo>
                    <a:pt x="473" y="26"/>
                  </a:lnTo>
                  <a:lnTo>
                    <a:pt x="474" y="25"/>
                  </a:lnTo>
                  <a:lnTo>
                    <a:pt x="479" y="24"/>
                  </a:lnTo>
                  <a:lnTo>
                    <a:pt x="481" y="23"/>
                  </a:lnTo>
                  <a:lnTo>
                    <a:pt x="483" y="22"/>
                  </a:lnTo>
                  <a:lnTo>
                    <a:pt x="487" y="19"/>
                  </a:lnTo>
                  <a:lnTo>
                    <a:pt x="490" y="17"/>
                  </a:lnTo>
                  <a:lnTo>
                    <a:pt x="501" y="7"/>
                  </a:lnTo>
                  <a:lnTo>
                    <a:pt x="503" y="5"/>
                  </a:lnTo>
                  <a:lnTo>
                    <a:pt x="504" y="5"/>
                  </a:lnTo>
                  <a:lnTo>
                    <a:pt x="506" y="6"/>
                  </a:lnTo>
                  <a:lnTo>
                    <a:pt x="509" y="9"/>
                  </a:lnTo>
                  <a:lnTo>
                    <a:pt x="512" y="11"/>
                  </a:lnTo>
                  <a:lnTo>
                    <a:pt x="515" y="14"/>
                  </a:lnTo>
                  <a:lnTo>
                    <a:pt x="521" y="20"/>
                  </a:lnTo>
                  <a:lnTo>
                    <a:pt x="530" y="29"/>
                  </a:lnTo>
                  <a:lnTo>
                    <a:pt x="538" y="37"/>
                  </a:lnTo>
                  <a:lnTo>
                    <a:pt x="540" y="39"/>
                  </a:lnTo>
                  <a:lnTo>
                    <a:pt x="543" y="44"/>
                  </a:lnTo>
                  <a:lnTo>
                    <a:pt x="546" y="47"/>
                  </a:lnTo>
                  <a:lnTo>
                    <a:pt x="547" y="49"/>
                  </a:lnTo>
                  <a:lnTo>
                    <a:pt x="551" y="56"/>
                  </a:lnTo>
                  <a:lnTo>
                    <a:pt x="553" y="62"/>
                  </a:lnTo>
                  <a:lnTo>
                    <a:pt x="558" y="73"/>
                  </a:lnTo>
                  <a:lnTo>
                    <a:pt x="560" y="78"/>
                  </a:lnTo>
                  <a:lnTo>
                    <a:pt x="562" y="81"/>
                  </a:lnTo>
                  <a:lnTo>
                    <a:pt x="567" y="88"/>
                  </a:lnTo>
                  <a:lnTo>
                    <a:pt x="568" y="89"/>
                  </a:lnTo>
                  <a:lnTo>
                    <a:pt x="569" y="91"/>
                  </a:lnTo>
                  <a:lnTo>
                    <a:pt x="570" y="93"/>
                  </a:lnTo>
                  <a:lnTo>
                    <a:pt x="571" y="96"/>
                  </a:lnTo>
                  <a:lnTo>
                    <a:pt x="571" y="99"/>
                  </a:lnTo>
                  <a:lnTo>
                    <a:pt x="571" y="101"/>
                  </a:lnTo>
                  <a:lnTo>
                    <a:pt x="572" y="103"/>
                  </a:lnTo>
                  <a:lnTo>
                    <a:pt x="572" y="106"/>
                  </a:lnTo>
                  <a:lnTo>
                    <a:pt x="572" y="109"/>
                  </a:lnTo>
                  <a:lnTo>
                    <a:pt x="572" y="111"/>
                  </a:lnTo>
                  <a:lnTo>
                    <a:pt x="571" y="115"/>
                  </a:lnTo>
                  <a:lnTo>
                    <a:pt x="571" y="120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65" y="133"/>
                  </a:lnTo>
                  <a:lnTo>
                    <a:pt x="564" y="136"/>
                  </a:lnTo>
                  <a:lnTo>
                    <a:pt x="564" y="138"/>
                  </a:lnTo>
                  <a:lnTo>
                    <a:pt x="564" y="141"/>
                  </a:lnTo>
                  <a:lnTo>
                    <a:pt x="564" y="142"/>
                  </a:lnTo>
                  <a:lnTo>
                    <a:pt x="565" y="144"/>
                  </a:lnTo>
                  <a:lnTo>
                    <a:pt x="566" y="145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7"/>
                  </a:lnTo>
                  <a:lnTo>
                    <a:pt x="571" y="149"/>
                  </a:lnTo>
                  <a:lnTo>
                    <a:pt x="579" y="151"/>
                  </a:lnTo>
                  <a:lnTo>
                    <a:pt x="585" y="154"/>
                  </a:lnTo>
                  <a:lnTo>
                    <a:pt x="588" y="156"/>
                  </a:lnTo>
                  <a:lnTo>
                    <a:pt x="591" y="157"/>
                  </a:lnTo>
                  <a:lnTo>
                    <a:pt x="593" y="159"/>
                  </a:lnTo>
                  <a:lnTo>
                    <a:pt x="595" y="160"/>
                  </a:lnTo>
                  <a:lnTo>
                    <a:pt x="598" y="164"/>
                  </a:lnTo>
                  <a:lnTo>
                    <a:pt x="601" y="169"/>
                  </a:lnTo>
                  <a:lnTo>
                    <a:pt x="605" y="173"/>
                  </a:lnTo>
                  <a:lnTo>
                    <a:pt x="608" y="178"/>
                  </a:lnTo>
                  <a:lnTo>
                    <a:pt x="611" y="184"/>
                  </a:lnTo>
                  <a:lnTo>
                    <a:pt x="613" y="187"/>
                  </a:lnTo>
                  <a:lnTo>
                    <a:pt x="615" y="191"/>
                  </a:lnTo>
                  <a:lnTo>
                    <a:pt x="616" y="195"/>
                  </a:lnTo>
                  <a:lnTo>
                    <a:pt x="616" y="197"/>
                  </a:lnTo>
                  <a:lnTo>
                    <a:pt x="616" y="199"/>
                  </a:lnTo>
                  <a:lnTo>
                    <a:pt x="616" y="201"/>
                  </a:lnTo>
                  <a:lnTo>
                    <a:pt x="615" y="204"/>
                  </a:lnTo>
                  <a:lnTo>
                    <a:pt x="613" y="206"/>
                  </a:lnTo>
                  <a:lnTo>
                    <a:pt x="609" y="213"/>
                  </a:lnTo>
                  <a:lnTo>
                    <a:pt x="605" y="221"/>
                  </a:lnTo>
                  <a:lnTo>
                    <a:pt x="603" y="224"/>
                  </a:lnTo>
                  <a:lnTo>
                    <a:pt x="601" y="227"/>
                  </a:lnTo>
                  <a:lnTo>
                    <a:pt x="601" y="230"/>
                  </a:lnTo>
                  <a:lnTo>
                    <a:pt x="601" y="232"/>
                  </a:lnTo>
                  <a:lnTo>
                    <a:pt x="600" y="235"/>
                  </a:lnTo>
                  <a:lnTo>
                    <a:pt x="601" y="237"/>
                  </a:lnTo>
                  <a:lnTo>
                    <a:pt x="601" y="239"/>
                  </a:lnTo>
                  <a:lnTo>
                    <a:pt x="601" y="241"/>
                  </a:lnTo>
                  <a:lnTo>
                    <a:pt x="602" y="242"/>
                  </a:lnTo>
                  <a:lnTo>
                    <a:pt x="603" y="244"/>
                  </a:lnTo>
                  <a:lnTo>
                    <a:pt x="605" y="246"/>
                  </a:lnTo>
                  <a:lnTo>
                    <a:pt x="610" y="251"/>
                  </a:lnTo>
                  <a:lnTo>
                    <a:pt x="613" y="257"/>
                  </a:lnTo>
                  <a:lnTo>
                    <a:pt x="616" y="259"/>
                  </a:lnTo>
                  <a:lnTo>
                    <a:pt x="618" y="263"/>
                  </a:lnTo>
                  <a:lnTo>
                    <a:pt x="623" y="268"/>
                  </a:lnTo>
                  <a:lnTo>
                    <a:pt x="625" y="271"/>
                  </a:lnTo>
                  <a:lnTo>
                    <a:pt x="626" y="273"/>
                  </a:lnTo>
                  <a:lnTo>
                    <a:pt x="628" y="274"/>
                  </a:lnTo>
                  <a:lnTo>
                    <a:pt x="628" y="276"/>
                  </a:lnTo>
                  <a:lnTo>
                    <a:pt x="628" y="277"/>
                  </a:lnTo>
                  <a:lnTo>
                    <a:pt x="628" y="278"/>
                  </a:lnTo>
                  <a:lnTo>
                    <a:pt x="627" y="279"/>
                  </a:lnTo>
                  <a:lnTo>
                    <a:pt x="626" y="280"/>
                  </a:lnTo>
                  <a:lnTo>
                    <a:pt x="625" y="281"/>
                  </a:lnTo>
                  <a:lnTo>
                    <a:pt x="622" y="282"/>
                  </a:lnTo>
                  <a:lnTo>
                    <a:pt x="614" y="286"/>
                  </a:lnTo>
                  <a:lnTo>
                    <a:pt x="611" y="288"/>
                  </a:lnTo>
                  <a:lnTo>
                    <a:pt x="606" y="291"/>
                  </a:lnTo>
                  <a:lnTo>
                    <a:pt x="603" y="293"/>
                  </a:lnTo>
                  <a:lnTo>
                    <a:pt x="601" y="295"/>
                  </a:lnTo>
                  <a:lnTo>
                    <a:pt x="598" y="296"/>
                  </a:lnTo>
                  <a:lnTo>
                    <a:pt x="596" y="299"/>
                  </a:lnTo>
                  <a:lnTo>
                    <a:pt x="591" y="305"/>
                  </a:lnTo>
                  <a:lnTo>
                    <a:pt x="589" y="307"/>
                  </a:lnTo>
                  <a:lnTo>
                    <a:pt x="588" y="309"/>
                  </a:lnTo>
                  <a:lnTo>
                    <a:pt x="586" y="311"/>
                  </a:lnTo>
                  <a:lnTo>
                    <a:pt x="586" y="313"/>
                  </a:lnTo>
                  <a:lnTo>
                    <a:pt x="585" y="315"/>
                  </a:lnTo>
                  <a:lnTo>
                    <a:pt x="585" y="316"/>
                  </a:lnTo>
                  <a:lnTo>
                    <a:pt x="585" y="318"/>
                  </a:lnTo>
                  <a:lnTo>
                    <a:pt x="586" y="321"/>
                  </a:lnTo>
                  <a:lnTo>
                    <a:pt x="586" y="322"/>
                  </a:lnTo>
                  <a:lnTo>
                    <a:pt x="588" y="323"/>
                  </a:lnTo>
                  <a:lnTo>
                    <a:pt x="591" y="329"/>
                  </a:lnTo>
                  <a:lnTo>
                    <a:pt x="594" y="333"/>
                  </a:lnTo>
                  <a:lnTo>
                    <a:pt x="595" y="334"/>
                  </a:lnTo>
                  <a:lnTo>
                    <a:pt x="596" y="335"/>
                  </a:lnTo>
                  <a:lnTo>
                    <a:pt x="596" y="336"/>
                  </a:lnTo>
                  <a:lnTo>
                    <a:pt x="596" y="338"/>
                  </a:lnTo>
                  <a:lnTo>
                    <a:pt x="595" y="339"/>
                  </a:lnTo>
                  <a:lnTo>
                    <a:pt x="595" y="341"/>
                  </a:lnTo>
                  <a:lnTo>
                    <a:pt x="591" y="347"/>
                  </a:lnTo>
                  <a:lnTo>
                    <a:pt x="591" y="349"/>
                  </a:lnTo>
                  <a:lnTo>
                    <a:pt x="589" y="351"/>
                  </a:lnTo>
                  <a:lnTo>
                    <a:pt x="588" y="354"/>
                  </a:lnTo>
                  <a:lnTo>
                    <a:pt x="587" y="361"/>
                  </a:lnTo>
                  <a:lnTo>
                    <a:pt x="586" y="364"/>
                  </a:lnTo>
                  <a:lnTo>
                    <a:pt x="585" y="367"/>
                  </a:lnTo>
                  <a:lnTo>
                    <a:pt x="582" y="373"/>
                  </a:lnTo>
                  <a:lnTo>
                    <a:pt x="581" y="375"/>
                  </a:lnTo>
                  <a:lnTo>
                    <a:pt x="581" y="376"/>
                  </a:lnTo>
                  <a:lnTo>
                    <a:pt x="580" y="378"/>
                  </a:lnTo>
                  <a:lnTo>
                    <a:pt x="580" y="380"/>
                  </a:lnTo>
                  <a:lnTo>
                    <a:pt x="580" y="381"/>
                  </a:lnTo>
                  <a:lnTo>
                    <a:pt x="581" y="383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1" y="385"/>
                  </a:lnTo>
                  <a:lnTo>
                    <a:pt x="580" y="386"/>
                  </a:lnTo>
                  <a:lnTo>
                    <a:pt x="578" y="387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91"/>
                  </a:lnTo>
                  <a:lnTo>
                    <a:pt x="575" y="393"/>
                  </a:lnTo>
                  <a:lnTo>
                    <a:pt x="575" y="396"/>
                  </a:lnTo>
                  <a:lnTo>
                    <a:pt x="574" y="399"/>
                  </a:lnTo>
                  <a:lnTo>
                    <a:pt x="573" y="401"/>
                  </a:lnTo>
                  <a:lnTo>
                    <a:pt x="573" y="401"/>
                  </a:lnTo>
                  <a:lnTo>
                    <a:pt x="569" y="406"/>
                  </a:lnTo>
                  <a:lnTo>
                    <a:pt x="568" y="408"/>
                  </a:lnTo>
                  <a:lnTo>
                    <a:pt x="566" y="411"/>
                  </a:lnTo>
                  <a:lnTo>
                    <a:pt x="565" y="415"/>
                  </a:lnTo>
                  <a:lnTo>
                    <a:pt x="563" y="417"/>
                  </a:lnTo>
                  <a:lnTo>
                    <a:pt x="563" y="418"/>
                  </a:lnTo>
                  <a:lnTo>
                    <a:pt x="562" y="418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5" y="418"/>
                  </a:lnTo>
                  <a:lnTo>
                    <a:pt x="552" y="418"/>
                  </a:lnTo>
                  <a:lnTo>
                    <a:pt x="551" y="419"/>
                  </a:lnTo>
                  <a:lnTo>
                    <a:pt x="549" y="420"/>
                  </a:lnTo>
                  <a:lnTo>
                    <a:pt x="544" y="421"/>
                  </a:lnTo>
                  <a:lnTo>
                    <a:pt x="542" y="423"/>
                  </a:lnTo>
                  <a:lnTo>
                    <a:pt x="541" y="424"/>
                  </a:lnTo>
                  <a:lnTo>
                    <a:pt x="539" y="426"/>
                  </a:lnTo>
                  <a:lnTo>
                    <a:pt x="538" y="427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6" y="431"/>
                  </a:lnTo>
                  <a:lnTo>
                    <a:pt x="535" y="430"/>
                  </a:lnTo>
                  <a:lnTo>
                    <a:pt x="534" y="428"/>
                  </a:lnTo>
                  <a:lnTo>
                    <a:pt x="533" y="428"/>
                  </a:lnTo>
                  <a:lnTo>
                    <a:pt x="531" y="426"/>
                  </a:lnTo>
                  <a:lnTo>
                    <a:pt x="528" y="423"/>
                  </a:lnTo>
                  <a:lnTo>
                    <a:pt x="525" y="421"/>
                  </a:lnTo>
                  <a:lnTo>
                    <a:pt x="520" y="419"/>
                  </a:lnTo>
                  <a:lnTo>
                    <a:pt x="516" y="418"/>
                  </a:lnTo>
                  <a:lnTo>
                    <a:pt x="512" y="417"/>
                  </a:lnTo>
                  <a:lnTo>
                    <a:pt x="508" y="417"/>
                  </a:lnTo>
                  <a:lnTo>
                    <a:pt x="504" y="416"/>
                  </a:lnTo>
                  <a:lnTo>
                    <a:pt x="501" y="417"/>
                  </a:lnTo>
                  <a:lnTo>
                    <a:pt x="494" y="418"/>
                  </a:lnTo>
                  <a:lnTo>
                    <a:pt x="488" y="418"/>
                  </a:lnTo>
                  <a:lnTo>
                    <a:pt x="484" y="418"/>
                  </a:lnTo>
                  <a:lnTo>
                    <a:pt x="471" y="416"/>
                  </a:lnTo>
                  <a:lnTo>
                    <a:pt x="464" y="416"/>
                  </a:lnTo>
                  <a:lnTo>
                    <a:pt x="461" y="416"/>
                  </a:lnTo>
                  <a:lnTo>
                    <a:pt x="459" y="416"/>
                  </a:lnTo>
                  <a:lnTo>
                    <a:pt x="455" y="416"/>
                  </a:lnTo>
                  <a:lnTo>
                    <a:pt x="452" y="417"/>
                  </a:lnTo>
                  <a:lnTo>
                    <a:pt x="447" y="418"/>
                  </a:lnTo>
                  <a:lnTo>
                    <a:pt x="446" y="419"/>
                  </a:lnTo>
                  <a:lnTo>
                    <a:pt x="444" y="420"/>
                  </a:lnTo>
                  <a:lnTo>
                    <a:pt x="442" y="421"/>
                  </a:lnTo>
                  <a:lnTo>
                    <a:pt x="441" y="421"/>
                  </a:lnTo>
                  <a:lnTo>
                    <a:pt x="439" y="423"/>
                  </a:lnTo>
                  <a:lnTo>
                    <a:pt x="439" y="424"/>
                  </a:lnTo>
                  <a:lnTo>
                    <a:pt x="436" y="426"/>
                  </a:lnTo>
                  <a:lnTo>
                    <a:pt x="434" y="431"/>
                  </a:lnTo>
                  <a:lnTo>
                    <a:pt x="432" y="433"/>
                  </a:lnTo>
                  <a:lnTo>
                    <a:pt x="431" y="436"/>
                  </a:lnTo>
                  <a:lnTo>
                    <a:pt x="429" y="439"/>
                  </a:lnTo>
                  <a:lnTo>
                    <a:pt x="427" y="447"/>
                  </a:lnTo>
                  <a:lnTo>
                    <a:pt x="426" y="449"/>
                  </a:lnTo>
                  <a:lnTo>
                    <a:pt x="425" y="451"/>
                  </a:lnTo>
                  <a:lnTo>
                    <a:pt x="424" y="452"/>
                  </a:lnTo>
                  <a:lnTo>
                    <a:pt x="423" y="452"/>
                  </a:lnTo>
                  <a:lnTo>
                    <a:pt x="421" y="453"/>
                  </a:lnTo>
                  <a:lnTo>
                    <a:pt x="420" y="452"/>
                  </a:lnTo>
                  <a:lnTo>
                    <a:pt x="419" y="451"/>
                  </a:lnTo>
                  <a:lnTo>
                    <a:pt x="416" y="450"/>
                  </a:lnTo>
                  <a:lnTo>
                    <a:pt x="413" y="446"/>
                  </a:lnTo>
                  <a:lnTo>
                    <a:pt x="411" y="446"/>
                  </a:lnTo>
                  <a:lnTo>
                    <a:pt x="410" y="445"/>
                  </a:lnTo>
                  <a:lnTo>
                    <a:pt x="409" y="444"/>
                  </a:lnTo>
                  <a:lnTo>
                    <a:pt x="406" y="444"/>
                  </a:lnTo>
                  <a:lnTo>
                    <a:pt x="399" y="443"/>
                  </a:lnTo>
                  <a:lnTo>
                    <a:pt x="396" y="443"/>
                  </a:lnTo>
                  <a:lnTo>
                    <a:pt x="394" y="443"/>
                  </a:lnTo>
                  <a:lnTo>
                    <a:pt x="389" y="441"/>
                  </a:lnTo>
                  <a:lnTo>
                    <a:pt x="384" y="440"/>
                  </a:lnTo>
                  <a:lnTo>
                    <a:pt x="382" y="439"/>
                  </a:lnTo>
                  <a:lnTo>
                    <a:pt x="381" y="439"/>
                  </a:lnTo>
                  <a:lnTo>
                    <a:pt x="378" y="439"/>
                  </a:lnTo>
                  <a:lnTo>
                    <a:pt x="376" y="440"/>
                  </a:lnTo>
                  <a:lnTo>
                    <a:pt x="369" y="441"/>
                  </a:lnTo>
                  <a:lnTo>
                    <a:pt x="360" y="443"/>
                  </a:lnTo>
                  <a:lnTo>
                    <a:pt x="357" y="444"/>
                  </a:lnTo>
                  <a:lnTo>
                    <a:pt x="355" y="445"/>
                  </a:lnTo>
                  <a:lnTo>
                    <a:pt x="352" y="445"/>
                  </a:lnTo>
                  <a:lnTo>
                    <a:pt x="349" y="445"/>
                  </a:lnTo>
                  <a:lnTo>
                    <a:pt x="341" y="445"/>
                  </a:lnTo>
                  <a:lnTo>
                    <a:pt x="339" y="445"/>
                  </a:lnTo>
                  <a:lnTo>
                    <a:pt x="334" y="445"/>
                  </a:lnTo>
                  <a:lnTo>
                    <a:pt x="328" y="446"/>
                  </a:lnTo>
                  <a:lnTo>
                    <a:pt x="324" y="447"/>
                  </a:lnTo>
                  <a:lnTo>
                    <a:pt x="320" y="446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4"/>
                  </a:lnTo>
                  <a:lnTo>
                    <a:pt x="308" y="443"/>
                  </a:lnTo>
                  <a:lnTo>
                    <a:pt x="306" y="441"/>
                  </a:lnTo>
                  <a:lnTo>
                    <a:pt x="304" y="438"/>
                  </a:lnTo>
                  <a:lnTo>
                    <a:pt x="302" y="436"/>
                  </a:lnTo>
                  <a:lnTo>
                    <a:pt x="301" y="433"/>
                  </a:lnTo>
                  <a:lnTo>
                    <a:pt x="301" y="432"/>
                  </a:lnTo>
                  <a:lnTo>
                    <a:pt x="301" y="431"/>
                  </a:lnTo>
                  <a:lnTo>
                    <a:pt x="301" y="430"/>
                  </a:lnTo>
                  <a:lnTo>
                    <a:pt x="300" y="430"/>
                  </a:lnTo>
                  <a:lnTo>
                    <a:pt x="299" y="431"/>
                  </a:lnTo>
                  <a:lnTo>
                    <a:pt x="298" y="432"/>
                  </a:lnTo>
                  <a:lnTo>
                    <a:pt x="296" y="433"/>
                  </a:lnTo>
                  <a:lnTo>
                    <a:pt x="295" y="436"/>
                  </a:lnTo>
                  <a:lnTo>
                    <a:pt x="291" y="443"/>
                  </a:lnTo>
                  <a:lnTo>
                    <a:pt x="291" y="445"/>
                  </a:lnTo>
                  <a:lnTo>
                    <a:pt x="289" y="446"/>
                  </a:lnTo>
                  <a:lnTo>
                    <a:pt x="289" y="448"/>
                  </a:lnTo>
                  <a:lnTo>
                    <a:pt x="287" y="449"/>
                  </a:lnTo>
                  <a:lnTo>
                    <a:pt x="286" y="450"/>
                  </a:lnTo>
                  <a:lnTo>
                    <a:pt x="284" y="451"/>
                  </a:lnTo>
                  <a:lnTo>
                    <a:pt x="281" y="453"/>
                  </a:lnTo>
                  <a:lnTo>
                    <a:pt x="278" y="453"/>
                  </a:lnTo>
                  <a:lnTo>
                    <a:pt x="275" y="455"/>
                  </a:lnTo>
                  <a:lnTo>
                    <a:pt x="269" y="456"/>
                  </a:lnTo>
                  <a:lnTo>
                    <a:pt x="265" y="456"/>
                  </a:lnTo>
                  <a:lnTo>
                    <a:pt x="259" y="458"/>
                  </a:lnTo>
                  <a:lnTo>
                    <a:pt x="254" y="459"/>
                  </a:lnTo>
                  <a:lnTo>
                    <a:pt x="247" y="463"/>
                  </a:lnTo>
                  <a:lnTo>
                    <a:pt x="244" y="464"/>
                  </a:lnTo>
                  <a:lnTo>
                    <a:pt x="242" y="466"/>
                  </a:lnTo>
                  <a:lnTo>
                    <a:pt x="239" y="468"/>
                  </a:lnTo>
                  <a:lnTo>
                    <a:pt x="235" y="472"/>
                  </a:lnTo>
                  <a:lnTo>
                    <a:pt x="233" y="473"/>
                  </a:lnTo>
                  <a:lnTo>
                    <a:pt x="224" y="479"/>
                  </a:lnTo>
                  <a:lnTo>
                    <a:pt x="222" y="480"/>
                  </a:lnTo>
                  <a:lnTo>
                    <a:pt x="220" y="481"/>
                  </a:lnTo>
                  <a:lnTo>
                    <a:pt x="217" y="482"/>
                  </a:lnTo>
                  <a:lnTo>
                    <a:pt x="214" y="482"/>
                  </a:lnTo>
                  <a:lnTo>
                    <a:pt x="212" y="483"/>
                  </a:lnTo>
                  <a:lnTo>
                    <a:pt x="209" y="483"/>
                  </a:lnTo>
                  <a:lnTo>
                    <a:pt x="207" y="482"/>
                  </a:lnTo>
                  <a:lnTo>
                    <a:pt x="204" y="481"/>
                  </a:lnTo>
                  <a:lnTo>
                    <a:pt x="203" y="481"/>
                  </a:lnTo>
                  <a:lnTo>
                    <a:pt x="202" y="479"/>
                  </a:lnTo>
                  <a:lnTo>
                    <a:pt x="193" y="472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89" y="471"/>
                  </a:lnTo>
                  <a:lnTo>
                    <a:pt x="187" y="471"/>
                  </a:lnTo>
                  <a:lnTo>
                    <a:pt x="186" y="471"/>
                  </a:lnTo>
                  <a:lnTo>
                    <a:pt x="182" y="471"/>
                  </a:lnTo>
                  <a:lnTo>
                    <a:pt x="179" y="471"/>
                  </a:lnTo>
                  <a:lnTo>
                    <a:pt x="177" y="471"/>
                  </a:lnTo>
                  <a:lnTo>
                    <a:pt x="174" y="470"/>
                  </a:lnTo>
                  <a:lnTo>
                    <a:pt x="171" y="468"/>
                  </a:lnTo>
                  <a:lnTo>
                    <a:pt x="160" y="464"/>
                  </a:lnTo>
                  <a:lnTo>
                    <a:pt x="140" y="457"/>
                  </a:lnTo>
                  <a:lnTo>
                    <a:pt x="138" y="456"/>
                  </a:lnTo>
                  <a:lnTo>
                    <a:pt x="136" y="455"/>
                  </a:lnTo>
                  <a:lnTo>
                    <a:pt x="134" y="454"/>
                  </a:lnTo>
                  <a:lnTo>
                    <a:pt x="133" y="453"/>
                  </a:lnTo>
                  <a:lnTo>
                    <a:pt x="133" y="453"/>
                  </a:lnTo>
                  <a:lnTo>
                    <a:pt x="133" y="452"/>
                  </a:lnTo>
                  <a:lnTo>
                    <a:pt x="132" y="450"/>
                  </a:lnTo>
                  <a:lnTo>
                    <a:pt x="130" y="448"/>
                  </a:lnTo>
                  <a:lnTo>
                    <a:pt x="128" y="446"/>
                  </a:lnTo>
                  <a:lnTo>
                    <a:pt x="126" y="445"/>
                  </a:lnTo>
                  <a:lnTo>
                    <a:pt x="124" y="444"/>
                  </a:lnTo>
                  <a:lnTo>
                    <a:pt x="115" y="440"/>
                  </a:lnTo>
                  <a:lnTo>
                    <a:pt x="113" y="438"/>
                  </a:lnTo>
                  <a:lnTo>
                    <a:pt x="111" y="437"/>
                  </a:lnTo>
                  <a:lnTo>
                    <a:pt x="109" y="436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3" y="427"/>
                  </a:lnTo>
                  <a:lnTo>
                    <a:pt x="102" y="424"/>
                  </a:lnTo>
                  <a:lnTo>
                    <a:pt x="101" y="422"/>
                  </a:lnTo>
                  <a:lnTo>
                    <a:pt x="101" y="420"/>
                  </a:lnTo>
                  <a:lnTo>
                    <a:pt x="101" y="418"/>
                  </a:lnTo>
                  <a:lnTo>
                    <a:pt x="100" y="411"/>
                  </a:lnTo>
                  <a:lnTo>
                    <a:pt x="100" y="409"/>
                  </a:lnTo>
                  <a:lnTo>
                    <a:pt x="99" y="404"/>
                  </a:lnTo>
                  <a:lnTo>
                    <a:pt x="99" y="402"/>
                  </a:lnTo>
                  <a:lnTo>
                    <a:pt x="99" y="401"/>
                  </a:lnTo>
                  <a:lnTo>
                    <a:pt x="99" y="397"/>
                  </a:lnTo>
                  <a:lnTo>
                    <a:pt x="101" y="390"/>
                  </a:lnTo>
                  <a:lnTo>
                    <a:pt x="102" y="382"/>
                  </a:lnTo>
                  <a:lnTo>
                    <a:pt x="104" y="376"/>
                  </a:lnTo>
                  <a:lnTo>
                    <a:pt x="104" y="373"/>
                  </a:lnTo>
                  <a:lnTo>
                    <a:pt x="104" y="370"/>
                  </a:lnTo>
                  <a:lnTo>
                    <a:pt x="104" y="368"/>
                  </a:lnTo>
                  <a:lnTo>
                    <a:pt x="103" y="366"/>
                  </a:lnTo>
                  <a:lnTo>
                    <a:pt x="102" y="361"/>
                  </a:lnTo>
                  <a:lnTo>
                    <a:pt x="102" y="359"/>
                  </a:lnTo>
                  <a:lnTo>
                    <a:pt x="100" y="357"/>
                  </a:lnTo>
                  <a:lnTo>
                    <a:pt x="99" y="355"/>
                  </a:lnTo>
                  <a:lnTo>
                    <a:pt x="98" y="353"/>
                  </a:lnTo>
                  <a:lnTo>
                    <a:pt x="97" y="351"/>
                  </a:lnTo>
                  <a:lnTo>
                    <a:pt x="96" y="350"/>
                  </a:lnTo>
                  <a:lnTo>
                    <a:pt x="94" y="349"/>
                  </a:lnTo>
                  <a:lnTo>
                    <a:pt x="92" y="348"/>
                  </a:lnTo>
                  <a:lnTo>
                    <a:pt x="91" y="347"/>
                  </a:lnTo>
                  <a:lnTo>
                    <a:pt x="89" y="346"/>
                  </a:lnTo>
                  <a:lnTo>
                    <a:pt x="79" y="342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69" y="338"/>
                  </a:lnTo>
                  <a:lnTo>
                    <a:pt x="61" y="333"/>
                  </a:lnTo>
                  <a:lnTo>
                    <a:pt x="45" y="323"/>
                  </a:lnTo>
                  <a:lnTo>
                    <a:pt x="40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31" y="313"/>
                  </a:lnTo>
                  <a:lnTo>
                    <a:pt x="29" y="311"/>
                  </a:lnTo>
                  <a:lnTo>
                    <a:pt x="27" y="308"/>
                  </a:lnTo>
                  <a:lnTo>
                    <a:pt x="22" y="302"/>
                  </a:lnTo>
                  <a:lnTo>
                    <a:pt x="19" y="296"/>
                  </a:lnTo>
                  <a:lnTo>
                    <a:pt x="13" y="286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4" y="271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1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6"/>
                  </a:lnTo>
                  <a:lnTo>
                    <a:pt x="0" y="254"/>
                  </a:lnTo>
                  <a:lnTo>
                    <a:pt x="0" y="251"/>
                  </a:lnTo>
                  <a:lnTo>
                    <a:pt x="0" y="249"/>
                  </a:lnTo>
                  <a:lnTo>
                    <a:pt x="1" y="246"/>
                  </a:lnTo>
                  <a:lnTo>
                    <a:pt x="2" y="244"/>
                  </a:lnTo>
                  <a:lnTo>
                    <a:pt x="3" y="241"/>
                  </a:lnTo>
                  <a:lnTo>
                    <a:pt x="5" y="239"/>
                  </a:lnTo>
                  <a:lnTo>
                    <a:pt x="6" y="236"/>
                  </a:lnTo>
                  <a:lnTo>
                    <a:pt x="8" y="234"/>
                  </a:lnTo>
                  <a:lnTo>
                    <a:pt x="10" y="233"/>
                  </a:lnTo>
                  <a:lnTo>
                    <a:pt x="12" y="231"/>
                  </a:lnTo>
                  <a:lnTo>
                    <a:pt x="18" y="226"/>
                  </a:lnTo>
                  <a:lnTo>
                    <a:pt x="24" y="223"/>
                  </a:lnTo>
                  <a:lnTo>
                    <a:pt x="39" y="214"/>
                  </a:lnTo>
                  <a:lnTo>
                    <a:pt x="42" y="211"/>
                  </a:lnTo>
                  <a:lnTo>
                    <a:pt x="45" y="209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2" y="202"/>
                  </a:lnTo>
                  <a:lnTo>
                    <a:pt x="54" y="201"/>
                  </a:lnTo>
                  <a:lnTo>
                    <a:pt x="54" y="199"/>
                  </a:lnTo>
                  <a:lnTo>
                    <a:pt x="55" y="197"/>
                  </a:lnTo>
                  <a:lnTo>
                    <a:pt x="56" y="196"/>
                  </a:lnTo>
                  <a:lnTo>
                    <a:pt x="57" y="194"/>
                  </a:lnTo>
                  <a:lnTo>
                    <a:pt x="58" y="184"/>
                  </a:lnTo>
                  <a:lnTo>
                    <a:pt x="59" y="174"/>
                  </a:lnTo>
                  <a:lnTo>
                    <a:pt x="60" y="168"/>
                  </a:lnTo>
                  <a:lnTo>
                    <a:pt x="66" y="148"/>
                  </a:lnTo>
                  <a:lnTo>
                    <a:pt x="67" y="144"/>
                  </a:lnTo>
                  <a:lnTo>
                    <a:pt x="69" y="141"/>
                  </a:lnTo>
                  <a:lnTo>
                    <a:pt x="71" y="138"/>
                  </a:lnTo>
                  <a:lnTo>
                    <a:pt x="73" y="135"/>
                  </a:lnTo>
                  <a:lnTo>
                    <a:pt x="75" y="133"/>
                  </a:lnTo>
                  <a:lnTo>
                    <a:pt x="81" y="128"/>
                  </a:lnTo>
                  <a:lnTo>
                    <a:pt x="82" y="126"/>
                  </a:lnTo>
                  <a:lnTo>
                    <a:pt x="83" y="125"/>
                  </a:lnTo>
                  <a:lnTo>
                    <a:pt x="85" y="121"/>
                  </a:lnTo>
                  <a:lnTo>
                    <a:pt x="90" y="112"/>
                  </a:lnTo>
                  <a:lnTo>
                    <a:pt x="92" y="109"/>
                  </a:lnTo>
                  <a:lnTo>
                    <a:pt x="97" y="103"/>
                  </a:lnTo>
                  <a:lnTo>
                    <a:pt x="99" y="99"/>
                  </a:lnTo>
                  <a:lnTo>
                    <a:pt x="102" y="94"/>
                  </a:lnTo>
                  <a:lnTo>
                    <a:pt x="110" y="80"/>
                  </a:lnTo>
                  <a:lnTo>
                    <a:pt x="114" y="73"/>
                  </a:lnTo>
                  <a:lnTo>
                    <a:pt x="117" y="69"/>
                  </a:lnTo>
                  <a:lnTo>
                    <a:pt x="120" y="64"/>
                  </a:lnTo>
                  <a:lnTo>
                    <a:pt x="124" y="59"/>
                  </a:lnTo>
                  <a:lnTo>
                    <a:pt x="131" y="50"/>
                  </a:lnTo>
                  <a:lnTo>
                    <a:pt x="134" y="47"/>
                  </a:lnTo>
                  <a:lnTo>
                    <a:pt x="136" y="43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2" y="44"/>
                  </a:lnTo>
                  <a:lnTo>
                    <a:pt x="154" y="47"/>
                  </a:lnTo>
                  <a:lnTo>
                    <a:pt x="168" y="51"/>
                  </a:lnTo>
                  <a:lnTo>
                    <a:pt x="172" y="51"/>
                  </a:lnTo>
                  <a:lnTo>
                    <a:pt x="174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3" y="49"/>
                  </a:lnTo>
                  <a:lnTo>
                    <a:pt x="185" y="48"/>
                  </a:lnTo>
                  <a:lnTo>
                    <a:pt x="188" y="47"/>
                  </a:lnTo>
                  <a:lnTo>
                    <a:pt x="192" y="42"/>
                  </a:lnTo>
                  <a:lnTo>
                    <a:pt x="195" y="40"/>
                  </a:lnTo>
                  <a:lnTo>
                    <a:pt x="199" y="39"/>
                  </a:lnTo>
                  <a:lnTo>
                    <a:pt x="202" y="37"/>
                  </a:lnTo>
                  <a:lnTo>
                    <a:pt x="207" y="36"/>
                  </a:lnTo>
                  <a:lnTo>
                    <a:pt x="210" y="35"/>
                  </a:lnTo>
                  <a:lnTo>
                    <a:pt x="214" y="34"/>
                  </a:lnTo>
                  <a:lnTo>
                    <a:pt x="217" y="34"/>
                  </a:lnTo>
                  <a:lnTo>
                    <a:pt x="219" y="35"/>
                  </a:lnTo>
                  <a:lnTo>
                    <a:pt x="222" y="35"/>
                  </a:lnTo>
                  <a:lnTo>
                    <a:pt x="226" y="37"/>
                  </a:lnTo>
                  <a:lnTo>
                    <a:pt x="229" y="38"/>
                  </a:lnTo>
                  <a:lnTo>
                    <a:pt x="232" y="39"/>
                  </a:lnTo>
                  <a:lnTo>
                    <a:pt x="234" y="42"/>
                  </a:lnTo>
                  <a:lnTo>
                    <a:pt x="237" y="44"/>
                  </a:lnTo>
                  <a:lnTo>
                    <a:pt x="239" y="47"/>
                  </a:lnTo>
                  <a:lnTo>
                    <a:pt x="243" y="52"/>
                  </a:lnTo>
                  <a:lnTo>
                    <a:pt x="245" y="54"/>
                  </a:lnTo>
                  <a:lnTo>
                    <a:pt x="246" y="56"/>
                  </a:lnTo>
                  <a:lnTo>
                    <a:pt x="247" y="56"/>
                  </a:lnTo>
                  <a:lnTo>
                    <a:pt x="248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0" y="56"/>
                  </a:lnTo>
                  <a:lnTo>
                    <a:pt x="252" y="54"/>
                  </a:lnTo>
                  <a:lnTo>
                    <a:pt x="252" y="53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9" y="42"/>
                  </a:lnTo>
                  <a:lnTo>
                    <a:pt x="262" y="40"/>
                  </a:lnTo>
                  <a:lnTo>
                    <a:pt x="264" y="39"/>
                  </a:lnTo>
                  <a:lnTo>
                    <a:pt x="270" y="35"/>
                  </a:lnTo>
                  <a:lnTo>
                    <a:pt x="273" y="33"/>
                  </a:lnTo>
                  <a:lnTo>
                    <a:pt x="275" y="32"/>
                  </a:lnTo>
                  <a:lnTo>
                    <a:pt x="276" y="30"/>
                  </a:lnTo>
                  <a:lnTo>
                    <a:pt x="279" y="26"/>
                  </a:lnTo>
                  <a:lnTo>
                    <a:pt x="280" y="24"/>
                  </a:lnTo>
                  <a:lnTo>
                    <a:pt x="281" y="24"/>
                  </a:lnTo>
                  <a:lnTo>
                    <a:pt x="283" y="23"/>
                  </a:lnTo>
                  <a:lnTo>
                    <a:pt x="284" y="22"/>
                  </a:lnTo>
                  <a:lnTo>
                    <a:pt x="286" y="22"/>
                  </a:lnTo>
                  <a:lnTo>
                    <a:pt x="293" y="19"/>
                  </a:lnTo>
                  <a:lnTo>
                    <a:pt x="297" y="18"/>
                  </a:lnTo>
                  <a:lnTo>
                    <a:pt x="301" y="17"/>
                  </a:lnTo>
                  <a:lnTo>
                    <a:pt x="308" y="14"/>
                  </a:lnTo>
                  <a:lnTo>
                    <a:pt x="311" y="13"/>
                  </a:lnTo>
                  <a:lnTo>
                    <a:pt x="315" y="12"/>
                  </a:lnTo>
                  <a:lnTo>
                    <a:pt x="326" y="11"/>
                  </a:lnTo>
                  <a:lnTo>
                    <a:pt x="336" y="9"/>
                  </a:lnTo>
                  <a:lnTo>
                    <a:pt x="339" y="9"/>
                  </a:lnTo>
                  <a:lnTo>
                    <a:pt x="340" y="9"/>
                  </a:lnTo>
                  <a:lnTo>
                    <a:pt x="344" y="7"/>
                  </a:lnTo>
                  <a:lnTo>
                    <a:pt x="349" y="5"/>
                  </a:lnTo>
                  <a:lnTo>
                    <a:pt x="352" y="3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7" y="1"/>
                  </a:lnTo>
                  <a:close/>
                </a:path>
              </a:pathLst>
            </a:custGeom>
            <a:solidFill>
              <a:srgbClr val="D1D1D1"/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Rectangle 191">
              <a:extLst>
                <a:ext uri="{FF2B5EF4-FFF2-40B4-BE49-F238E27FC236}">
                  <a16:creationId xmlns:a16="http://schemas.microsoft.com/office/drawing/2014/main" id="{C545C228-D0F4-863E-1922-9B5868E93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3324" y="1911613"/>
              <a:ext cx="134652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</a:p>
          </p:txBody>
        </p:sp>
        <p:sp>
          <p:nvSpPr>
            <p:cNvPr id="243" name="Rectangle 207">
              <a:extLst>
                <a:ext uri="{FF2B5EF4-FFF2-40B4-BE49-F238E27FC236}">
                  <a16:creationId xmlns:a16="http://schemas.microsoft.com/office/drawing/2014/main" id="{7AB3E0F8-8D03-D653-7498-3D700B77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93" y="793275"/>
              <a:ext cx="131446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C</a:t>
              </a:r>
            </a:p>
          </p:txBody>
        </p:sp>
        <p:sp>
          <p:nvSpPr>
            <p:cNvPr id="244" name="Rectangle 210">
              <a:extLst>
                <a:ext uri="{FF2B5EF4-FFF2-40B4-BE49-F238E27FC236}">
                  <a16:creationId xmlns:a16="http://schemas.microsoft.com/office/drawing/2014/main" id="{6AE6C041-1FD0-6A94-5488-7C9288CA5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8998" y="512088"/>
              <a:ext cx="129844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S</a:t>
              </a:r>
            </a:p>
          </p:txBody>
        </p:sp>
        <p:sp>
          <p:nvSpPr>
            <p:cNvPr id="245" name="Rectangle 218">
              <a:extLst>
                <a:ext uri="{FF2B5EF4-FFF2-40B4-BE49-F238E27FC236}">
                  <a16:creationId xmlns:a16="http://schemas.microsoft.com/office/drawing/2014/main" id="{76B66EFA-619C-AA5E-0CC6-32A63313D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029" y="1281154"/>
              <a:ext cx="110608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J</a:t>
              </a:r>
            </a:p>
          </p:txBody>
        </p:sp>
        <p:sp>
          <p:nvSpPr>
            <p:cNvPr id="246" name="Rectangle 225">
              <a:extLst>
                <a:ext uri="{FF2B5EF4-FFF2-40B4-BE49-F238E27FC236}">
                  <a16:creationId xmlns:a16="http://schemas.microsoft.com/office/drawing/2014/main" id="{4DB6DD71-C97B-6EFD-EBF4-0026218E5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346" y="1428412"/>
              <a:ext cx="166712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</a:t>
              </a:r>
            </a:p>
          </p:txBody>
        </p:sp>
        <p:sp>
          <p:nvSpPr>
            <p:cNvPr id="247" name="Rectangle 249">
              <a:extLst>
                <a:ext uri="{FF2B5EF4-FFF2-40B4-BE49-F238E27FC236}">
                  <a16:creationId xmlns:a16="http://schemas.microsoft.com/office/drawing/2014/main" id="{4D944E0E-4B06-3965-D16D-A8E79477D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603" y="703241"/>
              <a:ext cx="158698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</a:t>
              </a:r>
            </a:p>
          </p:txBody>
        </p:sp>
        <p:sp>
          <p:nvSpPr>
            <p:cNvPr id="248" name="Rectangle 264">
              <a:extLst>
                <a:ext uri="{FF2B5EF4-FFF2-40B4-BE49-F238E27FC236}">
                  <a16:creationId xmlns:a16="http://schemas.microsoft.com/office/drawing/2014/main" id="{483C8CE1-848F-A1FA-34DF-26E09D858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2193" y="894448"/>
              <a:ext cx="181140" cy="1538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0460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délník 19">
            <a:extLst>
              <a:ext uri="{FF2B5EF4-FFF2-40B4-BE49-F238E27FC236}">
                <a16:creationId xmlns:a16="http://schemas.microsoft.com/office/drawing/2014/main" id="{076A7662-2018-A293-1A5C-47041A1A4825}"/>
              </a:ext>
            </a:extLst>
          </p:cNvPr>
          <p:cNvSpPr/>
          <p:nvPr/>
        </p:nvSpPr>
        <p:spPr>
          <a:xfrm>
            <a:off x="696408" y="4465945"/>
            <a:ext cx="10404000" cy="250705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9B8C5DF-55F7-2D85-D032-E3D6ADB36F9A}"/>
              </a:ext>
            </a:extLst>
          </p:cNvPr>
          <p:cNvSpPr/>
          <p:nvPr/>
        </p:nvSpPr>
        <p:spPr>
          <a:xfrm>
            <a:off x="696408" y="1862432"/>
            <a:ext cx="10404000" cy="234000"/>
          </a:xfrm>
          <a:prstGeom prst="rect">
            <a:avLst/>
          </a:prstGeom>
          <a:solidFill>
            <a:srgbClr val="FFB9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Nadpis 17">
            <a:extLst>
              <a:ext uri="{FF2B5EF4-FFF2-40B4-BE49-F238E27FC236}">
                <a16:creationId xmlns:a16="http://schemas.microsoft.com/office/drawing/2014/main" id="{72CE58F4-DC4A-537B-6056-99AF97F47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Podíl a zastoupení stadií u nově diagnostikovaných pacientek se ZN prsu (C50) v krajích ČR (období 2019–2023)</a:t>
            </a:r>
            <a:br>
              <a:rPr lang="cs-CZ" sz="2400" dirty="0"/>
            </a:br>
            <a:endParaRPr lang="cs-CZ" sz="2400" dirty="0"/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B9DA35E5-8A09-CECA-B5DA-0FC85A9AB47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6250" y="1507803"/>
          <a:ext cx="9953625" cy="4825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D553C8EA-D986-D082-2419-08F1A3F18312}"/>
              </a:ext>
            </a:extLst>
          </p:cNvPr>
          <p:cNvSpPr/>
          <p:nvPr/>
        </p:nvSpPr>
        <p:spPr>
          <a:xfrm>
            <a:off x="2006188" y="1168659"/>
            <a:ext cx="87129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dium při diagnóze:        1         2        3        4         neuvedeno z objektivních důvodů        neznámo – neúplný záznam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45BC298B-F877-486C-0C5E-3017B1BC3D12}"/>
              </a:ext>
            </a:extLst>
          </p:cNvPr>
          <p:cNvSpPr/>
          <p:nvPr/>
        </p:nvSpPr>
        <p:spPr>
          <a:xfrm>
            <a:off x="3760997" y="1186890"/>
            <a:ext cx="144000" cy="144000"/>
          </a:xfrm>
          <a:prstGeom prst="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F25BBBA-8BCC-FD13-49E9-2D1F042BA4CD}"/>
              </a:ext>
            </a:extLst>
          </p:cNvPr>
          <p:cNvSpPr/>
          <p:nvPr/>
        </p:nvSpPr>
        <p:spPr>
          <a:xfrm>
            <a:off x="4208720" y="1186890"/>
            <a:ext cx="144000" cy="144000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37A24B2-E0A4-712E-DF4E-0177B0DE4371}"/>
              </a:ext>
            </a:extLst>
          </p:cNvPr>
          <p:cNvSpPr/>
          <p:nvPr/>
        </p:nvSpPr>
        <p:spPr>
          <a:xfrm>
            <a:off x="4656443" y="1186890"/>
            <a:ext cx="144000" cy="144000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4A3DD82B-1442-2F74-D898-F063A31F0C38}"/>
              </a:ext>
            </a:extLst>
          </p:cNvPr>
          <p:cNvSpPr/>
          <p:nvPr/>
        </p:nvSpPr>
        <p:spPr>
          <a:xfrm>
            <a:off x="5104166" y="1186890"/>
            <a:ext cx="144000" cy="144000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75172B2-2A2F-75D9-647F-F220FD25B602}"/>
              </a:ext>
            </a:extLst>
          </p:cNvPr>
          <p:cNvSpPr/>
          <p:nvPr/>
        </p:nvSpPr>
        <p:spPr>
          <a:xfrm>
            <a:off x="5551889" y="1186890"/>
            <a:ext cx="144000" cy="144000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3256543-FB67-A49A-F0F2-CFABB320D562}"/>
              </a:ext>
            </a:extLst>
          </p:cNvPr>
          <p:cNvSpPr/>
          <p:nvPr/>
        </p:nvSpPr>
        <p:spPr>
          <a:xfrm>
            <a:off x="8359651" y="1186890"/>
            <a:ext cx="144000" cy="14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13319F71-58F1-AA27-6D5D-79A802C1B7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33351" y="1470160"/>
            <a:ext cx="18024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počet nově diagnostikovaných ročně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A8CE454-7912-1DC0-DA3F-B12D9D70BBE4}"/>
              </a:ext>
            </a:extLst>
          </p:cNvPr>
          <p:cNvGraphicFramePr>
            <a:graphicFrameLocks noGrp="1"/>
          </p:cNvGraphicFramePr>
          <p:nvPr/>
        </p:nvGraphicFramePr>
        <p:xfrm>
          <a:off x="10325055" y="1837547"/>
          <a:ext cx="904919" cy="4349565"/>
        </p:xfrm>
        <a:graphic>
          <a:graphicData uri="http://schemas.openxmlformats.org/drawingml/2006/table">
            <a:tbl>
              <a:tblPr/>
              <a:tblGrid>
                <a:gridCol w="904919">
                  <a:extLst>
                    <a:ext uri="{9D8B030D-6E8A-4147-A177-3AD203B41FA5}">
                      <a16:colId xmlns:a16="http://schemas.microsoft.com/office/drawing/2014/main" val="4292166783"/>
                    </a:ext>
                  </a:extLst>
                </a:gridCol>
              </a:tblGrid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69627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345229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48265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0840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4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31573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5341452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69204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3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9200780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9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44038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7 6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61700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9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9309228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1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594631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5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1065283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9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3975297"/>
                  </a:ext>
                </a:extLst>
              </a:tr>
              <a:tr h="28997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= 8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5493707"/>
                  </a:ext>
                </a:extLst>
              </a:tr>
            </a:tbl>
          </a:graphicData>
        </a:graphic>
      </p:graphicFrame>
      <p:sp>
        <p:nvSpPr>
          <p:cNvPr id="14" name="TextBox 6">
            <a:extLst>
              <a:ext uri="{FF2B5EF4-FFF2-40B4-BE49-F238E27FC236}">
                <a16:creationId xmlns:a16="http://schemas.microsoft.com/office/drawing/2014/main" id="{BCBE1F97-0821-B054-C1C8-0E807C8D8DA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96943" y="796716"/>
            <a:ext cx="2305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onkologický regist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03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164993" y="845290"/>
          <a:ext cx="10847403" cy="5541620"/>
        </p:xfrm>
        <a:graphic>
          <a:graphicData uri="http://schemas.openxmlformats.org/drawingml/2006/table">
            <a:tbl>
              <a:tblPr/>
              <a:tblGrid>
                <a:gridCol w="2886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23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57058986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3282790491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274195822"/>
                    </a:ext>
                  </a:extLst>
                </a:gridCol>
                <a:gridCol w="774686">
                  <a:extLst>
                    <a:ext uri="{9D8B030D-6E8A-4147-A177-3AD203B41FA5}">
                      <a16:colId xmlns:a16="http://schemas.microsoft.com/office/drawing/2014/main" val="1185986903"/>
                    </a:ext>
                  </a:extLst>
                </a:gridCol>
              </a:tblGrid>
              <a:tr h="595941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4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kohorta 2015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19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elativní přežití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 (%, perioda 2020</a:t>
                      </a:r>
                      <a:r>
                        <a:rPr kumimoji="0" lang="cs-CZ" altLang="cs-CZ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 "/>
                          <a:ea typeface="+mn-ea"/>
                          <a:cs typeface="+mn-cs"/>
                        </a:rPr>
                        <a:t>–</a:t>
                      </a:r>
                      <a:r>
                        <a:rPr lang="cs-CZ" sz="1200" b="1" i="0" u="none" strike="noStrike" baseline="0" dirty="0">
                          <a:solidFill>
                            <a:schemeClr val="tx1"/>
                          </a:solidFill>
                          <a:latin typeface="Calibri  "/>
                        </a:rPr>
                        <a:t>2022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Calibri  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Rozdíl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latin typeface="Calibri  "/>
                        </a:rPr>
                        <a:t>přežití</a:t>
                      </a: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7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.1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.8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9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0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3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 lymfom (C8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9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8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5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2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8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2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Hodgkinův lymfom (C82–C8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7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.6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8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6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.9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. střeva a konečníku (C18–C2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3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5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3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ivových a měk. tkání (C47, C49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.5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1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46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4.1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4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8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4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29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9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22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47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020682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 a míchy (C70–C7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6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94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143575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 a plíce (C33, C3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.03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66751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. cest (C23, C24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5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.8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67518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3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7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18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989520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9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0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.71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42486"/>
                  </a:ext>
                </a:extLst>
              </a:tr>
              <a:tr h="183004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ahep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žluč. cest (C22)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8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2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.20 %</a:t>
                      </a:r>
                    </a:p>
                  </a:txBody>
                  <a:tcPr marL="6350" marR="6350" marT="635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Vývoj 5letého relativního přežití pacientů v České republice</a:t>
            </a:r>
          </a:p>
        </p:txBody>
      </p:sp>
      <p:sp>
        <p:nvSpPr>
          <p:cNvPr id="3" name="TextovéPole 20">
            <a:extLst>
              <a:ext uri="{FF2B5EF4-FFF2-40B4-BE49-F238E27FC236}">
                <a16:creationId xmlns:a16="http://schemas.microsoft.com/office/drawing/2014/main" id="{5E71DC4B-3B54-4FCB-8BD9-8A49465B98B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998" y="703701"/>
            <a:ext cx="53384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y jsou řazeny sestupně dle 5letého přežití pro analýzu periody 2020</a:t>
            </a:r>
            <a:r>
              <a:rPr kumimoji="0" lang="cs-CZ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</a:t>
            </a: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2.</a:t>
            </a:r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371783" y="964161"/>
          <a:ext cx="5540228" cy="542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36801" y="891040"/>
            <a:ext cx="30257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[%]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/>
        </p:nvSpPr>
        <p:spPr>
          <a:xfrm>
            <a:off x="271398" y="883273"/>
            <a:ext cx="29354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roj: Národní onkologický registr, ÚZIS ČR</a:t>
            </a: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232CFFF3-BC01-473A-A980-39DAF219E2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8000" y="530262"/>
            <a:ext cx="5674925" cy="26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0" rIns="91420" bIns="4571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ichni pacienti s diagnostikovaným onemocněním.</a:t>
            </a: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98FAA048-90A8-4BB0-A76C-729CF7E5E28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75844" y="1146461"/>
            <a:ext cx="3195814" cy="828775"/>
            <a:chOff x="375844" y="1146461"/>
            <a:chExt cx="3195814" cy="828775"/>
          </a:xfrm>
        </p:grpSpPr>
        <p:sp>
          <p:nvSpPr>
            <p:cNvPr id="27" name="Ovál 26">
              <a:extLst>
                <a:ext uri="{FF2B5EF4-FFF2-40B4-BE49-F238E27FC236}">
                  <a16:creationId xmlns:a16="http://schemas.microsoft.com/office/drawing/2014/main" id="{E3941126-8CF3-4742-9701-3562FE2424ED}"/>
                </a:ext>
              </a:extLst>
            </p:cNvPr>
            <p:cNvSpPr/>
            <p:nvPr/>
          </p:nvSpPr>
          <p:spPr>
            <a:xfrm>
              <a:off x="375844" y="1186793"/>
              <a:ext cx="180000" cy="180000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ovéPole 29">
              <a:extLst>
                <a:ext uri="{FF2B5EF4-FFF2-40B4-BE49-F238E27FC236}">
                  <a16:creationId xmlns:a16="http://schemas.microsoft.com/office/drawing/2014/main" id="{252FB36A-F224-4E82-B0C4-CBD6EE67FA3C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55844" y="1146461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4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ovéPole 29">
              <a:extLst>
                <a:ext uri="{FF2B5EF4-FFF2-40B4-BE49-F238E27FC236}">
                  <a16:creationId xmlns:a16="http://schemas.microsoft.com/office/drawing/2014/main" id="{08C98FE0-1254-4804-96AE-21560EE40C8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5844" y="1413070"/>
              <a:ext cx="23320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hortní analýza 2015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19</a:t>
              </a:r>
              <a:endPara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ovéPole 29">
              <a:extLst>
                <a:ext uri="{FF2B5EF4-FFF2-40B4-BE49-F238E27FC236}">
                  <a16:creationId xmlns:a16="http://schemas.microsoft.com/office/drawing/2014/main" id="{57280BA1-82F6-4523-AA34-FAA3DE41D51B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45883" y="1698237"/>
              <a:ext cx="30257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alýza periody 2020</a:t>
              </a:r>
              <a:r>
                <a:rPr kumimoji="0" lang="cs-CZ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</a:t>
              </a:r>
              <a:r>
                <a:rPr kumimoji="0" lang="pl-PL" alt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2</a:t>
              </a:r>
            </a:p>
          </p:txBody>
        </p:sp>
        <p:grpSp>
          <p:nvGrpSpPr>
            <p:cNvPr id="7" name="Skupina 34">
              <a:extLst>
                <a:ext uri="{FF2B5EF4-FFF2-40B4-BE49-F238E27FC236}">
                  <a16:creationId xmlns:a16="http://schemas.microsoft.com/office/drawing/2014/main" id="{4CC44408-DA10-482D-A8AB-D66BC4A27F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5947" y="1748951"/>
              <a:ext cx="161925" cy="176077"/>
              <a:chOff x="4508326" y="837418"/>
              <a:chExt cx="161925" cy="162000"/>
            </a:xfrm>
          </p:grpSpPr>
          <p:sp>
            <p:nvSpPr>
              <p:cNvPr id="10" name="Obdélník 9">
                <a:extLst>
                  <a:ext uri="{FF2B5EF4-FFF2-40B4-BE49-F238E27FC236}">
                    <a16:creationId xmlns:a16="http://schemas.microsoft.com/office/drawing/2014/main" id="{9241B836-B695-468B-B5B1-7444789DF8E0}"/>
                  </a:ext>
                </a:extLst>
              </p:cNvPr>
              <p:cNvSpPr/>
              <p:nvPr/>
            </p:nvSpPr>
            <p:spPr bwMode="auto">
              <a:xfrm>
                <a:off x="4508326" y="837418"/>
                <a:ext cx="161925" cy="162000"/>
              </a:xfrm>
              <a:prstGeom prst="rect">
                <a:avLst/>
              </a:prstGeom>
              <a:solidFill>
                <a:srgbClr val="99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Obdélník 8">
                <a:extLst>
                  <a:ext uri="{FF2B5EF4-FFF2-40B4-BE49-F238E27FC236}">
                    <a16:creationId xmlns:a16="http://schemas.microsoft.com/office/drawing/2014/main" id="{2A2A0786-43F5-431D-8E38-E186F2E0C2C0}"/>
                  </a:ext>
                </a:extLst>
              </p:cNvPr>
              <p:cNvSpPr/>
              <p:nvPr/>
            </p:nvSpPr>
            <p:spPr bwMode="auto">
              <a:xfrm>
                <a:off x="4521737" y="851649"/>
                <a:ext cx="136525" cy="136588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D5EF048C-C581-4293-8ECF-50219B7FBC81}"/>
                </a:ext>
              </a:extLst>
            </p:cNvPr>
            <p:cNvSpPr/>
            <p:nvPr/>
          </p:nvSpPr>
          <p:spPr>
            <a:xfrm>
              <a:off x="377872" y="1467872"/>
              <a:ext cx="180000" cy="180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138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  <p:tag name="SLIDEFAB_SHAPECONDITIONMETACTIONDELETE" val="Fals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  <p:tag name="SLIDEFAB_SHAPECONDITIONMETACTIONDELETE" val="Fals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ÚZI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9"/>
      </a:accent1>
      <a:accent2>
        <a:srgbClr val="93A8CD"/>
      </a:accent2>
      <a:accent3>
        <a:srgbClr val="E32328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iv Office">
  <a:themeElements>
    <a:clrScheme name="UZIS-202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A"/>
      </a:accent1>
      <a:accent2>
        <a:srgbClr val="93A8CD"/>
      </a:accent2>
      <a:accent3>
        <a:srgbClr val="DA2B47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sc-prezentace-cz.pptx" id="{51392DF6-9C5D-41B7-A72A-2D016CF2D798}" vid="{11C299F8-A47A-4F49-BCCF-7C9A9D6BD188}"/>
    </a:ext>
  </a:extLst>
</a:theme>
</file>

<file path=ppt/theme/theme4.xml><?xml version="1.0" encoding="utf-8"?>
<a:theme xmlns:a="http://schemas.openxmlformats.org/drawingml/2006/main" name="4_Motiv Office">
  <a:themeElements>
    <a:clrScheme name="ÚZI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9"/>
      </a:accent1>
      <a:accent2>
        <a:srgbClr val="93A8CD"/>
      </a:accent2>
      <a:accent3>
        <a:srgbClr val="E32328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Vlastní 2">
    <a:dk1>
      <a:sysClr val="windowText" lastClr="000000"/>
    </a:dk1>
    <a:lt1>
      <a:sysClr val="window" lastClr="FFFFFF"/>
    </a:lt1>
    <a:dk2>
      <a:srgbClr val="8496B0"/>
    </a:dk2>
    <a:lt2>
      <a:srgbClr val="E7E6E6"/>
    </a:lt2>
    <a:accent1>
      <a:srgbClr val="132B68"/>
    </a:accent1>
    <a:accent2>
      <a:srgbClr val="3C78A7"/>
    </a:accent2>
    <a:accent3>
      <a:srgbClr val="48A1FA"/>
    </a:accent3>
    <a:accent4>
      <a:srgbClr val="CC3300"/>
    </a:accent4>
    <a:accent5>
      <a:srgbClr val="A5A5A5"/>
    </a:accent5>
    <a:accent6>
      <a:srgbClr val="D8D8D8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1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2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3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4.xml><?xml version="1.0" encoding="utf-8"?>
<a:themeOverride xmlns:a="http://schemas.openxmlformats.org/drawingml/2006/main">
  <a:clrScheme name="Vlastní 2">
    <a:dk1>
      <a:srgbClr val="5F5F5F"/>
    </a:dk1>
    <a:lt1>
      <a:sysClr val="window" lastClr="FFFFFF"/>
    </a:lt1>
    <a:dk2>
      <a:srgbClr val="84848E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Vlastní 2">
    <a:dk1>
      <a:sysClr val="windowText" lastClr="000000"/>
    </a:dk1>
    <a:lt1>
      <a:sysClr val="window" lastClr="FFFFFF"/>
    </a:lt1>
    <a:dk2>
      <a:srgbClr val="8496B0"/>
    </a:dk2>
    <a:lt2>
      <a:srgbClr val="E7E6E6"/>
    </a:lt2>
    <a:accent1>
      <a:srgbClr val="132B68"/>
    </a:accent1>
    <a:accent2>
      <a:srgbClr val="3C78A7"/>
    </a:accent2>
    <a:accent3>
      <a:srgbClr val="48A1FA"/>
    </a:accent3>
    <a:accent4>
      <a:srgbClr val="CC3300"/>
    </a:accent4>
    <a:accent5>
      <a:srgbClr val="A5A5A5"/>
    </a:accent5>
    <a:accent6>
      <a:srgbClr val="D8D8D8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C5702C2B366DD43B8EC33C976092C08" ma:contentTypeVersion="15" ma:contentTypeDescription="Vytvoří nový dokument" ma:contentTypeScope="" ma:versionID="d22e00018306151b3841cbee5f44c4dd">
  <xsd:schema xmlns:xsd="http://www.w3.org/2001/XMLSchema" xmlns:xs="http://www.w3.org/2001/XMLSchema" xmlns:p="http://schemas.microsoft.com/office/2006/metadata/properties" xmlns:ns2="4560a2e8-7b48-4feb-ba2f-dc6e893349a1" xmlns:ns3="e69392e9-048b-4282-ab87-0fdf96b0e7dd" targetNamespace="http://schemas.microsoft.com/office/2006/metadata/properties" ma:root="true" ma:fieldsID="2851a85d5bd981318c13553d8e7718af" ns2:_="" ns3:_="">
    <xsd:import namespace="4560a2e8-7b48-4feb-ba2f-dc6e893349a1"/>
    <xsd:import namespace="e69392e9-048b-4282-ab87-0fdf96b0e7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60a2e8-7b48-4feb-ba2f-dc6e893349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Značky obrázků" ma:readOnly="false" ma:fieldId="{5cf76f15-5ced-4ddc-b409-7134ff3c332f}" ma:taxonomyMulti="true" ma:sspId="2c9fd9c3-b4f3-4cb4-be8c-44b1aa11e8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9392e9-048b-4282-ab87-0fdf96b0e7d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3ad9e8c-a633-4c12-8898-0628ccd9b925}" ma:internalName="TaxCatchAll" ma:showField="CatchAllData" ma:web="e69392e9-048b-4282-ab87-0fdf96b0e7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560a2e8-7b48-4feb-ba2f-dc6e893349a1">
      <Terms xmlns="http://schemas.microsoft.com/office/infopath/2007/PartnerControls"/>
    </lcf76f155ced4ddcb4097134ff3c332f>
    <TaxCatchAll xmlns="e69392e9-048b-4282-ab87-0fdf96b0e7dd" xsi:nil="true"/>
  </documentManagement>
</p:properties>
</file>

<file path=customXml/itemProps1.xml><?xml version="1.0" encoding="utf-8"?>
<ds:datastoreItem xmlns:ds="http://schemas.openxmlformats.org/officeDocument/2006/customXml" ds:itemID="{0AEEAACF-6FB2-4E3A-83D0-A7753E86F541}"/>
</file>

<file path=customXml/itemProps2.xml><?xml version="1.0" encoding="utf-8"?>
<ds:datastoreItem xmlns:ds="http://schemas.openxmlformats.org/officeDocument/2006/customXml" ds:itemID="{C5D19810-4F84-46ED-8B89-6B8FAE39D056}"/>
</file>

<file path=customXml/itemProps3.xml><?xml version="1.0" encoding="utf-8"?>
<ds:datastoreItem xmlns:ds="http://schemas.openxmlformats.org/officeDocument/2006/customXml" ds:itemID="{B9A45C64-9454-416F-8978-186324BB89F8}"/>
</file>

<file path=docProps/app.xml><?xml version="1.0" encoding="utf-8"?>
<Properties xmlns="http://schemas.openxmlformats.org/officeDocument/2006/extended-properties" xmlns:vt="http://schemas.openxmlformats.org/officeDocument/2006/docPropsVTypes">
  <TotalTime>6410</TotalTime>
  <Words>13500</Words>
  <Application>Microsoft Office PowerPoint</Application>
  <PresentationFormat>Širokoúhlá obrazovka</PresentationFormat>
  <Paragraphs>3444</Paragraphs>
  <Slides>57</Slides>
  <Notes>44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7</vt:i4>
      </vt:variant>
    </vt:vector>
  </HeadingPairs>
  <TitlesOfParts>
    <vt:vector size="72" baseType="lpstr">
      <vt:lpstr>Aptos</vt:lpstr>
      <vt:lpstr>Aptos Narrow</vt:lpstr>
      <vt:lpstr>Arial</vt:lpstr>
      <vt:lpstr>Arial (Základní text)</vt:lpstr>
      <vt:lpstr>Calibri</vt:lpstr>
      <vt:lpstr>Calibri  </vt:lpstr>
      <vt:lpstr>Calibri Light</vt:lpstr>
      <vt:lpstr>Verdana</vt:lpstr>
      <vt:lpstr>Wingdings</vt:lpstr>
      <vt:lpstr>Motiv Office</vt:lpstr>
      <vt:lpstr>1_Motiv Office</vt:lpstr>
      <vt:lpstr>2_Motiv Office</vt:lpstr>
      <vt:lpstr>4_Motiv Office</vt:lpstr>
      <vt:lpstr>3_Motiv Office</vt:lpstr>
      <vt:lpstr>Worksheet</vt:lpstr>
      <vt:lpstr>Epidemiologie, screening a péče o pacienty  s nádorovými onemocněními v Plzeňském kraji</vt:lpstr>
      <vt:lpstr>Obsah prezentace</vt:lpstr>
      <vt:lpstr>Epidemiologie nádorů prsu a onkologická léčba</vt:lpstr>
      <vt:lpstr>Incidence zhoubných novotvarů v letech 2019–2023: srovnání PLK a ČR </vt:lpstr>
      <vt:lpstr>Incidence ZN prsu (C50) u žen</vt:lpstr>
      <vt:lpstr>Mortalita zhoubných novotvarů v letech 2019–2023: srovnání PLK a ČR </vt:lpstr>
      <vt:lpstr>Mortalita ZN prsu (C50) u žen </vt:lpstr>
      <vt:lpstr>Podíl a zastoupení stadií u nově diagnostikovaných pacientek se ZN prsu (C50) v krajích ČR (období 2019–2023) </vt:lpstr>
      <vt:lpstr>Vývoj 5letého relativního přežití pacientů v České republice</vt:lpstr>
      <vt:lpstr>5leté relativní přežití pacientek se ZN prsu dle krajů (perioda 2020–2022)</vt:lpstr>
      <vt:lpstr>Primární protinádorová léčba pacientek se zhoubným novotvarem prsu (C50) v KOC a mimo KOC: dle kraje bydliště pacientky (2019–2023)</vt:lpstr>
      <vt:lpstr>Onkologické pacientky se ZN prsu s konzultací multidisciplinárního týmu (MDT)</vt:lpstr>
      <vt:lpstr>Onkologické pacientky se ZN prsu s konzultací multidisciplinárního týmu (MDT)</vt:lpstr>
      <vt:lpstr>Mammární chirurgie – průměrný roční počet HP s resekčním výkonem* na prsu pro ZN prsu</vt:lpstr>
      <vt:lpstr>Screening karcinomu prsu</vt:lpstr>
      <vt:lpstr>Pokrytí cílové populace screeningem ve standardním intervalu v roce 2023 dle kraje bydliště</vt:lpstr>
      <vt:lpstr>Pokrytí cílové populace screeningem ve standardním intervalu v roce 2023 dle okresu bydliště</vt:lpstr>
      <vt:lpstr>Síť mamografických screeningových center dle kraje centra</vt:lpstr>
      <vt:lpstr>Dojezdová vzdálenost do mamografických center</vt:lpstr>
      <vt:lpstr>Screeningové mamografie: migrace žen za vyšetřením napříč kraji ČR (2023)</vt:lpstr>
      <vt:lpstr>Screeningové mamografie: migrace žen za vyšetřením napříč kraji ČR (2023)</vt:lpstr>
      <vt:lpstr>Průměrná objednávací doba mamografických screeningových center dle kraje centra</vt:lpstr>
      <vt:lpstr>Průměrná objednávací doba mamografických screeningových center dle kraje centra</vt:lpstr>
      <vt:lpstr>Průměrná objednávací doba mamografických screeningových center dle okresu centra</vt:lpstr>
      <vt:lpstr>Průměrná objednávací doba mamografických screeningových center dle okresu centra</vt:lpstr>
      <vt:lpstr>Epidemiologie nádorů plic a onkologická léčba</vt:lpstr>
      <vt:lpstr>Incidence zhoubných novotvarů v letech 2019–2023: srovnání PLK a ČR </vt:lpstr>
      <vt:lpstr>Incidence ZN průdušnice, průdušky a plíce (C33, C34) </vt:lpstr>
      <vt:lpstr>Mortalita zhoubných novotvarů v letech 2019–2023: srovnání PLK a ČR </vt:lpstr>
      <vt:lpstr>Mortalita ZN průdušnice, průdušky a plíce (C33, C34) </vt:lpstr>
      <vt:lpstr>Podíl a zastoupení stadií u nově diagnostikovaných pacientů se ZN průdušnice, průdušky a plíce (C33, C34) v krajích ČR (období 2019–2023) </vt:lpstr>
      <vt:lpstr>Vývoj 5letého relativního přežití pacientů v České republice</vt:lpstr>
      <vt:lpstr>5leté relativní přežití pacientů se ZN plic dle krajů (perioda 2020–2022)</vt:lpstr>
      <vt:lpstr>Primární protinádorová léčba pacientů se ZN průdušnice, průdušky a plíce  (C33, C34) v KOC a mimo KOC: dle kraje bydliště pacienta (2018–2022)</vt:lpstr>
      <vt:lpstr>Onkologičtí pacienti se ZN plic s konzultací multidisciplinárního týmu (MDT)</vt:lpstr>
      <vt:lpstr>Screening karcinomu plic</vt:lpstr>
      <vt:lpstr>Prezentace aplikace PowerPoint</vt:lpstr>
      <vt:lpstr>Počet zapojených osob do programu</vt:lpstr>
      <vt:lpstr>výsledky oslovení osob u praktického lékaře v 1. screeningové epizodě – ČR vs. plzeňský kraj</vt:lpstr>
      <vt:lpstr>Celkové Zapojení praktických lékařů do programu  dle kraje působiště zdravotnického zařízení </vt:lpstr>
      <vt:lpstr>Podíl oslovených osob v rámci 1. screeningové epizody dle kraje bydliště</vt:lpstr>
      <vt:lpstr>Interval mezi oslovením osoby u praktického lékaře a návštěvou pneumologa v rámci KRAJE v roce 2024</vt:lpstr>
      <vt:lpstr>Akreditovaná radiologická centra – únor 2025</vt:lpstr>
      <vt:lpstr>Interval mezi návštěvou u pneumologa a LDCT vyšetřením v rámci KRAJE v roce 2024</vt:lpstr>
      <vt:lpstr>Provedení LDCt u obyvatel Plzeňského kraje a okolí</vt:lpstr>
      <vt:lpstr>Celkové výsledky LDCT v rámci 1. screeningové epizody v české republice a plzeňském kraji </vt:lpstr>
      <vt:lpstr>MIGRACE ZA ONKOLOGICKOU PÉČÍ</vt:lpstr>
      <vt:lpstr>Migrace za onkologickými hospitalizacemi (2023): Solidní ZN</vt:lpstr>
      <vt:lpstr>Migrace za centrovou léčbou 2023: Solidní ZN</vt:lpstr>
      <vt:lpstr>Personální zázemí</vt:lpstr>
      <vt:lpstr>Prezentace aplikace PowerPoint</vt:lpstr>
      <vt:lpstr>Prezentace aplikace PowerPoint</vt:lpstr>
      <vt:lpstr>Kliničtí onkologové aktivní v roce 2023 v krajích</vt:lpstr>
      <vt:lpstr>Radiační onkologové aktivní v roce 2023 v krajích</vt:lpstr>
      <vt:lpstr>SHRNUTÍ</vt:lpstr>
      <vt:lpstr>Shrnutí situace v Plzeňském kraji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Vysoudil Michal Ing.</dc:creator>
  <cp:lastModifiedBy>Hejduk Karel PhDr.</cp:lastModifiedBy>
  <cp:revision>193</cp:revision>
  <cp:lastPrinted>2025-03-25T06:43:17Z</cp:lastPrinted>
  <dcterms:created xsi:type="dcterms:W3CDTF">2022-12-07T08:46:39Z</dcterms:created>
  <dcterms:modified xsi:type="dcterms:W3CDTF">2025-05-14T09:4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5702C2B366DD43B8EC33C976092C08</vt:lpwstr>
  </property>
</Properties>
</file>